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1"/>
  </p:notesMasterIdLst>
  <p:sldIdLst>
    <p:sldId id="263" r:id="rId3"/>
    <p:sldId id="264" r:id="rId4"/>
    <p:sldId id="265" r:id="rId5"/>
    <p:sldId id="266" r:id="rId6"/>
    <p:sldId id="267" r:id="rId7"/>
    <p:sldId id="268" r:id="rId8"/>
    <p:sldId id="270" r:id="rId9"/>
    <p:sldId id="307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84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600" userDrawn="1">
          <p15:clr>
            <a:srgbClr val="A4A3A4"/>
          </p15:clr>
        </p15:guide>
        <p15:guide id="4" orient="horz" pos="230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404040"/>
    <a:srgbClr val="B2D169"/>
    <a:srgbClr val="E3539B"/>
    <a:srgbClr val="767BB5"/>
    <a:srgbClr val="E0549B"/>
    <a:srgbClr val="45B0E6"/>
    <a:srgbClr val="00BEA6"/>
    <a:srgbClr val="D289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214" autoAdjust="0"/>
    <p:restoredTop sz="94660"/>
  </p:normalViewPr>
  <p:slideViewPr>
    <p:cSldViewPr snapToGrid="0" showGuides="1">
      <p:cViewPr varScale="1">
        <p:scale>
          <a:sx n="67" d="100"/>
          <a:sy n="67" d="100"/>
        </p:scale>
        <p:origin x="480" y="52"/>
      </p:cViewPr>
      <p:guideLst>
        <p:guide orient="horz" pos="3984"/>
        <p:guide pos="3840"/>
        <p:guide orient="horz" pos="600"/>
        <p:guide orient="horz" pos="230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DFB-432D-8DC1-1807636FC2E5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DFB-432D-8DC1-1807636FC2E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5</c:v>
                </c:pt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DFB-432D-8DC1-1807636FC2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603-454C-8913-EE6AAC6EFB2D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603-454C-8913-EE6AAC6EFB2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5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603-454C-8913-EE6AAC6EFB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5A2-4919-BF0C-DC30A73EC936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56B-4BB1-8A34-954631A215A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0</c:v>
                </c:pt>
                <c:pt idx="1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6B-4BB1-8A34-954631A215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DFB-432D-8DC1-1807636FC2E5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DFB-432D-8DC1-1807636FC2E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0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DFB-432D-8DC1-1807636FC2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603-454C-8913-EE6AAC6EFB2D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603-454C-8913-EE6AAC6EFB2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5</c:v>
                </c:pt>
                <c:pt idx="1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603-454C-8913-EE6AAC6EFB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2A-42F6-A854-9D08DBC22786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12A-42F6-A854-9D08DBC22786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12A-42F6-A854-9D08DBC227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91D923-C551-4FEE-A789-FF6F47C160F7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47CD44-C54A-4598-BC27-D9F02FA94F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0704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29" name="Google Shape;9829;g5ee62ca137_2_939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30" name="Google Shape;9830;g5ee62ca137_2_939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316442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416BCD-F3C5-4F34-9B21-E889402182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F4AA086-5FDA-4172-935B-B89055D657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471858-5B20-4A7B-AC87-B3AF313C4B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F70CCE-C1B0-4826-9F7F-6D876B8AC7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4991A3-B96D-4573-9826-1CDF062052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2531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7F161-4A7C-4C73-8297-1F8509D1C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7148453-6026-471D-8FC5-871C1BFFD6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5B2CB6-5F78-49BA-9ECB-1D50783709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327FCC-EA0A-4269-94F4-77A7895A4D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DC5B75-47FE-4250-80EA-84D98BAF24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6946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006D370-FD2E-4766-B02E-E64C9B8A395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9E8E01-1D00-4300-8537-C5B45FF8626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DE0EED-16CC-4CED-A5CF-13CD7ECAB0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1B0618-4667-45B4-865A-02BAC3151E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F5C548-2347-41DC-A6B5-A29D01E4C4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2846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 slide"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22340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CA1D5E-B05D-4BBD-893A-5A9E506A9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9DA785-086D-4955-BB5E-F0C9B28616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199114-0078-4780-8693-49F15F622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D93AD2-73D0-4837-8ACA-CE7882EA6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BB41A8-D8C0-4C0F-AEBE-9D32C6A108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539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8CB12D-0584-4022-8C8D-F52295996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AA969A-321A-4773-87BE-225DB4C323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2D220D-D472-4238-89CF-D7566C4EC3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94AB8C-397D-4A35-8AE0-1E904B705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CE363D-B6D7-40C6-99A4-1751EEDA9F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660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22C8EE-74E3-4F81-AE5C-E39C3F02E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C2A2CE-813B-47FA-9379-77B1119081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0B91C2-7596-47F1-838F-F37564103C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1529C0-C636-4510-A296-83D6EDE569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77363A-A235-433B-A7E2-9DB7A579B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14AB7C-C7FD-4AC3-9132-B1EC91BB7C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5435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B17009-4EF0-4B12-A299-BC0287C7B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0D432B-2BDB-4D80-94ED-EA72CE4627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B3B82F-4A75-42C1-87BE-6DF90ABF61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C585E8-EBD9-4F17-82C8-555804BF82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A3A2624-3147-45B4-8679-AB03CBDB81E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BC84EBF-FC65-4F9A-9384-FF24DFAE29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300CF30-71E5-437B-AEAB-4E93A21E0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918336A-3644-4041-94EC-A77E7AEA5D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8146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07F235-913C-4913-84D7-2429CB389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B9ECD55-F1FC-4C1D-8EFF-AD392E3A9D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B43F77-F961-4ED2-88D5-73093A26B2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B7EB32-2D3C-4E84-8719-8F187BB4E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7585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3A65BAA-69D1-4110-BC63-1E323B1286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133AF8-70E5-418A-B78B-48A6BF5144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1ED0E7-8B9F-4A3B-BFDD-C44FA2F63F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1305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D69F68-C8B7-44DA-8B93-A4488F329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AECCAC-CF65-446D-B041-D1D6B573DB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D63273-4227-49CB-BF4C-9A3D9F45E3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75C054-5BA8-42A4-A8E8-1428FF63AC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DA5066A-1D92-4E79-8474-DCAF587A11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B25CFB-7FDC-4C01-A841-FF2011F0D1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15468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61F5BB-B2B4-4231-9CFE-3ABC6FD45A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763D1F1-5677-4B02-9B1B-68E9CD50DDB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96A73E-870D-43FF-AFE1-5186F9C81D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CC69645-AE88-4BDF-8C30-107B160CE9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8EA59B-A2F7-4AC0-89EB-5AC3B8D231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295FC5-94E3-4928-8C9B-C8C0B1E91A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7270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825B8BE-23E7-4DF1-B122-424B8AE0D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FBF2D-517B-4ED2-B88E-6CD358C64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DC55C2-D926-464F-B2AC-3C44CB1F93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E2E9A7-D4FD-4C76-88CE-980EA3C128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6919CC-3B64-412D-86A3-A825A17540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5473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E2A47"/>
        </a:solidFill>
        <a:effectLst/>
      </p:bgPr>
    </p:bg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27"/>
          <p:cNvSpPr txBox="1">
            <a:spLocks noGrp="1"/>
          </p:cNvSpPr>
          <p:nvPr>
            <p:ph type="title"/>
          </p:nvPr>
        </p:nvSpPr>
        <p:spPr>
          <a:xfrm>
            <a:off x="1424133" y="1244600"/>
            <a:ext cx="9396400" cy="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9pPr>
          </a:lstStyle>
          <a:p>
            <a:endParaRPr/>
          </a:p>
        </p:txBody>
      </p:sp>
      <p:sp>
        <p:nvSpPr>
          <p:cNvPr id="198" name="Google Shape;198;p27"/>
          <p:cNvSpPr txBox="1">
            <a:spLocks noGrp="1"/>
          </p:cNvSpPr>
          <p:nvPr>
            <p:ph type="body" idx="1"/>
          </p:nvPr>
        </p:nvSpPr>
        <p:spPr>
          <a:xfrm>
            <a:off x="1424133" y="2260600"/>
            <a:ext cx="9396400" cy="333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lvl="1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lvl="2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lvl="3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lvl="4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lvl="5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lvl="6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lvl="7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lvl="8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2775413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7" Type="http://schemas.openxmlformats.org/officeDocument/2006/relationships/chart" Target="../charts/chart6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hyperlink" Target="https://www.greatppt.com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BD3BB9-7494-4054-ABD5-BF4DEDF50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7AEFA-B56B-463F-809E-4A0CAC2C214B}" type="datetime1">
              <a:rPr lang="en-US" sz="1000" smtClean="0">
                <a:solidFill>
                  <a:schemeClr val="tx1"/>
                </a:solidFill>
              </a:rPr>
              <a:t>8/17/2020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4D9497-D6ED-4F5D-9AF8-723FC8208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z="1000" smtClean="0">
                <a:solidFill>
                  <a:schemeClr val="tx1"/>
                </a:solidFill>
              </a:rPr>
              <a:t>1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4" name="Rectangle 70">
            <a:extLst>
              <a:ext uri="{FF2B5EF4-FFF2-40B4-BE49-F238E27FC236}">
                <a16:creationId xmlns:a16="http://schemas.microsoft.com/office/drawing/2014/main" id="{2C7F6899-AA89-4ACF-BBC6-9182A564A0B3}"/>
              </a:ext>
            </a:extLst>
          </p:cNvPr>
          <p:cNvSpPr/>
          <p:nvPr/>
        </p:nvSpPr>
        <p:spPr>
          <a:xfrm>
            <a:off x="2054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70">
            <a:extLst>
              <a:ext uri="{FF2B5EF4-FFF2-40B4-BE49-F238E27FC236}">
                <a16:creationId xmlns:a16="http://schemas.microsoft.com/office/drawing/2014/main" id="{46EBEB8D-01EC-4B1A-B44A-BDF60EEB1BDB}"/>
              </a:ext>
            </a:extLst>
          </p:cNvPr>
          <p:cNvSpPr/>
          <p:nvPr/>
        </p:nvSpPr>
        <p:spPr>
          <a:xfrm rot="10800000">
            <a:off x="114830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70">
            <a:extLst>
              <a:ext uri="{FF2B5EF4-FFF2-40B4-BE49-F238E27FC236}">
                <a16:creationId xmlns:a16="http://schemas.microsoft.com/office/drawing/2014/main" id="{0EFEE770-1BB8-4BC8-92D5-8B8941EDBE25}"/>
              </a:ext>
            </a:extLst>
          </p:cNvPr>
          <p:cNvSpPr/>
          <p:nvPr/>
        </p:nvSpPr>
        <p:spPr>
          <a:xfrm flipV="1">
            <a:off x="2054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70">
            <a:extLst>
              <a:ext uri="{FF2B5EF4-FFF2-40B4-BE49-F238E27FC236}">
                <a16:creationId xmlns:a16="http://schemas.microsoft.com/office/drawing/2014/main" id="{68FA4209-A2EF-480B-BBDC-DE5322790CE7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FE3DD1-8761-4FA2-A00F-4C407ED92CBC}"/>
              </a:ext>
            </a:extLst>
          </p:cNvPr>
          <p:cNvSpPr txBox="1"/>
          <p:nvPr/>
        </p:nvSpPr>
        <p:spPr>
          <a:xfrm>
            <a:off x="708963" y="250833"/>
            <a:ext cx="10774074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/>
              <a:t>EUROPE MAP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A63AAB2E-23E4-4B5A-82D3-890A455E3FBD}"/>
              </a:ext>
            </a:extLst>
          </p:cNvPr>
          <p:cNvSpPr/>
          <p:nvPr/>
        </p:nvSpPr>
        <p:spPr>
          <a:xfrm>
            <a:off x="7627217" y="1716585"/>
            <a:ext cx="825878" cy="82587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334ABFA6-685A-4800-AAFC-77D9B7FF32BE}"/>
              </a:ext>
            </a:extLst>
          </p:cNvPr>
          <p:cNvSpPr txBox="1"/>
          <p:nvPr/>
        </p:nvSpPr>
        <p:spPr>
          <a:xfrm>
            <a:off x="8686638" y="1698637"/>
            <a:ext cx="2953819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9CEDA647-4AAC-49A8-B0D6-BDB638564592}"/>
              </a:ext>
            </a:extLst>
          </p:cNvPr>
          <p:cNvSpPr/>
          <p:nvPr/>
        </p:nvSpPr>
        <p:spPr>
          <a:xfrm>
            <a:off x="7627217" y="3203486"/>
            <a:ext cx="825878" cy="82587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239A2202-DA58-44DE-8AC0-3B8218D83AF6}"/>
              </a:ext>
            </a:extLst>
          </p:cNvPr>
          <p:cNvSpPr txBox="1"/>
          <p:nvPr/>
        </p:nvSpPr>
        <p:spPr>
          <a:xfrm>
            <a:off x="8686638" y="3185538"/>
            <a:ext cx="2953819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8619EA79-1E33-4BD5-B017-3F040D4348F8}"/>
              </a:ext>
            </a:extLst>
          </p:cNvPr>
          <p:cNvSpPr/>
          <p:nvPr/>
        </p:nvSpPr>
        <p:spPr>
          <a:xfrm>
            <a:off x="7627217" y="4671137"/>
            <a:ext cx="825878" cy="82587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75D46776-EB11-49F1-A469-229A6E1824E6}"/>
              </a:ext>
            </a:extLst>
          </p:cNvPr>
          <p:cNvSpPr txBox="1"/>
          <p:nvPr/>
        </p:nvSpPr>
        <p:spPr>
          <a:xfrm>
            <a:off x="8686638" y="4653189"/>
            <a:ext cx="2953819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A39B0CD1-A343-4E72-8387-CE1A3D384EA1}"/>
              </a:ext>
            </a:extLst>
          </p:cNvPr>
          <p:cNvSpPr/>
          <p:nvPr/>
        </p:nvSpPr>
        <p:spPr>
          <a:xfrm>
            <a:off x="8241772" y="2350385"/>
            <a:ext cx="192078" cy="192078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5B431803-450E-49DF-842E-C1BD11D64444}"/>
              </a:ext>
            </a:extLst>
          </p:cNvPr>
          <p:cNvSpPr/>
          <p:nvPr/>
        </p:nvSpPr>
        <p:spPr>
          <a:xfrm>
            <a:off x="8241772" y="3837286"/>
            <a:ext cx="192078" cy="192078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B2CEA865-01EE-4D88-9522-56D66F176ACD}"/>
              </a:ext>
            </a:extLst>
          </p:cNvPr>
          <p:cNvSpPr/>
          <p:nvPr/>
        </p:nvSpPr>
        <p:spPr>
          <a:xfrm>
            <a:off x="8241772" y="5304937"/>
            <a:ext cx="192078" cy="192078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8055E2B5-6145-42EE-89AE-FEE059CE9A0C}"/>
              </a:ext>
            </a:extLst>
          </p:cNvPr>
          <p:cNvGrpSpPr/>
          <p:nvPr/>
        </p:nvGrpSpPr>
        <p:grpSpPr>
          <a:xfrm>
            <a:off x="7929825" y="1985855"/>
            <a:ext cx="220663" cy="287338"/>
            <a:chOff x="11066463" y="1360488"/>
            <a:chExt cx="220663" cy="287338"/>
          </a:xfrm>
          <a:solidFill>
            <a:schemeClr val="bg1"/>
          </a:solidFill>
        </p:grpSpPr>
        <p:sp>
          <p:nvSpPr>
            <p:cNvPr id="100" name="Freeform 180">
              <a:extLst>
                <a:ext uri="{FF2B5EF4-FFF2-40B4-BE49-F238E27FC236}">
                  <a16:creationId xmlns:a16="http://schemas.microsoft.com/office/drawing/2014/main" id="{928E53C0-E213-43D5-BFA3-08DEAA4D28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66463" y="1360488"/>
              <a:ext cx="220663" cy="287338"/>
            </a:xfrm>
            <a:custGeom>
              <a:avLst/>
              <a:gdLst>
                <a:gd name="T0" fmla="*/ 30 w 691"/>
                <a:gd name="T1" fmla="*/ 871 h 901"/>
                <a:gd name="T2" fmla="*/ 30 w 691"/>
                <a:gd name="T3" fmla="*/ 30 h 901"/>
                <a:gd name="T4" fmla="*/ 421 w 691"/>
                <a:gd name="T5" fmla="*/ 30 h 901"/>
                <a:gd name="T6" fmla="*/ 421 w 691"/>
                <a:gd name="T7" fmla="*/ 254 h 901"/>
                <a:gd name="T8" fmla="*/ 421 w 691"/>
                <a:gd name="T9" fmla="*/ 258 h 901"/>
                <a:gd name="T10" fmla="*/ 422 w 691"/>
                <a:gd name="T11" fmla="*/ 261 h 901"/>
                <a:gd name="T12" fmla="*/ 423 w 691"/>
                <a:gd name="T13" fmla="*/ 263 h 901"/>
                <a:gd name="T14" fmla="*/ 425 w 691"/>
                <a:gd name="T15" fmla="*/ 265 h 901"/>
                <a:gd name="T16" fmla="*/ 427 w 691"/>
                <a:gd name="T17" fmla="*/ 267 h 901"/>
                <a:gd name="T18" fmla="*/ 429 w 691"/>
                <a:gd name="T19" fmla="*/ 268 h 901"/>
                <a:gd name="T20" fmla="*/ 432 w 691"/>
                <a:gd name="T21" fmla="*/ 269 h 901"/>
                <a:gd name="T22" fmla="*/ 436 w 691"/>
                <a:gd name="T23" fmla="*/ 269 h 901"/>
                <a:gd name="T24" fmla="*/ 660 w 691"/>
                <a:gd name="T25" fmla="*/ 269 h 901"/>
                <a:gd name="T26" fmla="*/ 660 w 691"/>
                <a:gd name="T27" fmla="*/ 871 h 901"/>
                <a:gd name="T28" fmla="*/ 30 w 691"/>
                <a:gd name="T29" fmla="*/ 871 h 901"/>
                <a:gd name="T30" fmla="*/ 450 w 691"/>
                <a:gd name="T31" fmla="*/ 52 h 901"/>
                <a:gd name="T32" fmla="*/ 640 w 691"/>
                <a:gd name="T33" fmla="*/ 239 h 901"/>
                <a:gd name="T34" fmla="*/ 450 w 691"/>
                <a:gd name="T35" fmla="*/ 239 h 901"/>
                <a:gd name="T36" fmla="*/ 450 w 691"/>
                <a:gd name="T37" fmla="*/ 52 h 901"/>
                <a:gd name="T38" fmla="*/ 686 w 691"/>
                <a:gd name="T39" fmla="*/ 244 h 901"/>
                <a:gd name="T40" fmla="*/ 446 w 691"/>
                <a:gd name="T41" fmla="*/ 4 h 901"/>
                <a:gd name="T42" fmla="*/ 444 w 691"/>
                <a:gd name="T43" fmla="*/ 2 h 901"/>
                <a:gd name="T44" fmla="*/ 441 w 691"/>
                <a:gd name="T45" fmla="*/ 1 h 901"/>
                <a:gd name="T46" fmla="*/ 439 w 691"/>
                <a:gd name="T47" fmla="*/ 0 h 901"/>
                <a:gd name="T48" fmla="*/ 436 w 691"/>
                <a:gd name="T49" fmla="*/ 0 h 901"/>
                <a:gd name="T50" fmla="*/ 15 w 691"/>
                <a:gd name="T51" fmla="*/ 0 h 901"/>
                <a:gd name="T52" fmla="*/ 12 w 691"/>
                <a:gd name="T53" fmla="*/ 0 h 901"/>
                <a:gd name="T54" fmla="*/ 9 w 691"/>
                <a:gd name="T55" fmla="*/ 1 h 901"/>
                <a:gd name="T56" fmla="*/ 6 w 691"/>
                <a:gd name="T57" fmla="*/ 2 h 901"/>
                <a:gd name="T58" fmla="*/ 4 w 691"/>
                <a:gd name="T59" fmla="*/ 4 h 901"/>
                <a:gd name="T60" fmla="*/ 2 w 691"/>
                <a:gd name="T61" fmla="*/ 6 h 901"/>
                <a:gd name="T62" fmla="*/ 1 w 691"/>
                <a:gd name="T63" fmla="*/ 9 h 901"/>
                <a:gd name="T64" fmla="*/ 0 w 691"/>
                <a:gd name="T65" fmla="*/ 11 h 901"/>
                <a:gd name="T66" fmla="*/ 0 w 691"/>
                <a:gd name="T67" fmla="*/ 15 h 901"/>
                <a:gd name="T68" fmla="*/ 0 w 691"/>
                <a:gd name="T69" fmla="*/ 886 h 901"/>
                <a:gd name="T70" fmla="*/ 0 w 691"/>
                <a:gd name="T71" fmla="*/ 889 h 901"/>
                <a:gd name="T72" fmla="*/ 1 w 691"/>
                <a:gd name="T73" fmla="*/ 891 h 901"/>
                <a:gd name="T74" fmla="*/ 2 w 691"/>
                <a:gd name="T75" fmla="*/ 894 h 901"/>
                <a:gd name="T76" fmla="*/ 4 w 691"/>
                <a:gd name="T77" fmla="*/ 897 h 901"/>
                <a:gd name="T78" fmla="*/ 6 w 691"/>
                <a:gd name="T79" fmla="*/ 898 h 901"/>
                <a:gd name="T80" fmla="*/ 9 w 691"/>
                <a:gd name="T81" fmla="*/ 900 h 901"/>
                <a:gd name="T82" fmla="*/ 12 w 691"/>
                <a:gd name="T83" fmla="*/ 900 h 901"/>
                <a:gd name="T84" fmla="*/ 15 w 691"/>
                <a:gd name="T85" fmla="*/ 901 h 901"/>
                <a:gd name="T86" fmla="*/ 676 w 691"/>
                <a:gd name="T87" fmla="*/ 901 h 901"/>
                <a:gd name="T88" fmla="*/ 678 w 691"/>
                <a:gd name="T89" fmla="*/ 900 h 901"/>
                <a:gd name="T90" fmla="*/ 682 w 691"/>
                <a:gd name="T91" fmla="*/ 900 h 901"/>
                <a:gd name="T92" fmla="*/ 684 w 691"/>
                <a:gd name="T93" fmla="*/ 898 h 901"/>
                <a:gd name="T94" fmla="*/ 686 w 691"/>
                <a:gd name="T95" fmla="*/ 897 h 901"/>
                <a:gd name="T96" fmla="*/ 688 w 691"/>
                <a:gd name="T97" fmla="*/ 894 h 901"/>
                <a:gd name="T98" fmla="*/ 689 w 691"/>
                <a:gd name="T99" fmla="*/ 891 h 901"/>
                <a:gd name="T100" fmla="*/ 690 w 691"/>
                <a:gd name="T101" fmla="*/ 889 h 901"/>
                <a:gd name="T102" fmla="*/ 691 w 691"/>
                <a:gd name="T103" fmla="*/ 886 h 901"/>
                <a:gd name="T104" fmla="*/ 691 w 691"/>
                <a:gd name="T105" fmla="*/ 254 h 901"/>
                <a:gd name="T106" fmla="*/ 689 w 691"/>
                <a:gd name="T107" fmla="*/ 249 h 901"/>
                <a:gd name="T108" fmla="*/ 686 w 691"/>
                <a:gd name="T109" fmla="*/ 244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91" h="901">
                  <a:moveTo>
                    <a:pt x="30" y="871"/>
                  </a:moveTo>
                  <a:lnTo>
                    <a:pt x="30" y="30"/>
                  </a:lnTo>
                  <a:lnTo>
                    <a:pt x="421" y="30"/>
                  </a:lnTo>
                  <a:lnTo>
                    <a:pt x="421" y="254"/>
                  </a:lnTo>
                  <a:lnTo>
                    <a:pt x="421" y="258"/>
                  </a:lnTo>
                  <a:lnTo>
                    <a:pt x="422" y="261"/>
                  </a:lnTo>
                  <a:lnTo>
                    <a:pt x="423" y="263"/>
                  </a:lnTo>
                  <a:lnTo>
                    <a:pt x="425" y="265"/>
                  </a:lnTo>
                  <a:lnTo>
                    <a:pt x="427" y="267"/>
                  </a:lnTo>
                  <a:lnTo>
                    <a:pt x="429" y="268"/>
                  </a:lnTo>
                  <a:lnTo>
                    <a:pt x="432" y="269"/>
                  </a:lnTo>
                  <a:lnTo>
                    <a:pt x="436" y="269"/>
                  </a:lnTo>
                  <a:lnTo>
                    <a:pt x="660" y="269"/>
                  </a:lnTo>
                  <a:lnTo>
                    <a:pt x="660" y="871"/>
                  </a:lnTo>
                  <a:lnTo>
                    <a:pt x="30" y="871"/>
                  </a:lnTo>
                  <a:close/>
                  <a:moveTo>
                    <a:pt x="450" y="52"/>
                  </a:moveTo>
                  <a:lnTo>
                    <a:pt x="640" y="239"/>
                  </a:lnTo>
                  <a:lnTo>
                    <a:pt x="450" y="239"/>
                  </a:lnTo>
                  <a:lnTo>
                    <a:pt x="450" y="52"/>
                  </a:lnTo>
                  <a:close/>
                  <a:moveTo>
                    <a:pt x="686" y="244"/>
                  </a:moveTo>
                  <a:lnTo>
                    <a:pt x="446" y="4"/>
                  </a:lnTo>
                  <a:lnTo>
                    <a:pt x="444" y="2"/>
                  </a:lnTo>
                  <a:lnTo>
                    <a:pt x="441" y="1"/>
                  </a:lnTo>
                  <a:lnTo>
                    <a:pt x="439" y="0"/>
                  </a:lnTo>
                  <a:lnTo>
                    <a:pt x="43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886"/>
                  </a:lnTo>
                  <a:lnTo>
                    <a:pt x="0" y="889"/>
                  </a:lnTo>
                  <a:lnTo>
                    <a:pt x="1" y="891"/>
                  </a:lnTo>
                  <a:lnTo>
                    <a:pt x="2" y="894"/>
                  </a:lnTo>
                  <a:lnTo>
                    <a:pt x="4" y="897"/>
                  </a:lnTo>
                  <a:lnTo>
                    <a:pt x="6" y="898"/>
                  </a:lnTo>
                  <a:lnTo>
                    <a:pt x="9" y="900"/>
                  </a:lnTo>
                  <a:lnTo>
                    <a:pt x="12" y="900"/>
                  </a:lnTo>
                  <a:lnTo>
                    <a:pt x="15" y="901"/>
                  </a:lnTo>
                  <a:lnTo>
                    <a:pt x="676" y="901"/>
                  </a:lnTo>
                  <a:lnTo>
                    <a:pt x="678" y="900"/>
                  </a:lnTo>
                  <a:lnTo>
                    <a:pt x="682" y="900"/>
                  </a:lnTo>
                  <a:lnTo>
                    <a:pt x="684" y="898"/>
                  </a:lnTo>
                  <a:lnTo>
                    <a:pt x="686" y="897"/>
                  </a:lnTo>
                  <a:lnTo>
                    <a:pt x="688" y="894"/>
                  </a:lnTo>
                  <a:lnTo>
                    <a:pt x="689" y="891"/>
                  </a:lnTo>
                  <a:lnTo>
                    <a:pt x="690" y="889"/>
                  </a:lnTo>
                  <a:lnTo>
                    <a:pt x="691" y="886"/>
                  </a:lnTo>
                  <a:lnTo>
                    <a:pt x="691" y="254"/>
                  </a:lnTo>
                  <a:lnTo>
                    <a:pt x="689" y="249"/>
                  </a:lnTo>
                  <a:lnTo>
                    <a:pt x="686" y="2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181">
              <a:extLst>
                <a:ext uri="{FF2B5EF4-FFF2-40B4-BE49-F238E27FC236}">
                  <a16:creationId xmlns:a16="http://schemas.microsoft.com/office/drawing/2014/main" id="{361B3604-A712-4DB4-9EC2-6124EE6AD7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0763" y="1474788"/>
              <a:ext cx="57150" cy="9525"/>
            </a:xfrm>
            <a:custGeom>
              <a:avLst/>
              <a:gdLst>
                <a:gd name="T0" fmla="*/ 167 w 182"/>
                <a:gd name="T1" fmla="*/ 0 h 31"/>
                <a:gd name="T2" fmla="*/ 15 w 182"/>
                <a:gd name="T3" fmla="*/ 0 h 31"/>
                <a:gd name="T4" fmla="*/ 13 w 182"/>
                <a:gd name="T5" fmla="*/ 1 h 31"/>
                <a:gd name="T6" fmla="*/ 10 w 182"/>
                <a:gd name="T7" fmla="*/ 2 h 31"/>
                <a:gd name="T8" fmla="*/ 8 w 182"/>
                <a:gd name="T9" fmla="*/ 3 h 31"/>
                <a:gd name="T10" fmla="*/ 5 w 182"/>
                <a:gd name="T11" fmla="*/ 6 h 31"/>
                <a:gd name="T12" fmla="*/ 4 w 182"/>
                <a:gd name="T13" fmla="*/ 8 h 31"/>
                <a:gd name="T14" fmla="*/ 1 w 182"/>
                <a:gd name="T15" fmla="*/ 10 h 31"/>
                <a:gd name="T16" fmla="*/ 1 w 182"/>
                <a:gd name="T17" fmla="*/ 13 h 31"/>
                <a:gd name="T18" fmla="*/ 0 w 182"/>
                <a:gd name="T19" fmla="*/ 15 h 31"/>
                <a:gd name="T20" fmla="*/ 1 w 182"/>
                <a:gd name="T21" fmla="*/ 20 h 31"/>
                <a:gd name="T22" fmla="*/ 1 w 182"/>
                <a:gd name="T23" fmla="*/ 22 h 31"/>
                <a:gd name="T24" fmla="*/ 4 w 182"/>
                <a:gd name="T25" fmla="*/ 25 h 31"/>
                <a:gd name="T26" fmla="*/ 5 w 182"/>
                <a:gd name="T27" fmla="*/ 27 h 31"/>
                <a:gd name="T28" fmla="*/ 8 w 182"/>
                <a:gd name="T29" fmla="*/ 28 h 31"/>
                <a:gd name="T30" fmla="*/ 10 w 182"/>
                <a:gd name="T31" fmla="*/ 30 h 31"/>
                <a:gd name="T32" fmla="*/ 13 w 182"/>
                <a:gd name="T33" fmla="*/ 30 h 31"/>
                <a:gd name="T34" fmla="*/ 15 w 182"/>
                <a:gd name="T35" fmla="*/ 31 h 31"/>
                <a:gd name="T36" fmla="*/ 167 w 182"/>
                <a:gd name="T37" fmla="*/ 31 h 31"/>
                <a:gd name="T38" fmla="*/ 171 w 182"/>
                <a:gd name="T39" fmla="*/ 30 h 31"/>
                <a:gd name="T40" fmla="*/ 173 w 182"/>
                <a:gd name="T41" fmla="*/ 30 h 31"/>
                <a:gd name="T42" fmla="*/ 176 w 182"/>
                <a:gd name="T43" fmla="*/ 28 h 31"/>
                <a:gd name="T44" fmla="*/ 178 w 182"/>
                <a:gd name="T45" fmla="*/ 27 h 31"/>
                <a:gd name="T46" fmla="*/ 180 w 182"/>
                <a:gd name="T47" fmla="*/ 25 h 31"/>
                <a:gd name="T48" fmla="*/ 181 w 182"/>
                <a:gd name="T49" fmla="*/ 22 h 31"/>
                <a:gd name="T50" fmla="*/ 182 w 182"/>
                <a:gd name="T51" fmla="*/ 20 h 31"/>
                <a:gd name="T52" fmla="*/ 182 w 182"/>
                <a:gd name="T53" fmla="*/ 15 h 31"/>
                <a:gd name="T54" fmla="*/ 182 w 182"/>
                <a:gd name="T55" fmla="*/ 13 h 31"/>
                <a:gd name="T56" fmla="*/ 181 w 182"/>
                <a:gd name="T57" fmla="*/ 10 h 31"/>
                <a:gd name="T58" fmla="*/ 180 w 182"/>
                <a:gd name="T59" fmla="*/ 8 h 31"/>
                <a:gd name="T60" fmla="*/ 178 w 182"/>
                <a:gd name="T61" fmla="*/ 6 h 31"/>
                <a:gd name="T62" fmla="*/ 176 w 182"/>
                <a:gd name="T63" fmla="*/ 3 h 31"/>
                <a:gd name="T64" fmla="*/ 173 w 182"/>
                <a:gd name="T65" fmla="*/ 2 h 31"/>
                <a:gd name="T66" fmla="*/ 171 w 182"/>
                <a:gd name="T67" fmla="*/ 1 h 31"/>
                <a:gd name="T68" fmla="*/ 167 w 182"/>
                <a:gd name="T6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2" h="31">
                  <a:moveTo>
                    <a:pt x="167" y="0"/>
                  </a:moveTo>
                  <a:lnTo>
                    <a:pt x="15" y="0"/>
                  </a:lnTo>
                  <a:lnTo>
                    <a:pt x="13" y="1"/>
                  </a:lnTo>
                  <a:lnTo>
                    <a:pt x="10" y="2"/>
                  </a:lnTo>
                  <a:lnTo>
                    <a:pt x="8" y="3"/>
                  </a:lnTo>
                  <a:lnTo>
                    <a:pt x="5" y="6"/>
                  </a:lnTo>
                  <a:lnTo>
                    <a:pt x="4" y="8"/>
                  </a:lnTo>
                  <a:lnTo>
                    <a:pt x="1" y="10"/>
                  </a:lnTo>
                  <a:lnTo>
                    <a:pt x="1" y="13"/>
                  </a:lnTo>
                  <a:lnTo>
                    <a:pt x="0" y="15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4" y="25"/>
                  </a:lnTo>
                  <a:lnTo>
                    <a:pt x="5" y="27"/>
                  </a:lnTo>
                  <a:lnTo>
                    <a:pt x="8" y="28"/>
                  </a:lnTo>
                  <a:lnTo>
                    <a:pt x="10" y="30"/>
                  </a:lnTo>
                  <a:lnTo>
                    <a:pt x="13" y="30"/>
                  </a:lnTo>
                  <a:lnTo>
                    <a:pt x="15" y="31"/>
                  </a:lnTo>
                  <a:lnTo>
                    <a:pt x="167" y="31"/>
                  </a:lnTo>
                  <a:lnTo>
                    <a:pt x="171" y="30"/>
                  </a:lnTo>
                  <a:lnTo>
                    <a:pt x="173" y="30"/>
                  </a:lnTo>
                  <a:lnTo>
                    <a:pt x="176" y="28"/>
                  </a:lnTo>
                  <a:lnTo>
                    <a:pt x="178" y="27"/>
                  </a:lnTo>
                  <a:lnTo>
                    <a:pt x="180" y="25"/>
                  </a:lnTo>
                  <a:lnTo>
                    <a:pt x="181" y="22"/>
                  </a:lnTo>
                  <a:lnTo>
                    <a:pt x="182" y="20"/>
                  </a:lnTo>
                  <a:lnTo>
                    <a:pt x="182" y="15"/>
                  </a:lnTo>
                  <a:lnTo>
                    <a:pt x="182" y="13"/>
                  </a:lnTo>
                  <a:lnTo>
                    <a:pt x="181" y="10"/>
                  </a:lnTo>
                  <a:lnTo>
                    <a:pt x="180" y="8"/>
                  </a:lnTo>
                  <a:lnTo>
                    <a:pt x="178" y="6"/>
                  </a:lnTo>
                  <a:lnTo>
                    <a:pt x="176" y="3"/>
                  </a:lnTo>
                  <a:lnTo>
                    <a:pt x="173" y="2"/>
                  </a:lnTo>
                  <a:lnTo>
                    <a:pt x="171" y="1"/>
                  </a:lnTo>
                  <a:lnTo>
                    <a:pt x="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182">
              <a:extLst>
                <a:ext uri="{FF2B5EF4-FFF2-40B4-BE49-F238E27FC236}">
                  <a16:creationId xmlns:a16="http://schemas.microsoft.com/office/drawing/2014/main" id="{7AE774F8-0409-480E-8023-F1114FDA9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0763" y="1522413"/>
              <a:ext cx="57150" cy="9525"/>
            </a:xfrm>
            <a:custGeom>
              <a:avLst/>
              <a:gdLst>
                <a:gd name="T0" fmla="*/ 167 w 182"/>
                <a:gd name="T1" fmla="*/ 0 h 30"/>
                <a:gd name="T2" fmla="*/ 15 w 182"/>
                <a:gd name="T3" fmla="*/ 0 h 30"/>
                <a:gd name="T4" fmla="*/ 13 w 182"/>
                <a:gd name="T5" fmla="*/ 0 h 30"/>
                <a:gd name="T6" fmla="*/ 10 w 182"/>
                <a:gd name="T7" fmla="*/ 1 h 30"/>
                <a:gd name="T8" fmla="*/ 8 w 182"/>
                <a:gd name="T9" fmla="*/ 2 h 30"/>
                <a:gd name="T10" fmla="*/ 5 w 182"/>
                <a:gd name="T11" fmla="*/ 4 h 30"/>
                <a:gd name="T12" fmla="*/ 4 w 182"/>
                <a:gd name="T13" fmla="*/ 7 h 30"/>
                <a:gd name="T14" fmla="*/ 1 w 182"/>
                <a:gd name="T15" fmla="*/ 10 h 30"/>
                <a:gd name="T16" fmla="*/ 1 w 182"/>
                <a:gd name="T17" fmla="*/ 12 h 30"/>
                <a:gd name="T18" fmla="*/ 0 w 182"/>
                <a:gd name="T19" fmla="*/ 15 h 30"/>
                <a:gd name="T20" fmla="*/ 1 w 182"/>
                <a:gd name="T21" fmla="*/ 18 h 30"/>
                <a:gd name="T22" fmla="*/ 1 w 182"/>
                <a:gd name="T23" fmla="*/ 22 h 30"/>
                <a:gd name="T24" fmla="*/ 4 w 182"/>
                <a:gd name="T25" fmla="*/ 24 h 30"/>
                <a:gd name="T26" fmla="*/ 5 w 182"/>
                <a:gd name="T27" fmla="*/ 26 h 30"/>
                <a:gd name="T28" fmla="*/ 8 w 182"/>
                <a:gd name="T29" fmla="*/ 28 h 30"/>
                <a:gd name="T30" fmla="*/ 10 w 182"/>
                <a:gd name="T31" fmla="*/ 29 h 30"/>
                <a:gd name="T32" fmla="*/ 13 w 182"/>
                <a:gd name="T33" fmla="*/ 30 h 30"/>
                <a:gd name="T34" fmla="*/ 15 w 182"/>
                <a:gd name="T35" fmla="*/ 30 h 30"/>
                <a:gd name="T36" fmla="*/ 167 w 182"/>
                <a:gd name="T37" fmla="*/ 30 h 30"/>
                <a:gd name="T38" fmla="*/ 171 w 182"/>
                <a:gd name="T39" fmla="*/ 30 h 30"/>
                <a:gd name="T40" fmla="*/ 173 w 182"/>
                <a:gd name="T41" fmla="*/ 29 h 30"/>
                <a:gd name="T42" fmla="*/ 176 w 182"/>
                <a:gd name="T43" fmla="*/ 28 h 30"/>
                <a:gd name="T44" fmla="*/ 178 w 182"/>
                <a:gd name="T45" fmla="*/ 26 h 30"/>
                <a:gd name="T46" fmla="*/ 180 w 182"/>
                <a:gd name="T47" fmla="*/ 24 h 30"/>
                <a:gd name="T48" fmla="*/ 181 w 182"/>
                <a:gd name="T49" fmla="*/ 22 h 30"/>
                <a:gd name="T50" fmla="*/ 182 w 182"/>
                <a:gd name="T51" fmla="*/ 18 h 30"/>
                <a:gd name="T52" fmla="*/ 182 w 182"/>
                <a:gd name="T53" fmla="*/ 15 h 30"/>
                <a:gd name="T54" fmla="*/ 182 w 182"/>
                <a:gd name="T55" fmla="*/ 12 h 30"/>
                <a:gd name="T56" fmla="*/ 181 w 182"/>
                <a:gd name="T57" fmla="*/ 10 h 30"/>
                <a:gd name="T58" fmla="*/ 180 w 182"/>
                <a:gd name="T59" fmla="*/ 7 h 30"/>
                <a:gd name="T60" fmla="*/ 178 w 182"/>
                <a:gd name="T61" fmla="*/ 4 h 30"/>
                <a:gd name="T62" fmla="*/ 176 w 182"/>
                <a:gd name="T63" fmla="*/ 2 h 30"/>
                <a:gd name="T64" fmla="*/ 173 w 182"/>
                <a:gd name="T65" fmla="*/ 1 h 30"/>
                <a:gd name="T66" fmla="*/ 171 w 182"/>
                <a:gd name="T67" fmla="*/ 0 h 30"/>
                <a:gd name="T68" fmla="*/ 167 w 18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2" h="30">
                  <a:moveTo>
                    <a:pt x="167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5" y="4"/>
                  </a:lnTo>
                  <a:lnTo>
                    <a:pt x="4" y="7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2"/>
                  </a:lnTo>
                  <a:lnTo>
                    <a:pt x="4" y="24"/>
                  </a:lnTo>
                  <a:lnTo>
                    <a:pt x="5" y="26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167" y="30"/>
                  </a:lnTo>
                  <a:lnTo>
                    <a:pt x="171" y="30"/>
                  </a:lnTo>
                  <a:lnTo>
                    <a:pt x="173" y="29"/>
                  </a:lnTo>
                  <a:lnTo>
                    <a:pt x="176" y="28"/>
                  </a:lnTo>
                  <a:lnTo>
                    <a:pt x="178" y="26"/>
                  </a:lnTo>
                  <a:lnTo>
                    <a:pt x="180" y="24"/>
                  </a:lnTo>
                  <a:lnTo>
                    <a:pt x="181" y="22"/>
                  </a:lnTo>
                  <a:lnTo>
                    <a:pt x="182" y="18"/>
                  </a:lnTo>
                  <a:lnTo>
                    <a:pt x="182" y="15"/>
                  </a:lnTo>
                  <a:lnTo>
                    <a:pt x="182" y="12"/>
                  </a:lnTo>
                  <a:lnTo>
                    <a:pt x="181" y="10"/>
                  </a:lnTo>
                  <a:lnTo>
                    <a:pt x="180" y="7"/>
                  </a:lnTo>
                  <a:lnTo>
                    <a:pt x="178" y="4"/>
                  </a:lnTo>
                  <a:lnTo>
                    <a:pt x="176" y="2"/>
                  </a:lnTo>
                  <a:lnTo>
                    <a:pt x="173" y="1"/>
                  </a:lnTo>
                  <a:lnTo>
                    <a:pt x="171" y="0"/>
                  </a:lnTo>
                  <a:lnTo>
                    <a:pt x="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183">
              <a:extLst>
                <a:ext uri="{FF2B5EF4-FFF2-40B4-BE49-F238E27FC236}">
                  <a16:creationId xmlns:a16="http://schemas.microsoft.com/office/drawing/2014/main" id="{ABE9AEEB-19DE-46EB-A1D8-4E5856620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0763" y="1579563"/>
              <a:ext cx="57150" cy="9525"/>
            </a:xfrm>
            <a:custGeom>
              <a:avLst/>
              <a:gdLst>
                <a:gd name="T0" fmla="*/ 167 w 182"/>
                <a:gd name="T1" fmla="*/ 0 h 30"/>
                <a:gd name="T2" fmla="*/ 15 w 182"/>
                <a:gd name="T3" fmla="*/ 0 h 30"/>
                <a:gd name="T4" fmla="*/ 13 w 182"/>
                <a:gd name="T5" fmla="*/ 1 h 30"/>
                <a:gd name="T6" fmla="*/ 10 w 182"/>
                <a:gd name="T7" fmla="*/ 1 h 30"/>
                <a:gd name="T8" fmla="*/ 8 w 182"/>
                <a:gd name="T9" fmla="*/ 3 h 30"/>
                <a:gd name="T10" fmla="*/ 5 w 182"/>
                <a:gd name="T11" fmla="*/ 5 h 30"/>
                <a:gd name="T12" fmla="*/ 4 w 182"/>
                <a:gd name="T13" fmla="*/ 7 h 30"/>
                <a:gd name="T14" fmla="*/ 1 w 182"/>
                <a:gd name="T15" fmla="*/ 10 h 30"/>
                <a:gd name="T16" fmla="*/ 1 w 182"/>
                <a:gd name="T17" fmla="*/ 13 h 30"/>
                <a:gd name="T18" fmla="*/ 0 w 182"/>
                <a:gd name="T19" fmla="*/ 15 h 30"/>
                <a:gd name="T20" fmla="*/ 1 w 182"/>
                <a:gd name="T21" fmla="*/ 18 h 30"/>
                <a:gd name="T22" fmla="*/ 1 w 182"/>
                <a:gd name="T23" fmla="*/ 21 h 30"/>
                <a:gd name="T24" fmla="*/ 4 w 182"/>
                <a:gd name="T25" fmla="*/ 24 h 30"/>
                <a:gd name="T26" fmla="*/ 5 w 182"/>
                <a:gd name="T27" fmla="*/ 26 h 30"/>
                <a:gd name="T28" fmla="*/ 8 w 182"/>
                <a:gd name="T29" fmla="*/ 28 h 30"/>
                <a:gd name="T30" fmla="*/ 10 w 182"/>
                <a:gd name="T31" fmla="*/ 29 h 30"/>
                <a:gd name="T32" fmla="*/ 13 w 182"/>
                <a:gd name="T33" fmla="*/ 30 h 30"/>
                <a:gd name="T34" fmla="*/ 15 w 182"/>
                <a:gd name="T35" fmla="*/ 30 h 30"/>
                <a:gd name="T36" fmla="*/ 167 w 182"/>
                <a:gd name="T37" fmla="*/ 30 h 30"/>
                <a:gd name="T38" fmla="*/ 171 w 182"/>
                <a:gd name="T39" fmla="*/ 30 h 30"/>
                <a:gd name="T40" fmla="*/ 173 w 182"/>
                <a:gd name="T41" fmla="*/ 29 h 30"/>
                <a:gd name="T42" fmla="*/ 176 w 182"/>
                <a:gd name="T43" fmla="*/ 28 h 30"/>
                <a:gd name="T44" fmla="*/ 178 w 182"/>
                <a:gd name="T45" fmla="*/ 26 h 30"/>
                <a:gd name="T46" fmla="*/ 180 w 182"/>
                <a:gd name="T47" fmla="*/ 24 h 30"/>
                <a:gd name="T48" fmla="*/ 181 w 182"/>
                <a:gd name="T49" fmla="*/ 21 h 30"/>
                <a:gd name="T50" fmla="*/ 182 w 182"/>
                <a:gd name="T51" fmla="*/ 18 h 30"/>
                <a:gd name="T52" fmla="*/ 182 w 182"/>
                <a:gd name="T53" fmla="*/ 15 h 30"/>
                <a:gd name="T54" fmla="*/ 182 w 182"/>
                <a:gd name="T55" fmla="*/ 13 h 30"/>
                <a:gd name="T56" fmla="*/ 181 w 182"/>
                <a:gd name="T57" fmla="*/ 10 h 30"/>
                <a:gd name="T58" fmla="*/ 180 w 182"/>
                <a:gd name="T59" fmla="*/ 7 h 30"/>
                <a:gd name="T60" fmla="*/ 178 w 182"/>
                <a:gd name="T61" fmla="*/ 5 h 30"/>
                <a:gd name="T62" fmla="*/ 176 w 182"/>
                <a:gd name="T63" fmla="*/ 3 h 30"/>
                <a:gd name="T64" fmla="*/ 173 w 182"/>
                <a:gd name="T65" fmla="*/ 1 h 30"/>
                <a:gd name="T66" fmla="*/ 171 w 182"/>
                <a:gd name="T67" fmla="*/ 1 h 30"/>
                <a:gd name="T68" fmla="*/ 167 w 18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2" h="30">
                  <a:moveTo>
                    <a:pt x="167" y="0"/>
                  </a:moveTo>
                  <a:lnTo>
                    <a:pt x="15" y="0"/>
                  </a:lnTo>
                  <a:lnTo>
                    <a:pt x="13" y="1"/>
                  </a:lnTo>
                  <a:lnTo>
                    <a:pt x="10" y="1"/>
                  </a:lnTo>
                  <a:lnTo>
                    <a:pt x="8" y="3"/>
                  </a:lnTo>
                  <a:lnTo>
                    <a:pt x="5" y="5"/>
                  </a:lnTo>
                  <a:lnTo>
                    <a:pt x="4" y="7"/>
                  </a:lnTo>
                  <a:lnTo>
                    <a:pt x="1" y="10"/>
                  </a:lnTo>
                  <a:lnTo>
                    <a:pt x="1" y="13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4" y="24"/>
                  </a:lnTo>
                  <a:lnTo>
                    <a:pt x="5" y="26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167" y="30"/>
                  </a:lnTo>
                  <a:lnTo>
                    <a:pt x="171" y="30"/>
                  </a:lnTo>
                  <a:lnTo>
                    <a:pt x="173" y="29"/>
                  </a:lnTo>
                  <a:lnTo>
                    <a:pt x="176" y="28"/>
                  </a:lnTo>
                  <a:lnTo>
                    <a:pt x="178" y="26"/>
                  </a:lnTo>
                  <a:lnTo>
                    <a:pt x="180" y="24"/>
                  </a:lnTo>
                  <a:lnTo>
                    <a:pt x="181" y="21"/>
                  </a:lnTo>
                  <a:lnTo>
                    <a:pt x="182" y="18"/>
                  </a:lnTo>
                  <a:lnTo>
                    <a:pt x="182" y="15"/>
                  </a:lnTo>
                  <a:lnTo>
                    <a:pt x="182" y="13"/>
                  </a:lnTo>
                  <a:lnTo>
                    <a:pt x="181" y="10"/>
                  </a:lnTo>
                  <a:lnTo>
                    <a:pt x="180" y="7"/>
                  </a:lnTo>
                  <a:lnTo>
                    <a:pt x="178" y="5"/>
                  </a:lnTo>
                  <a:lnTo>
                    <a:pt x="176" y="3"/>
                  </a:lnTo>
                  <a:lnTo>
                    <a:pt x="173" y="1"/>
                  </a:lnTo>
                  <a:lnTo>
                    <a:pt x="171" y="1"/>
                  </a:lnTo>
                  <a:lnTo>
                    <a:pt x="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184">
              <a:extLst>
                <a:ext uri="{FF2B5EF4-FFF2-40B4-BE49-F238E27FC236}">
                  <a16:creationId xmlns:a16="http://schemas.microsoft.com/office/drawing/2014/main" id="{A9DBBEB3-6C23-4C85-B1EB-2DCDA4556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9325" y="1450976"/>
              <a:ext cx="57150" cy="39688"/>
            </a:xfrm>
            <a:custGeom>
              <a:avLst/>
              <a:gdLst>
                <a:gd name="T0" fmla="*/ 156 w 181"/>
                <a:gd name="T1" fmla="*/ 4 h 126"/>
                <a:gd name="T2" fmla="*/ 71 w 181"/>
                <a:gd name="T3" fmla="*/ 88 h 126"/>
                <a:gd name="T4" fmla="*/ 25 w 181"/>
                <a:gd name="T5" fmla="*/ 43 h 126"/>
                <a:gd name="T6" fmla="*/ 23 w 181"/>
                <a:gd name="T7" fmla="*/ 41 h 126"/>
                <a:gd name="T8" fmla="*/ 20 w 181"/>
                <a:gd name="T9" fmla="*/ 39 h 126"/>
                <a:gd name="T10" fmla="*/ 18 w 181"/>
                <a:gd name="T11" fmla="*/ 39 h 126"/>
                <a:gd name="T12" fmla="*/ 15 w 181"/>
                <a:gd name="T13" fmla="*/ 38 h 126"/>
                <a:gd name="T14" fmla="*/ 11 w 181"/>
                <a:gd name="T15" fmla="*/ 39 h 126"/>
                <a:gd name="T16" fmla="*/ 9 w 181"/>
                <a:gd name="T17" fmla="*/ 39 h 126"/>
                <a:gd name="T18" fmla="*/ 6 w 181"/>
                <a:gd name="T19" fmla="*/ 41 h 126"/>
                <a:gd name="T20" fmla="*/ 4 w 181"/>
                <a:gd name="T21" fmla="*/ 43 h 126"/>
                <a:gd name="T22" fmla="*/ 2 w 181"/>
                <a:gd name="T23" fmla="*/ 45 h 126"/>
                <a:gd name="T24" fmla="*/ 1 w 181"/>
                <a:gd name="T25" fmla="*/ 47 h 126"/>
                <a:gd name="T26" fmla="*/ 0 w 181"/>
                <a:gd name="T27" fmla="*/ 51 h 126"/>
                <a:gd name="T28" fmla="*/ 0 w 181"/>
                <a:gd name="T29" fmla="*/ 53 h 126"/>
                <a:gd name="T30" fmla="*/ 0 w 181"/>
                <a:gd name="T31" fmla="*/ 56 h 126"/>
                <a:gd name="T32" fmla="*/ 1 w 181"/>
                <a:gd name="T33" fmla="*/ 59 h 126"/>
                <a:gd name="T34" fmla="*/ 2 w 181"/>
                <a:gd name="T35" fmla="*/ 61 h 126"/>
                <a:gd name="T36" fmla="*/ 4 w 181"/>
                <a:gd name="T37" fmla="*/ 63 h 126"/>
                <a:gd name="T38" fmla="*/ 61 w 181"/>
                <a:gd name="T39" fmla="*/ 121 h 126"/>
                <a:gd name="T40" fmla="*/ 63 w 181"/>
                <a:gd name="T41" fmla="*/ 122 h 126"/>
                <a:gd name="T42" fmla="*/ 66 w 181"/>
                <a:gd name="T43" fmla="*/ 124 h 126"/>
                <a:gd name="T44" fmla="*/ 68 w 181"/>
                <a:gd name="T45" fmla="*/ 126 h 126"/>
                <a:gd name="T46" fmla="*/ 71 w 181"/>
                <a:gd name="T47" fmla="*/ 126 h 126"/>
                <a:gd name="T48" fmla="*/ 74 w 181"/>
                <a:gd name="T49" fmla="*/ 126 h 126"/>
                <a:gd name="T50" fmla="*/ 77 w 181"/>
                <a:gd name="T51" fmla="*/ 124 h 126"/>
                <a:gd name="T52" fmla="*/ 80 w 181"/>
                <a:gd name="T53" fmla="*/ 122 h 126"/>
                <a:gd name="T54" fmla="*/ 82 w 181"/>
                <a:gd name="T55" fmla="*/ 121 h 126"/>
                <a:gd name="T56" fmla="*/ 176 w 181"/>
                <a:gd name="T57" fmla="*/ 26 h 126"/>
                <a:gd name="T58" fmla="*/ 178 w 181"/>
                <a:gd name="T59" fmla="*/ 24 h 126"/>
                <a:gd name="T60" fmla="*/ 180 w 181"/>
                <a:gd name="T61" fmla="*/ 21 h 126"/>
                <a:gd name="T62" fmla="*/ 180 w 181"/>
                <a:gd name="T63" fmla="*/ 17 h 126"/>
                <a:gd name="T64" fmla="*/ 181 w 181"/>
                <a:gd name="T65" fmla="*/ 15 h 126"/>
                <a:gd name="T66" fmla="*/ 180 w 181"/>
                <a:gd name="T67" fmla="*/ 12 h 126"/>
                <a:gd name="T68" fmla="*/ 180 w 181"/>
                <a:gd name="T69" fmla="*/ 9 h 126"/>
                <a:gd name="T70" fmla="*/ 178 w 181"/>
                <a:gd name="T71" fmla="*/ 6 h 126"/>
                <a:gd name="T72" fmla="*/ 176 w 181"/>
                <a:gd name="T73" fmla="*/ 4 h 126"/>
                <a:gd name="T74" fmla="*/ 172 w 181"/>
                <a:gd name="T75" fmla="*/ 1 h 126"/>
                <a:gd name="T76" fmla="*/ 166 w 181"/>
                <a:gd name="T77" fmla="*/ 0 h 126"/>
                <a:gd name="T78" fmla="*/ 160 w 181"/>
                <a:gd name="T79" fmla="*/ 1 h 126"/>
                <a:gd name="T80" fmla="*/ 156 w 181"/>
                <a:gd name="T81" fmla="*/ 4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1" h="126">
                  <a:moveTo>
                    <a:pt x="156" y="4"/>
                  </a:moveTo>
                  <a:lnTo>
                    <a:pt x="71" y="88"/>
                  </a:lnTo>
                  <a:lnTo>
                    <a:pt x="25" y="43"/>
                  </a:lnTo>
                  <a:lnTo>
                    <a:pt x="23" y="41"/>
                  </a:lnTo>
                  <a:lnTo>
                    <a:pt x="20" y="39"/>
                  </a:lnTo>
                  <a:lnTo>
                    <a:pt x="18" y="39"/>
                  </a:lnTo>
                  <a:lnTo>
                    <a:pt x="15" y="38"/>
                  </a:lnTo>
                  <a:lnTo>
                    <a:pt x="11" y="39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4" y="43"/>
                  </a:lnTo>
                  <a:lnTo>
                    <a:pt x="2" y="45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0" y="56"/>
                  </a:lnTo>
                  <a:lnTo>
                    <a:pt x="1" y="59"/>
                  </a:lnTo>
                  <a:lnTo>
                    <a:pt x="2" y="61"/>
                  </a:lnTo>
                  <a:lnTo>
                    <a:pt x="4" y="63"/>
                  </a:lnTo>
                  <a:lnTo>
                    <a:pt x="61" y="121"/>
                  </a:lnTo>
                  <a:lnTo>
                    <a:pt x="63" y="122"/>
                  </a:lnTo>
                  <a:lnTo>
                    <a:pt x="66" y="124"/>
                  </a:lnTo>
                  <a:lnTo>
                    <a:pt x="68" y="126"/>
                  </a:lnTo>
                  <a:lnTo>
                    <a:pt x="71" y="126"/>
                  </a:lnTo>
                  <a:lnTo>
                    <a:pt x="74" y="126"/>
                  </a:lnTo>
                  <a:lnTo>
                    <a:pt x="77" y="124"/>
                  </a:lnTo>
                  <a:lnTo>
                    <a:pt x="80" y="122"/>
                  </a:lnTo>
                  <a:lnTo>
                    <a:pt x="82" y="121"/>
                  </a:lnTo>
                  <a:lnTo>
                    <a:pt x="176" y="26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0" y="17"/>
                  </a:lnTo>
                  <a:lnTo>
                    <a:pt x="181" y="15"/>
                  </a:lnTo>
                  <a:lnTo>
                    <a:pt x="180" y="12"/>
                  </a:lnTo>
                  <a:lnTo>
                    <a:pt x="180" y="9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2" y="1"/>
                  </a:lnTo>
                  <a:lnTo>
                    <a:pt x="166" y="0"/>
                  </a:lnTo>
                  <a:lnTo>
                    <a:pt x="160" y="1"/>
                  </a:lnTo>
                  <a:lnTo>
                    <a:pt x="156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185">
              <a:extLst>
                <a:ext uri="{FF2B5EF4-FFF2-40B4-BE49-F238E27FC236}">
                  <a16:creationId xmlns:a16="http://schemas.microsoft.com/office/drawing/2014/main" id="{2223B595-8F12-4E33-AA34-7B6B53BEB4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9325" y="1504951"/>
              <a:ext cx="57150" cy="39688"/>
            </a:xfrm>
            <a:custGeom>
              <a:avLst/>
              <a:gdLst>
                <a:gd name="T0" fmla="*/ 156 w 181"/>
                <a:gd name="T1" fmla="*/ 4 h 124"/>
                <a:gd name="T2" fmla="*/ 71 w 181"/>
                <a:gd name="T3" fmla="*/ 88 h 124"/>
                <a:gd name="T4" fmla="*/ 25 w 181"/>
                <a:gd name="T5" fmla="*/ 41 h 124"/>
                <a:gd name="T6" fmla="*/ 23 w 181"/>
                <a:gd name="T7" fmla="*/ 39 h 124"/>
                <a:gd name="T8" fmla="*/ 20 w 181"/>
                <a:gd name="T9" fmla="*/ 38 h 124"/>
                <a:gd name="T10" fmla="*/ 18 w 181"/>
                <a:gd name="T11" fmla="*/ 37 h 124"/>
                <a:gd name="T12" fmla="*/ 15 w 181"/>
                <a:gd name="T13" fmla="*/ 37 h 124"/>
                <a:gd name="T14" fmla="*/ 11 w 181"/>
                <a:gd name="T15" fmla="*/ 37 h 124"/>
                <a:gd name="T16" fmla="*/ 9 w 181"/>
                <a:gd name="T17" fmla="*/ 38 h 124"/>
                <a:gd name="T18" fmla="*/ 6 w 181"/>
                <a:gd name="T19" fmla="*/ 39 h 124"/>
                <a:gd name="T20" fmla="*/ 4 w 181"/>
                <a:gd name="T21" fmla="*/ 41 h 124"/>
                <a:gd name="T22" fmla="*/ 2 w 181"/>
                <a:gd name="T23" fmla="*/ 43 h 124"/>
                <a:gd name="T24" fmla="*/ 1 w 181"/>
                <a:gd name="T25" fmla="*/ 47 h 124"/>
                <a:gd name="T26" fmla="*/ 0 w 181"/>
                <a:gd name="T27" fmla="*/ 49 h 124"/>
                <a:gd name="T28" fmla="*/ 0 w 181"/>
                <a:gd name="T29" fmla="*/ 52 h 124"/>
                <a:gd name="T30" fmla="*/ 0 w 181"/>
                <a:gd name="T31" fmla="*/ 55 h 124"/>
                <a:gd name="T32" fmla="*/ 1 w 181"/>
                <a:gd name="T33" fmla="*/ 57 h 124"/>
                <a:gd name="T34" fmla="*/ 2 w 181"/>
                <a:gd name="T35" fmla="*/ 61 h 124"/>
                <a:gd name="T36" fmla="*/ 4 w 181"/>
                <a:gd name="T37" fmla="*/ 63 h 124"/>
                <a:gd name="T38" fmla="*/ 61 w 181"/>
                <a:gd name="T39" fmla="*/ 119 h 124"/>
                <a:gd name="T40" fmla="*/ 63 w 181"/>
                <a:gd name="T41" fmla="*/ 122 h 124"/>
                <a:gd name="T42" fmla="*/ 66 w 181"/>
                <a:gd name="T43" fmla="*/ 123 h 124"/>
                <a:gd name="T44" fmla="*/ 68 w 181"/>
                <a:gd name="T45" fmla="*/ 124 h 124"/>
                <a:gd name="T46" fmla="*/ 71 w 181"/>
                <a:gd name="T47" fmla="*/ 124 h 124"/>
                <a:gd name="T48" fmla="*/ 74 w 181"/>
                <a:gd name="T49" fmla="*/ 124 h 124"/>
                <a:gd name="T50" fmla="*/ 77 w 181"/>
                <a:gd name="T51" fmla="*/ 123 h 124"/>
                <a:gd name="T52" fmla="*/ 80 w 181"/>
                <a:gd name="T53" fmla="*/ 122 h 124"/>
                <a:gd name="T54" fmla="*/ 82 w 181"/>
                <a:gd name="T55" fmla="*/ 119 h 124"/>
                <a:gd name="T56" fmla="*/ 176 w 181"/>
                <a:gd name="T57" fmla="*/ 25 h 124"/>
                <a:gd name="T58" fmla="*/ 178 w 181"/>
                <a:gd name="T59" fmla="*/ 23 h 124"/>
                <a:gd name="T60" fmla="*/ 180 w 181"/>
                <a:gd name="T61" fmla="*/ 20 h 124"/>
                <a:gd name="T62" fmla="*/ 180 w 181"/>
                <a:gd name="T63" fmla="*/ 18 h 124"/>
                <a:gd name="T64" fmla="*/ 181 w 181"/>
                <a:gd name="T65" fmla="*/ 14 h 124"/>
                <a:gd name="T66" fmla="*/ 180 w 181"/>
                <a:gd name="T67" fmla="*/ 11 h 124"/>
                <a:gd name="T68" fmla="*/ 180 w 181"/>
                <a:gd name="T69" fmla="*/ 9 h 124"/>
                <a:gd name="T70" fmla="*/ 178 w 181"/>
                <a:gd name="T71" fmla="*/ 6 h 124"/>
                <a:gd name="T72" fmla="*/ 176 w 181"/>
                <a:gd name="T73" fmla="*/ 4 h 124"/>
                <a:gd name="T74" fmla="*/ 174 w 181"/>
                <a:gd name="T75" fmla="*/ 2 h 124"/>
                <a:gd name="T76" fmla="*/ 172 w 181"/>
                <a:gd name="T77" fmla="*/ 1 h 124"/>
                <a:gd name="T78" fmla="*/ 169 w 181"/>
                <a:gd name="T79" fmla="*/ 0 h 124"/>
                <a:gd name="T80" fmla="*/ 166 w 181"/>
                <a:gd name="T81" fmla="*/ 0 h 124"/>
                <a:gd name="T82" fmla="*/ 163 w 181"/>
                <a:gd name="T83" fmla="*/ 0 h 124"/>
                <a:gd name="T84" fmla="*/ 160 w 181"/>
                <a:gd name="T85" fmla="*/ 1 h 124"/>
                <a:gd name="T86" fmla="*/ 158 w 181"/>
                <a:gd name="T87" fmla="*/ 2 h 124"/>
                <a:gd name="T88" fmla="*/ 156 w 181"/>
                <a:gd name="T89" fmla="*/ 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1" h="124">
                  <a:moveTo>
                    <a:pt x="156" y="4"/>
                  </a:moveTo>
                  <a:lnTo>
                    <a:pt x="71" y="88"/>
                  </a:lnTo>
                  <a:lnTo>
                    <a:pt x="25" y="41"/>
                  </a:lnTo>
                  <a:lnTo>
                    <a:pt x="23" y="39"/>
                  </a:lnTo>
                  <a:lnTo>
                    <a:pt x="20" y="38"/>
                  </a:lnTo>
                  <a:lnTo>
                    <a:pt x="18" y="37"/>
                  </a:lnTo>
                  <a:lnTo>
                    <a:pt x="15" y="37"/>
                  </a:lnTo>
                  <a:lnTo>
                    <a:pt x="11" y="37"/>
                  </a:lnTo>
                  <a:lnTo>
                    <a:pt x="9" y="38"/>
                  </a:lnTo>
                  <a:lnTo>
                    <a:pt x="6" y="39"/>
                  </a:lnTo>
                  <a:lnTo>
                    <a:pt x="4" y="41"/>
                  </a:lnTo>
                  <a:lnTo>
                    <a:pt x="2" y="43"/>
                  </a:lnTo>
                  <a:lnTo>
                    <a:pt x="1" y="47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0" y="55"/>
                  </a:lnTo>
                  <a:lnTo>
                    <a:pt x="1" y="57"/>
                  </a:lnTo>
                  <a:lnTo>
                    <a:pt x="2" y="61"/>
                  </a:lnTo>
                  <a:lnTo>
                    <a:pt x="4" y="63"/>
                  </a:lnTo>
                  <a:lnTo>
                    <a:pt x="61" y="119"/>
                  </a:lnTo>
                  <a:lnTo>
                    <a:pt x="63" y="122"/>
                  </a:lnTo>
                  <a:lnTo>
                    <a:pt x="66" y="123"/>
                  </a:lnTo>
                  <a:lnTo>
                    <a:pt x="68" y="124"/>
                  </a:lnTo>
                  <a:lnTo>
                    <a:pt x="71" y="124"/>
                  </a:lnTo>
                  <a:lnTo>
                    <a:pt x="74" y="124"/>
                  </a:lnTo>
                  <a:lnTo>
                    <a:pt x="77" y="123"/>
                  </a:lnTo>
                  <a:lnTo>
                    <a:pt x="80" y="122"/>
                  </a:lnTo>
                  <a:lnTo>
                    <a:pt x="82" y="119"/>
                  </a:lnTo>
                  <a:lnTo>
                    <a:pt x="176" y="25"/>
                  </a:lnTo>
                  <a:lnTo>
                    <a:pt x="178" y="23"/>
                  </a:lnTo>
                  <a:lnTo>
                    <a:pt x="180" y="20"/>
                  </a:lnTo>
                  <a:lnTo>
                    <a:pt x="180" y="18"/>
                  </a:lnTo>
                  <a:lnTo>
                    <a:pt x="181" y="14"/>
                  </a:lnTo>
                  <a:lnTo>
                    <a:pt x="180" y="11"/>
                  </a:lnTo>
                  <a:lnTo>
                    <a:pt x="180" y="9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4" y="2"/>
                  </a:lnTo>
                  <a:lnTo>
                    <a:pt x="172" y="1"/>
                  </a:lnTo>
                  <a:lnTo>
                    <a:pt x="169" y="0"/>
                  </a:lnTo>
                  <a:lnTo>
                    <a:pt x="166" y="0"/>
                  </a:lnTo>
                  <a:lnTo>
                    <a:pt x="163" y="0"/>
                  </a:lnTo>
                  <a:lnTo>
                    <a:pt x="160" y="1"/>
                  </a:lnTo>
                  <a:lnTo>
                    <a:pt x="158" y="2"/>
                  </a:lnTo>
                  <a:lnTo>
                    <a:pt x="156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186">
              <a:extLst>
                <a:ext uri="{FF2B5EF4-FFF2-40B4-BE49-F238E27FC236}">
                  <a16:creationId xmlns:a16="http://schemas.microsoft.com/office/drawing/2014/main" id="{79193162-D106-4974-A2A2-8D89BA87E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9325" y="1558926"/>
              <a:ext cx="57150" cy="39688"/>
            </a:xfrm>
            <a:custGeom>
              <a:avLst/>
              <a:gdLst>
                <a:gd name="T0" fmla="*/ 156 w 181"/>
                <a:gd name="T1" fmla="*/ 5 h 126"/>
                <a:gd name="T2" fmla="*/ 71 w 181"/>
                <a:gd name="T3" fmla="*/ 88 h 126"/>
                <a:gd name="T4" fmla="*/ 25 w 181"/>
                <a:gd name="T5" fmla="*/ 43 h 126"/>
                <a:gd name="T6" fmla="*/ 23 w 181"/>
                <a:gd name="T7" fmla="*/ 41 h 126"/>
                <a:gd name="T8" fmla="*/ 20 w 181"/>
                <a:gd name="T9" fmla="*/ 40 h 126"/>
                <a:gd name="T10" fmla="*/ 18 w 181"/>
                <a:gd name="T11" fmla="*/ 39 h 126"/>
                <a:gd name="T12" fmla="*/ 15 w 181"/>
                <a:gd name="T13" fmla="*/ 39 h 126"/>
                <a:gd name="T14" fmla="*/ 11 w 181"/>
                <a:gd name="T15" fmla="*/ 39 h 126"/>
                <a:gd name="T16" fmla="*/ 9 w 181"/>
                <a:gd name="T17" fmla="*/ 40 h 126"/>
                <a:gd name="T18" fmla="*/ 6 w 181"/>
                <a:gd name="T19" fmla="*/ 41 h 126"/>
                <a:gd name="T20" fmla="*/ 4 w 181"/>
                <a:gd name="T21" fmla="*/ 43 h 126"/>
                <a:gd name="T22" fmla="*/ 2 w 181"/>
                <a:gd name="T23" fmla="*/ 46 h 126"/>
                <a:gd name="T24" fmla="*/ 1 w 181"/>
                <a:gd name="T25" fmla="*/ 49 h 126"/>
                <a:gd name="T26" fmla="*/ 0 w 181"/>
                <a:gd name="T27" fmla="*/ 51 h 126"/>
                <a:gd name="T28" fmla="*/ 0 w 181"/>
                <a:gd name="T29" fmla="*/ 54 h 126"/>
                <a:gd name="T30" fmla="*/ 0 w 181"/>
                <a:gd name="T31" fmla="*/ 57 h 126"/>
                <a:gd name="T32" fmla="*/ 1 w 181"/>
                <a:gd name="T33" fmla="*/ 60 h 126"/>
                <a:gd name="T34" fmla="*/ 2 w 181"/>
                <a:gd name="T35" fmla="*/ 63 h 126"/>
                <a:gd name="T36" fmla="*/ 4 w 181"/>
                <a:gd name="T37" fmla="*/ 65 h 126"/>
                <a:gd name="T38" fmla="*/ 61 w 181"/>
                <a:gd name="T39" fmla="*/ 122 h 126"/>
                <a:gd name="T40" fmla="*/ 63 w 181"/>
                <a:gd name="T41" fmla="*/ 124 h 126"/>
                <a:gd name="T42" fmla="*/ 66 w 181"/>
                <a:gd name="T43" fmla="*/ 125 h 126"/>
                <a:gd name="T44" fmla="*/ 68 w 181"/>
                <a:gd name="T45" fmla="*/ 126 h 126"/>
                <a:gd name="T46" fmla="*/ 71 w 181"/>
                <a:gd name="T47" fmla="*/ 126 h 126"/>
                <a:gd name="T48" fmla="*/ 74 w 181"/>
                <a:gd name="T49" fmla="*/ 126 h 126"/>
                <a:gd name="T50" fmla="*/ 77 w 181"/>
                <a:gd name="T51" fmla="*/ 125 h 126"/>
                <a:gd name="T52" fmla="*/ 80 w 181"/>
                <a:gd name="T53" fmla="*/ 124 h 126"/>
                <a:gd name="T54" fmla="*/ 82 w 181"/>
                <a:gd name="T55" fmla="*/ 122 h 126"/>
                <a:gd name="T56" fmla="*/ 176 w 181"/>
                <a:gd name="T57" fmla="*/ 27 h 126"/>
                <a:gd name="T58" fmla="*/ 178 w 181"/>
                <a:gd name="T59" fmla="*/ 24 h 126"/>
                <a:gd name="T60" fmla="*/ 180 w 181"/>
                <a:gd name="T61" fmla="*/ 22 h 126"/>
                <a:gd name="T62" fmla="*/ 180 w 181"/>
                <a:gd name="T63" fmla="*/ 19 h 126"/>
                <a:gd name="T64" fmla="*/ 181 w 181"/>
                <a:gd name="T65" fmla="*/ 16 h 126"/>
                <a:gd name="T66" fmla="*/ 180 w 181"/>
                <a:gd name="T67" fmla="*/ 12 h 126"/>
                <a:gd name="T68" fmla="*/ 180 w 181"/>
                <a:gd name="T69" fmla="*/ 10 h 126"/>
                <a:gd name="T70" fmla="*/ 178 w 181"/>
                <a:gd name="T71" fmla="*/ 7 h 126"/>
                <a:gd name="T72" fmla="*/ 176 w 181"/>
                <a:gd name="T73" fmla="*/ 5 h 126"/>
                <a:gd name="T74" fmla="*/ 174 w 181"/>
                <a:gd name="T75" fmla="*/ 3 h 126"/>
                <a:gd name="T76" fmla="*/ 172 w 181"/>
                <a:gd name="T77" fmla="*/ 2 h 126"/>
                <a:gd name="T78" fmla="*/ 169 w 181"/>
                <a:gd name="T79" fmla="*/ 1 h 126"/>
                <a:gd name="T80" fmla="*/ 166 w 181"/>
                <a:gd name="T81" fmla="*/ 0 h 126"/>
                <a:gd name="T82" fmla="*/ 163 w 181"/>
                <a:gd name="T83" fmla="*/ 1 h 126"/>
                <a:gd name="T84" fmla="*/ 160 w 181"/>
                <a:gd name="T85" fmla="*/ 2 h 126"/>
                <a:gd name="T86" fmla="*/ 158 w 181"/>
                <a:gd name="T87" fmla="*/ 3 h 126"/>
                <a:gd name="T88" fmla="*/ 156 w 181"/>
                <a:gd name="T89" fmla="*/ 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1" h="126">
                  <a:moveTo>
                    <a:pt x="156" y="5"/>
                  </a:moveTo>
                  <a:lnTo>
                    <a:pt x="71" y="88"/>
                  </a:lnTo>
                  <a:lnTo>
                    <a:pt x="25" y="43"/>
                  </a:lnTo>
                  <a:lnTo>
                    <a:pt x="23" y="41"/>
                  </a:lnTo>
                  <a:lnTo>
                    <a:pt x="20" y="40"/>
                  </a:lnTo>
                  <a:lnTo>
                    <a:pt x="18" y="39"/>
                  </a:lnTo>
                  <a:lnTo>
                    <a:pt x="15" y="39"/>
                  </a:lnTo>
                  <a:lnTo>
                    <a:pt x="11" y="39"/>
                  </a:lnTo>
                  <a:lnTo>
                    <a:pt x="9" y="40"/>
                  </a:lnTo>
                  <a:lnTo>
                    <a:pt x="6" y="41"/>
                  </a:lnTo>
                  <a:lnTo>
                    <a:pt x="4" y="43"/>
                  </a:lnTo>
                  <a:lnTo>
                    <a:pt x="2" y="46"/>
                  </a:lnTo>
                  <a:lnTo>
                    <a:pt x="1" y="49"/>
                  </a:lnTo>
                  <a:lnTo>
                    <a:pt x="0" y="51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1" y="60"/>
                  </a:lnTo>
                  <a:lnTo>
                    <a:pt x="2" y="63"/>
                  </a:lnTo>
                  <a:lnTo>
                    <a:pt x="4" y="65"/>
                  </a:lnTo>
                  <a:lnTo>
                    <a:pt x="61" y="122"/>
                  </a:lnTo>
                  <a:lnTo>
                    <a:pt x="63" y="124"/>
                  </a:lnTo>
                  <a:lnTo>
                    <a:pt x="66" y="125"/>
                  </a:lnTo>
                  <a:lnTo>
                    <a:pt x="68" y="126"/>
                  </a:lnTo>
                  <a:lnTo>
                    <a:pt x="71" y="126"/>
                  </a:lnTo>
                  <a:lnTo>
                    <a:pt x="74" y="126"/>
                  </a:lnTo>
                  <a:lnTo>
                    <a:pt x="77" y="125"/>
                  </a:lnTo>
                  <a:lnTo>
                    <a:pt x="80" y="124"/>
                  </a:lnTo>
                  <a:lnTo>
                    <a:pt x="82" y="122"/>
                  </a:lnTo>
                  <a:lnTo>
                    <a:pt x="176" y="27"/>
                  </a:lnTo>
                  <a:lnTo>
                    <a:pt x="178" y="24"/>
                  </a:lnTo>
                  <a:lnTo>
                    <a:pt x="180" y="22"/>
                  </a:lnTo>
                  <a:lnTo>
                    <a:pt x="180" y="19"/>
                  </a:lnTo>
                  <a:lnTo>
                    <a:pt x="181" y="16"/>
                  </a:lnTo>
                  <a:lnTo>
                    <a:pt x="180" y="12"/>
                  </a:lnTo>
                  <a:lnTo>
                    <a:pt x="180" y="10"/>
                  </a:lnTo>
                  <a:lnTo>
                    <a:pt x="178" y="7"/>
                  </a:lnTo>
                  <a:lnTo>
                    <a:pt x="176" y="5"/>
                  </a:lnTo>
                  <a:lnTo>
                    <a:pt x="174" y="3"/>
                  </a:lnTo>
                  <a:lnTo>
                    <a:pt x="172" y="2"/>
                  </a:lnTo>
                  <a:lnTo>
                    <a:pt x="169" y="1"/>
                  </a:lnTo>
                  <a:lnTo>
                    <a:pt x="166" y="0"/>
                  </a:lnTo>
                  <a:lnTo>
                    <a:pt x="163" y="1"/>
                  </a:lnTo>
                  <a:lnTo>
                    <a:pt x="160" y="2"/>
                  </a:lnTo>
                  <a:lnTo>
                    <a:pt x="158" y="3"/>
                  </a:lnTo>
                  <a:lnTo>
                    <a:pt x="156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CB520553-C82E-4FAA-867A-DD7BDB2939BC}"/>
              </a:ext>
            </a:extLst>
          </p:cNvPr>
          <p:cNvGrpSpPr/>
          <p:nvPr/>
        </p:nvGrpSpPr>
        <p:grpSpPr>
          <a:xfrm>
            <a:off x="7897281" y="4941201"/>
            <a:ext cx="285750" cy="285750"/>
            <a:chOff x="6451600" y="2505076"/>
            <a:chExt cx="285750" cy="285750"/>
          </a:xfrm>
          <a:solidFill>
            <a:schemeClr val="bg1"/>
          </a:solidFill>
        </p:grpSpPr>
        <p:sp>
          <p:nvSpPr>
            <p:cNvPr id="108" name="Freeform 296">
              <a:extLst>
                <a:ext uri="{FF2B5EF4-FFF2-40B4-BE49-F238E27FC236}">
                  <a16:creationId xmlns:a16="http://schemas.microsoft.com/office/drawing/2014/main" id="{DA5F12AA-4326-4FD0-AB6D-C03F14F317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75425" y="2505076"/>
              <a:ext cx="161925" cy="209550"/>
            </a:xfrm>
            <a:custGeom>
              <a:avLst/>
              <a:gdLst>
                <a:gd name="T0" fmla="*/ 330 w 510"/>
                <a:gd name="T1" fmla="*/ 53 h 660"/>
                <a:gd name="T2" fmla="*/ 459 w 510"/>
                <a:gd name="T3" fmla="*/ 180 h 660"/>
                <a:gd name="T4" fmla="*/ 330 w 510"/>
                <a:gd name="T5" fmla="*/ 180 h 660"/>
                <a:gd name="T6" fmla="*/ 330 w 510"/>
                <a:gd name="T7" fmla="*/ 53 h 660"/>
                <a:gd name="T8" fmla="*/ 509 w 510"/>
                <a:gd name="T9" fmla="*/ 191 h 660"/>
                <a:gd name="T10" fmla="*/ 508 w 510"/>
                <a:gd name="T11" fmla="*/ 187 h 660"/>
                <a:gd name="T12" fmla="*/ 506 w 510"/>
                <a:gd name="T13" fmla="*/ 185 h 660"/>
                <a:gd name="T14" fmla="*/ 326 w 510"/>
                <a:gd name="T15" fmla="*/ 4 h 660"/>
                <a:gd name="T16" fmla="*/ 323 w 510"/>
                <a:gd name="T17" fmla="*/ 3 h 660"/>
                <a:gd name="T18" fmla="*/ 321 w 510"/>
                <a:gd name="T19" fmla="*/ 1 h 660"/>
                <a:gd name="T20" fmla="*/ 317 w 510"/>
                <a:gd name="T21" fmla="*/ 1 h 660"/>
                <a:gd name="T22" fmla="*/ 315 w 510"/>
                <a:gd name="T23" fmla="*/ 0 h 660"/>
                <a:gd name="T24" fmla="*/ 15 w 510"/>
                <a:gd name="T25" fmla="*/ 0 h 660"/>
                <a:gd name="T26" fmla="*/ 11 w 510"/>
                <a:gd name="T27" fmla="*/ 0 h 660"/>
                <a:gd name="T28" fmla="*/ 8 w 510"/>
                <a:gd name="T29" fmla="*/ 1 h 660"/>
                <a:gd name="T30" fmla="*/ 6 w 510"/>
                <a:gd name="T31" fmla="*/ 3 h 660"/>
                <a:gd name="T32" fmla="*/ 4 w 510"/>
                <a:gd name="T33" fmla="*/ 4 h 660"/>
                <a:gd name="T34" fmla="*/ 2 w 510"/>
                <a:gd name="T35" fmla="*/ 7 h 660"/>
                <a:gd name="T36" fmla="*/ 1 w 510"/>
                <a:gd name="T37" fmla="*/ 10 h 660"/>
                <a:gd name="T38" fmla="*/ 0 w 510"/>
                <a:gd name="T39" fmla="*/ 12 h 660"/>
                <a:gd name="T40" fmla="*/ 0 w 510"/>
                <a:gd name="T41" fmla="*/ 15 h 660"/>
                <a:gd name="T42" fmla="*/ 0 w 510"/>
                <a:gd name="T43" fmla="*/ 545 h 660"/>
                <a:gd name="T44" fmla="*/ 30 w 510"/>
                <a:gd name="T45" fmla="*/ 545 h 660"/>
                <a:gd name="T46" fmla="*/ 30 w 510"/>
                <a:gd name="T47" fmla="*/ 30 h 660"/>
                <a:gd name="T48" fmla="*/ 300 w 510"/>
                <a:gd name="T49" fmla="*/ 30 h 660"/>
                <a:gd name="T50" fmla="*/ 300 w 510"/>
                <a:gd name="T51" fmla="*/ 195 h 660"/>
                <a:gd name="T52" fmla="*/ 300 w 510"/>
                <a:gd name="T53" fmla="*/ 198 h 660"/>
                <a:gd name="T54" fmla="*/ 301 w 510"/>
                <a:gd name="T55" fmla="*/ 201 h 660"/>
                <a:gd name="T56" fmla="*/ 302 w 510"/>
                <a:gd name="T57" fmla="*/ 205 h 660"/>
                <a:gd name="T58" fmla="*/ 305 w 510"/>
                <a:gd name="T59" fmla="*/ 207 h 660"/>
                <a:gd name="T60" fmla="*/ 307 w 510"/>
                <a:gd name="T61" fmla="*/ 208 h 660"/>
                <a:gd name="T62" fmla="*/ 309 w 510"/>
                <a:gd name="T63" fmla="*/ 209 h 660"/>
                <a:gd name="T64" fmla="*/ 312 w 510"/>
                <a:gd name="T65" fmla="*/ 210 h 660"/>
                <a:gd name="T66" fmla="*/ 315 w 510"/>
                <a:gd name="T67" fmla="*/ 210 h 660"/>
                <a:gd name="T68" fmla="*/ 480 w 510"/>
                <a:gd name="T69" fmla="*/ 210 h 660"/>
                <a:gd name="T70" fmla="*/ 480 w 510"/>
                <a:gd name="T71" fmla="*/ 630 h 660"/>
                <a:gd name="T72" fmla="*/ 135 w 510"/>
                <a:gd name="T73" fmla="*/ 630 h 660"/>
                <a:gd name="T74" fmla="*/ 135 w 510"/>
                <a:gd name="T75" fmla="*/ 660 h 660"/>
                <a:gd name="T76" fmla="*/ 495 w 510"/>
                <a:gd name="T77" fmla="*/ 660 h 660"/>
                <a:gd name="T78" fmla="*/ 498 w 510"/>
                <a:gd name="T79" fmla="*/ 660 h 660"/>
                <a:gd name="T80" fmla="*/ 501 w 510"/>
                <a:gd name="T81" fmla="*/ 659 h 660"/>
                <a:gd name="T82" fmla="*/ 504 w 510"/>
                <a:gd name="T83" fmla="*/ 658 h 660"/>
                <a:gd name="T84" fmla="*/ 506 w 510"/>
                <a:gd name="T85" fmla="*/ 657 h 660"/>
                <a:gd name="T86" fmla="*/ 508 w 510"/>
                <a:gd name="T87" fmla="*/ 655 h 660"/>
                <a:gd name="T88" fmla="*/ 509 w 510"/>
                <a:gd name="T89" fmla="*/ 652 h 660"/>
                <a:gd name="T90" fmla="*/ 510 w 510"/>
                <a:gd name="T91" fmla="*/ 649 h 660"/>
                <a:gd name="T92" fmla="*/ 510 w 510"/>
                <a:gd name="T93" fmla="*/ 645 h 660"/>
                <a:gd name="T94" fmla="*/ 510 w 510"/>
                <a:gd name="T95" fmla="*/ 195 h 660"/>
                <a:gd name="T96" fmla="*/ 510 w 510"/>
                <a:gd name="T97" fmla="*/ 193 h 660"/>
                <a:gd name="T98" fmla="*/ 509 w 510"/>
                <a:gd name="T99" fmla="*/ 191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10" h="660">
                  <a:moveTo>
                    <a:pt x="330" y="53"/>
                  </a:moveTo>
                  <a:lnTo>
                    <a:pt x="459" y="180"/>
                  </a:lnTo>
                  <a:lnTo>
                    <a:pt x="330" y="180"/>
                  </a:lnTo>
                  <a:lnTo>
                    <a:pt x="330" y="53"/>
                  </a:lnTo>
                  <a:close/>
                  <a:moveTo>
                    <a:pt x="509" y="191"/>
                  </a:moveTo>
                  <a:lnTo>
                    <a:pt x="508" y="187"/>
                  </a:lnTo>
                  <a:lnTo>
                    <a:pt x="506" y="185"/>
                  </a:lnTo>
                  <a:lnTo>
                    <a:pt x="326" y="4"/>
                  </a:lnTo>
                  <a:lnTo>
                    <a:pt x="323" y="3"/>
                  </a:lnTo>
                  <a:lnTo>
                    <a:pt x="321" y="1"/>
                  </a:lnTo>
                  <a:lnTo>
                    <a:pt x="317" y="1"/>
                  </a:lnTo>
                  <a:lnTo>
                    <a:pt x="315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45"/>
                  </a:lnTo>
                  <a:lnTo>
                    <a:pt x="30" y="545"/>
                  </a:lnTo>
                  <a:lnTo>
                    <a:pt x="30" y="30"/>
                  </a:lnTo>
                  <a:lnTo>
                    <a:pt x="300" y="30"/>
                  </a:lnTo>
                  <a:lnTo>
                    <a:pt x="300" y="195"/>
                  </a:lnTo>
                  <a:lnTo>
                    <a:pt x="300" y="198"/>
                  </a:lnTo>
                  <a:lnTo>
                    <a:pt x="301" y="201"/>
                  </a:lnTo>
                  <a:lnTo>
                    <a:pt x="302" y="205"/>
                  </a:lnTo>
                  <a:lnTo>
                    <a:pt x="305" y="207"/>
                  </a:lnTo>
                  <a:lnTo>
                    <a:pt x="307" y="208"/>
                  </a:lnTo>
                  <a:lnTo>
                    <a:pt x="309" y="209"/>
                  </a:lnTo>
                  <a:lnTo>
                    <a:pt x="312" y="210"/>
                  </a:lnTo>
                  <a:lnTo>
                    <a:pt x="315" y="210"/>
                  </a:lnTo>
                  <a:lnTo>
                    <a:pt x="480" y="210"/>
                  </a:lnTo>
                  <a:lnTo>
                    <a:pt x="480" y="630"/>
                  </a:lnTo>
                  <a:lnTo>
                    <a:pt x="135" y="630"/>
                  </a:lnTo>
                  <a:lnTo>
                    <a:pt x="135" y="660"/>
                  </a:lnTo>
                  <a:lnTo>
                    <a:pt x="495" y="660"/>
                  </a:lnTo>
                  <a:lnTo>
                    <a:pt x="498" y="660"/>
                  </a:lnTo>
                  <a:lnTo>
                    <a:pt x="501" y="659"/>
                  </a:lnTo>
                  <a:lnTo>
                    <a:pt x="504" y="658"/>
                  </a:lnTo>
                  <a:lnTo>
                    <a:pt x="506" y="657"/>
                  </a:lnTo>
                  <a:lnTo>
                    <a:pt x="508" y="655"/>
                  </a:lnTo>
                  <a:lnTo>
                    <a:pt x="509" y="652"/>
                  </a:lnTo>
                  <a:lnTo>
                    <a:pt x="510" y="649"/>
                  </a:lnTo>
                  <a:lnTo>
                    <a:pt x="510" y="645"/>
                  </a:lnTo>
                  <a:lnTo>
                    <a:pt x="510" y="195"/>
                  </a:lnTo>
                  <a:lnTo>
                    <a:pt x="510" y="193"/>
                  </a:lnTo>
                  <a:lnTo>
                    <a:pt x="509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297">
              <a:extLst>
                <a:ext uri="{FF2B5EF4-FFF2-40B4-BE49-F238E27FC236}">
                  <a16:creationId xmlns:a16="http://schemas.microsoft.com/office/drawing/2014/main" id="{D4E8CE2D-306B-42B7-AB75-294FC654C8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51600" y="2695576"/>
              <a:ext cx="261938" cy="95250"/>
            </a:xfrm>
            <a:custGeom>
              <a:avLst/>
              <a:gdLst>
                <a:gd name="T0" fmla="*/ 297 w 825"/>
                <a:gd name="T1" fmla="*/ 59 h 300"/>
                <a:gd name="T2" fmla="*/ 355 w 825"/>
                <a:gd name="T3" fmla="*/ 77 h 300"/>
                <a:gd name="T4" fmla="*/ 396 w 825"/>
                <a:gd name="T5" fmla="*/ 102 h 300"/>
                <a:gd name="T6" fmla="*/ 261 w 825"/>
                <a:gd name="T7" fmla="*/ 120 h 300"/>
                <a:gd name="T8" fmla="*/ 253 w 825"/>
                <a:gd name="T9" fmla="*/ 123 h 300"/>
                <a:gd name="T10" fmla="*/ 247 w 825"/>
                <a:gd name="T11" fmla="*/ 129 h 300"/>
                <a:gd name="T12" fmla="*/ 246 w 825"/>
                <a:gd name="T13" fmla="*/ 139 h 300"/>
                <a:gd name="T14" fmla="*/ 250 w 825"/>
                <a:gd name="T15" fmla="*/ 146 h 300"/>
                <a:gd name="T16" fmla="*/ 258 w 825"/>
                <a:gd name="T17" fmla="*/ 149 h 300"/>
                <a:gd name="T18" fmla="*/ 546 w 825"/>
                <a:gd name="T19" fmla="*/ 150 h 300"/>
                <a:gd name="T20" fmla="*/ 603 w 825"/>
                <a:gd name="T21" fmla="*/ 155 h 300"/>
                <a:gd name="T22" fmla="*/ 658 w 825"/>
                <a:gd name="T23" fmla="*/ 164 h 300"/>
                <a:gd name="T24" fmla="*/ 707 w 825"/>
                <a:gd name="T25" fmla="*/ 179 h 300"/>
                <a:gd name="T26" fmla="*/ 747 w 825"/>
                <a:gd name="T27" fmla="*/ 199 h 300"/>
                <a:gd name="T28" fmla="*/ 778 w 825"/>
                <a:gd name="T29" fmla="*/ 221 h 300"/>
                <a:gd name="T30" fmla="*/ 182 w 825"/>
                <a:gd name="T31" fmla="*/ 240 h 300"/>
                <a:gd name="T32" fmla="*/ 30 w 825"/>
                <a:gd name="T33" fmla="*/ 29 h 300"/>
                <a:gd name="T34" fmla="*/ 526 w 825"/>
                <a:gd name="T35" fmla="*/ 120 h 300"/>
                <a:gd name="T36" fmla="*/ 454 w 825"/>
                <a:gd name="T37" fmla="*/ 117 h 300"/>
                <a:gd name="T38" fmla="*/ 418 w 825"/>
                <a:gd name="T39" fmla="*/ 82 h 300"/>
                <a:gd name="T40" fmla="*/ 381 w 825"/>
                <a:gd name="T41" fmla="*/ 57 h 300"/>
                <a:gd name="T42" fmla="*/ 345 w 825"/>
                <a:gd name="T43" fmla="*/ 41 h 300"/>
                <a:gd name="T44" fmla="*/ 302 w 825"/>
                <a:gd name="T45" fmla="*/ 29 h 300"/>
                <a:gd name="T46" fmla="*/ 182 w 825"/>
                <a:gd name="T47" fmla="*/ 29 h 300"/>
                <a:gd name="T48" fmla="*/ 181 w 825"/>
                <a:gd name="T49" fmla="*/ 9 h 300"/>
                <a:gd name="T50" fmla="*/ 174 w 825"/>
                <a:gd name="T51" fmla="*/ 3 h 300"/>
                <a:gd name="T52" fmla="*/ 167 w 825"/>
                <a:gd name="T53" fmla="*/ 0 h 300"/>
                <a:gd name="T54" fmla="*/ 10 w 825"/>
                <a:gd name="T55" fmla="*/ 2 h 300"/>
                <a:gd name="T56" fmla="*/ 2 w 825"/>
                <a:gd name="T57" fmla="*/ 7 h 300"/>
                <a:gd name="T58" fmla="*/ 0 w 825"/>
                <a:gd name="T59" fmla="*/ 14 h 300"/>
                <a:gd name="T60" fmla="*/ 1 w 825"/>
                <a:gd name="T61" fmla="*/ 292 h 300"/>
                <a:gd name="T62" fmla="*/ 6 w 825"/>
                <a:gd name="T63" fmla="*/ 298 h 300"/>
                <a:gd name="T64" fmla="*/ 15 w 825"/>
                <a:gd name="T65" fmla="*/ 300 h 300"/>
                <a:gd name="T66" fmla="*/ 172 w 825"/>
                <a:gd name="T67" fmla="*/ 299 h 300"/>
                <a:gd name="T68" fmla="*/ 179 w 825"/>
                <a:gd name="T69" fmla="*/ 294 h 300"/>
                <a:gd name="T70" fmla="*/ 182 w 825"/>
                <a:gd name="T71" fmla="*/ 285 h 300"/>
                <a:gd name="T72" fmla="*/ 813 w 825"/>
                <a:gd name="T73" fmla="*/ 270 h 300"/>
                <a:gd name="T74" fmla="*/ 821 w 825"/>
                <a:gd name="T75" fmla="*/ 266 h 300"/>
                <a:gd name="T76" fmla="*/ 825 w 825"/>
                <a:gd name="T77" fmla="*/ 259 h 300"/>
                <a:gd name="T78" fmla="*/ 824 w 825"/>
                <a:gd name="T79" fmla="*/ 240 h 300"/>
                <a:gd name="T80" fmla="*/ 815 w 825"/>
                <a:gd name="T81" fmla="*/ 220 h 300"/>
                <a:gd name="T82" fmla="*/ 798 w 825"/>
                <a:gd name="T83" fmla="*/ 200 h 300"/>
                <a:gd name="T84" fmla="*/ 765 w 825"/>
                <a:gd name="T85" fmla="*/ 174 h 300"/>
                <a:gd name="T86" fmla="*/ 721 w 825"/>
                <a:gd name="T87" fmla="*/ 154 h 300"/>
                <a:gd name="T88" fmla="*/ 669 w 825"/>
                <a:gd name="T89" fmla="*/ 137 h 300"/>
                <a:gd name="T90" fmla="*/ 610 w 825"/>
                <a:gd name="T91" fmla="*/ 126 h 300"/>
                <a:gd name="T92" fmla="*/ 548 w 825"/>
                <a:gd name="T93" fmla="*/ 12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25" h="300">
                  <a:moveTo>
                    <a:pt x="182" y="240"/>
                  </a:moveTo>
                  <a:lnTo>
                    <a:pt x="182" y="59"/>
                  </a:lnTo>
                  <a:lnTo>
                    <a:pt x="297" y="59"/>
                  </a:lnTo>
                  <a:lnTo>
                    <a:pt x="319" y="64"/>
                  </a:lnTo>
                  <a:lnTo>
                    <a:pt x="338" y="70"/>
                  </a:lnTo>
                  <a:lnTo>
                    <a:pt x="355" y="77"/>
                  </a:lnTo>
                  <a:lnTo>
                    <a:pt x="370" y="85"/>
                  </a:lnTo>
                  <a:lnTo>
                    <a:pt x="384" y="94"/>
                  </a:lnTo>
                  <a:lnTo>
                    <a:pt x="396" y="102"/>
                  </a:lnTo>
                  <a:lnTo>
                    <a:pt x="407" y="111"/>
                  </a:lnTo>
                  <a:lnTo>
                    <a:pt x="416" y="120"/>
                  </a:lnTo>
                  <a:lnTo>
                    <a:pt x="261" y="120"/>
                  </a:lnTo>
                  <a:lnTo>
                    <a:pt x="258" y="120"/>
                  </a:lnTo>
                  <a:lnTo>
                    <a:pt x="256" y="122"/>
                  </a:lnTo>
                  <a:lnTo>
                    <a:pt x="253" y="123"/>
                  </a:lnTo>
                  <a:lnTo>
                    <a:pt x="250" y="125"/>
                  </a:lnTo>
                  <a:lnTo>
                    <a:pt x="248" y="127"/>
                  </a:lnTo>
                  <a:lnTo>
                    <a:pt x="247" y="129"/>
                  </a:lnTo>
                  <a:lnTo>
                    <a:pt x="246" y="132"/>
                  </a:lnTo>
                  <a:lnTo>
                    <a:pt x="246" y="135"/>
                  </a:lnTo>
                  <a:lnTo>
                    <a:pt x="246" y="139"/>
                  </a:lnTo>
                  <a:lnTo>
                    <a:pt x="247" y="141"/>
                  </a:lnTo>
                  <a:lnTo>
                    <a:pt x="248" y="144"/>
                  </a:lnTo>
                  <a:lnTo>
                    <a:pt x="250" y="146"/>
                  </a:lnTo>
                  <a:lnTo>
                    <a:pt x="253" y="147"/>
                  </a:lnTo>
                  <a:lnTo>
                    <a:pt x="256" y="149"/>
                  </a:lnTo>
                  <a:lnTo>
                    <a:pt x="258" y="149"/>
                  </a:lnTo>
                  <a:lnTo>
                    <a:pt x="261" y="150"/>
                  </a:lnTo>
                  <a:lnTo>
                    <a:pt x="526" y="150"/>
                  </a:lnTo>
                  <a:lnTo>
                    <a:pt x="546" y="150"/>
                  </a:lnTo>
                  <a:lnTo>
                    <a:pt x="566" y="150"/>
                  </a:lnTo>
                  <a:lnTo>
                    <a:pt x="585" y="153"/>
                  </a:lnTo>
                  <a:lnTo>
                    <a:pt x="603" y="155"/>
                  </a:lnTo>
                  <a:lnTo>
                    <a:pt x="623" y="157"/>
                  </a:lnTo>
                  <a:lnTo>
                    <a:pt x="641" y="161"/>
                  </a:lnTo>
                  <a:lnTo>
                    <a:pt x="658" y="164"/>
                  </a:lnTo>
                  <a:lnTo>
                    <a:pt x="675" y="169"/>
                  </a:lnTo>
                  <a:lnTo>
                    <a:pt x="691" y="174"/>
                  </a:lnTo>
                  <a:lnTo>
                    <a:pt x="707" y="179"/>
                  </a:lnTo>
                  <a:lnTo>
                    <a:pt x="721" y="186"/>
                  </a:lnTo>
                  <a:lnTo>
                    <a:pt x="735" y="192"/>
                  </a:lnTo>
                  <a:lnTo>
                    <a:pt x="747" y="199"/>
                  </a:lnTo>
                  <a:lnTo>
                    <a:pt x="759" y="205"/>
                  </a:lnTo>
                  <a:lnTo>
                    <a:pt x="768" y="212"/>
                  </a:lnTo>
                  <a:lnTo>
                    <a:pt x="778" y="221"/>
                  </a:lnTo>
                  <a:lnTo>
                    <a:pt x="786" y="231"/>
                  </a:lnTo>
                  <a:lnTo>
                    <a:pt x="792" y="240"/>
                  </a:lnTo>
                  <a:lnTo>
                    <a:pt x="182" y="240"/>
                  </a:lnTo>
                  <a:close/>
                  <a:moveTo>
                    <a:pt x="152" y="270"/>
                  </a:moveTo>
                  <a:lnTo>
                    <a:pt x="30" y="270"/>
                  </a:lnTo>
                  <a:lnTo>
                    <a:pt x="30" y="29"/>
                  </a:lnTo>
                  <a:lnTo>
                    <a:pt x="152" y="29"/>
                  </a:lnTo>
                  <a:lnTo>
                    <a:pt x="152" y="270"/>
                  </a:lnTo>
                  <a:close/>
                  <a:moveTo>
                    <a:pt x="526" y="120"/>
                  </a:moveTo>
                  <a:lnTo>
                    <a:pt x="458" y="120"/>
                  </a:lnTo>
                  <a:lnTo>
                    <a:pt x="456" y="118"/>
                  </a:lnTo>
                  <a:lnTo>
                    <a:pt x="454" y="117"/>
                  </a:lnTo>
                  <a:lnTo>
                    <a:pt x="445" y="107"/>
                  </a:lnTo>
                  <a:lnTo>
                    <a:pt x="432" y="95"/>
                  </a:lnTo>
                  <a:lnTo>
                    <a:pt x="418" y="82"/>
                  </a:lnTo>
                  <a:lnTo>
                    <a:pt x="401" y="69"/>
                  </a:lnTo>
                  <a:lnTo>
                    <a:pt x="392" y="63"/>
                  </a:lnTo>
                  <a:lnTo>
                    <a:pt x="381" y="57"/>
                  </a:lnTo>
                  <a:lnTo>
                    <a:pt x="369" y="51"/>
                  </a:lnTo>
                  <a:lnTo>
                    <a:pt x="357" y="46"/>
                  </a:lnTo>
                  <a:lnTo>
                    <a:pt x="345" y="41"/>
                  </a:lnTo>
                  <a:lnTo>
                    <a:pt x="331" y="37"/>
                  </a:lnTo>
                  <a:lnTo>
                    <a:pt x="317" y="33"/>
                  </a:lnTo>
                  <a:lnTo>
                    <a:pt x="302" y="29"/>
                  </a:lnTo>
                  <a:lnTo>
                    <a:pt x="300" y="29"/>
                  </a:lnTo>
                  <a:lnTo>
                    <a:pt x="299" y="29"/>
                  </a:lnTo>
                  <a:lnTo>
                    <a:pt x="182" y="29"/>
                  </a:lnTo>
                  <a:lnTo>
                    <a:pt x="182" y="14"/>
                  </a:lnTo>
                  <a:lnTo>
                    <a:pt x="181" y="12"/>
                  </a:lnTo>
                  <a:lnTo>
                    <a:pt x="181" y="9"/>
                  </a:lnTo>
                  <a:lnTo>
                    <a:pt x="179" y="7"/>
                  </a:lnTo>
                  <a:lnTo>
                    <a:pt x="178" y="5"/>
                  </a:lnTo>
                  <a:lnTo>
                    <a:pt x="174" y="3"/>
                  </a:lnTo>
                  <a:lnTo>
                    <a:pt x="172" y="2"/>
                  </a:lnTo>
                  <a:lnTo>
                    <a:pt x="169" y="1"/>
                  </a:lnTo>
                  <a:lnTo>
                    <a:pt x="167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285"/>
                  </a:lnTo>
                  <a:lnTo>
                    <a:pt x="0" y="288"/>
                  </a:lnTo>
                  <a:lnTo>
                    <a:pt x="1" y="292"/>
                  </a:lnTo>
                  <a:lnTo>
                    <a:pt x="2" y="294"/>
                  </a:lnTo>
                  <a:lnTo>
                    <a:pt x="4" y="296"/>
                  </a:lnTo>
                  <a:lnTo>
                    <a:pt x="6" y="298"/>
                  </a:lnTo>
                  <a:lnTo>
                    <a:pt x="10" y="299"/>
                  </a:lnTo>
                  <a:lnTo>
                    <a:pt x="12" y="300"/>
                  </a:lnTo>
                  <a:lnTo>
                    <a:pt x="15" y="300"/>
                  </a:lnTo>
                  <a:lnTo>
                    <a:pt x="167" y="300"/>
                  </a:lnTo>
                  <a:lnTo>
                    <a:pt x="169" y="300"/>
                  </a:lnTo>
                  <a:lnTo>
                    <a:pt x="172" y="299"/>
                  </a:lnTo>
                  <a:lnTo>
                    <a:pt x="174" y="298"/>
                  </a:lnTo>
                  <a:lnTo>
                    <a:pt x="178" y="296"/>
                  </a:lnTo>
                  <a:lnTo>
                    <a:pt x="179" y="294"/>
                  </a:lnTo>
                  <a:lnTo>
                    <a:pt x="181" y="292"/>
                  </a:lnTo>
                  <a:lnTo>
                    <a:pt x="181" y="288"/>
                  </a:lnTo>
                  <a:lnTo>
                    <a:pt x="182" y="285"/>
                  </a:lnTo>
                  <a:lnTo>
                    <a:pt x="182" y="270"/>
                  </a:lnTo>
                  <a:lnTo>
                    <a:pt x="810" y="270"/>
                  </a:lnTo>
                  <a:lnTo>
                    <a:pt x="813" y="270"/>
                  </a:lnTo>
                  <a:lnTo>
                    <a:pt x="816" y="269"/>
                  </a:lnTo>
                  <a:lnTo>
                    <a:pt x="819" y="268"/>
                  </a:lnTo>
                  <a:lnTo>
                    <a:pt x="821" y="266"/>
                  </a:lnTo>
                  <a:lnTo>
                    <a:pt x="823" y="264"/>
                  </a:lnTo>
                  <a:lnTo>
                    <a:pt x="824" y="262"/>
                  </a:lnTo>
                  <a:lnTo>
                    <a:pt x="825" y="259"/>
                  </a:lnTo>
                  <a:lnTo>
                    <a:pt x="825" y="255"/>
                  </a:lnTo>
                  <a:lnTo>
                    <a:pt x="825" y="248"/>
                  </a:lnTo>
                  <a:lnTo>
                    <a:pt x="824" y="240"/>
                  </a:lnTo>
                  <a:lnTo>
                    <a:pt x="822" y="234"/>
                  </a:lnTo>
                  <a:lnTo>
                    <a:pt x="819" y="226"/>
                  </a:lnTo>
                  <a:lnTo>
                    <a:pt x="815" y="220"/>
                  </a:lnTo>
                  <a:lnTo>
                    <a:pt x="810" y="214"/>
                  </a:lnTo>
                  <a:lnTo>
                    <a:pt x="805" y="206"/>
                  </a:lnTo>
                  <a:lnTo>
                    <a:pt x="798" y="200"/>
                  </a:lnTo>
                  <a:lnTo>
                    <a:pt x="789" y="191"/>
                  </a:lnTo>
                  <a:lnTo>
                    <a:pt x="778" y="183"/>
                  </a:lnTo>
                  <a:lnTo>
                    <a:pt x="765" y="174"/>
                  </a:lnTo>
                  <a:lnTo>
                    <a:pt x="751" y="166"/>
                  </a:lnTo>
                  <a:lnTo>
                    <a:pt x="737" y="160"/>
                  </a:lnTo>
                  <a:lnTo>
                    <a:pt x="721" y="154"/>
                  </a:lnTo>
                  <a:lnTo>
                    <a:pt x="705" y="147"/>
                  </a:lnTo>
                  <a:lnTo>
                    <a:pt x="687" y="142"/>
                  </a:lnTo>
                  <a:lnTo>
                    <a:pt x="669" y="137"/>
                  </a:lnTo>
                  <a:lnTo>
                    <a:pt x="649" y="132"/>
                  </a:lnTo>
                  <a:lnTo>
                    <a:pt x="630" y="129"/>
                  </a:lnTo>
                  <a:lnTo>
                    <a:pt x="610" y="126"/>
                  </a:lnTo>
                  <a:lnTo>
                    <a:pt x="590" y="124"/>
                  </a:lnTo>
                  <a:lnTo>
                    <a:pt x="569" y="122"/>
                  </a:lnTo>
                  <a:lnTo>
                    <a:pt x="548" y="120"/>
                  </a:lnTo>
                  <a:lnTo>
                    <a:pt x="5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1626C518-B8A1-491F-BFCA-2A9DCAE1B573}"/>
              </a:ext>
            </a:extLst>
          </p:cNvPr>
          <p:cNvGrpSpPr/>
          <p:nvPr/>
        </p:nvGrpSpPr>
        <p:grpSpPr>
          <a:xfrm>
            <a:off x="7921093" y="3473550"/>
            <a:ext cx="238126" cy="285750"/>
            <a:chOff x="6489700" y="1933576"/>
            <a:chExt cx="238126" cy="285750"/>
          </a:xfrm>
          <a:solidFill>
            <a:schemeClr val="bg1"/>
          </a:solidFill>
        </p:grpSpPr>
        <p:sp>
          <p:nvSpPr>
            <p:cNvPr id="111" name="Freeform 304">
              <a:extLst>
                <a:ext uri="{FF2B5EF4-FFF2-40B4-BE49-F238E27FC236}">
                  <a16:creationId xmlns:a16="http://schemas.microsoft.com/office/drawing/2014/main" id="{1E935909-4DE3-412C-8FFB-FEE0F8D5B5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89700" y="1933576"/>
              <a:ext cx="200025" cy="257175"/>
            </a:xfrm>
            <a:custGeom>
              <a:avLst/>
              <a:gdLst>
                <a:gd name="T0" fmla="*/ 580 w 631"/>
                <a:gd name="T1" fmla="*/ 180 h 811"/>
                <a:gd name="T2" fmla="*/ 450 w 631"/>
                <a:gd name="T3" fmla="*/ 52 h 811"/>
                <a:gd name="T4" fmla="*/ 30 w 631"/>
                <a:gd name="T5" fmla="*/ 781 h 811"/>
                <a:gd name="T6" fmla="*/ 420 w 631"/>
                <a:gd name="T7" fmla="*/ 30 h 811"/>
                <a:gd name="T8" fmla="*/ 421 w 631"/>
                <a:gd name="T9" fmla="*/ 198 h 811"/>
                <a:gd name="T10" fmla="*/ 424 w 631"/>
                <a:gd name="T11" fmla="*/ 203 h 811"/>
                <a:gd name="T12" fmla="*/ 427 w 631"/>
                <a:gd name="T13" fmla="*/ 208 h 811"/>
                <a:gd name="T14" fmla="*/ 432 w 631"/>
                <a:gd name="T15" fmla="*/ 210 h 811"/>
                <a:gd name="T16" fmla="*/ 601 w 631"/>
                <a:gd name="T17" fmla="*/ 210 h 811"/>
                <a:gd name="T18" fmla="*/ 601 w 631"/>
                <a:gd name="T19" fmla="*/ 273 h 811"/>
                <a:gd name="T20" fmla="*/ 603 w 631"/>
                <a:gd name="T21" fmla="*/ 279 h 811"/>
                <a:gd name="T22" fmla="*/ 608 w 631"/>
                <a:gd name="T23" fmla="*/ 282 h 811"/>
                <a:gd name="T24" fmla="*/ 613 w 631"/>
                <a:gd name="T25" fmla="*/ 285 h 811"/>
                <a:gd name="T26" fmla="*/ 619 w 631"/>
                <a:gd name="T27" fmla="*/ 285 h 811"/>
                <a:gd name="T28" fmla="*/ 625 w 631"/>
                <a:gd name="T29" fmla="*/ 282 h 811"/>
                <a:gd name="T30" fmla="*/ 628 w 631"/>
                <a:gd name="T31" fmla="*/ 279 h 811"/>
                <a:gd name="T32" fmla="*/ 630 w 631"/>
                <a:gd name="T33" fmla="*/ 273 h 811"/>
                <a:gd name="T34" fmla="*/ 631 w 631"/>
                <a:gd name="T35" fmla="*/ 195 h 811"/>
                <a:gd name="T36" fmla="*/ 627 w 631"/>
                <a:gd name="T37" fmla="*/ 184 h 811"/>
                <a:gd name="T38" fmla="*/ 444 w 631"/>
                <a:gd name="T39" fmla="*/ 2 h 811"/>
                <a:gd name="T40" fmla="*/ 439 w 631"/>
                <a:gd name="T41" fmla="*/ 0 h 811"/>
                <a:gd name="T42" fmla="*/ 15 w 631"/>
                <a:gd name="T43" fmla="*/ 0 h 811"/>
                <a:gd name="T44" fmla="*/ 9 w 631"/>
                <a:gd name="T45" fmla="*/ 1 h 811"/>
                <a:gd name="T46" fmla="*/ 4 w 631"/>
                <a:gd name="T47" fmla="*/ 4 h 811"/>
                <a:gd name="T48" fmla="*/ 1 w 631"/>
                <a:gd name="T49" fmla="*/ 10 h 811"/>
                <a:gd name="T50" fmla="*/ 0 w 631"/>
                <a:gd name="T51" fmla="*/ 15 h 811"/>
                <a:gd name="T52" fmla="*/ 1 w 631"/>
                <a:gd name="T53" fmla="*/ 799 h 811"/>
                <a:gd name="T54" fmla="*/ 3 w 631"/>
                <a:gd name="T55" fmla="*/ 805 h 811"/>
                <a:gd name="T56" fmla="*/ 6 w 631"/>
                <a:gd name="T57" fmla="*/ 808 h 811"/>
                <a:gd name="T58" fmla="*/ 12 w 631"/>
                <a:gd name="T59" fmla="*/ 810 h 811"/>
                <a:gd name="T60" fmla="*/ 351 w 631"/>
                <a:gd name="T61" fmla="*/ 811 h 811"/>
                <a:gd name="T62" fmla="*/ 357 w 631"/>
                <a:gd name="T63" fmla="*/ 810 h 811"/>
                <a:gd name="T64" fmla="*/ 362 w 631"/>
                <a:gd name="T65" fmla="*/ 807 h 811"/>
                <a:gd name="T66" fmla="*/ 365 w 631"/>
                <a:gd name="T67" fmla="*/ 801 h 811"/>
                <a:gd name="T68" fmla="*/ 366 w 631"/>
                <a:gd name="T69" fmla="*/ 796 h 811"/>
                <a:gd name="T70" fmla="*/ 365 w 631"/>
                <a:gd name="T71" fmla="*/ 790 h 811"/>
                <a:gd name="T72" fmla="*/ 362 w 631"/>
                <a:gd name="T73" fmla="*/ 785 h 811"/>
                <a:gd name="T74" fmla="*/ 357 w 631"/>
                <a:gd name="T75" fmla="*/ 782 h 811"/>
                <a:gd name="T76" fmla="*/ 351 w 631"/>
                <a:gd name="T77" fmla="*/ 781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1" h="811">
                  <a:moveTo>
                    <a:pt x="450" y="52"/>
                  </a:moveTo>
                  <a:lnTo>
                    <a:pt x="580" y="180"/>
                  </a:lnTo>
                  <a:lnTo>
                    <a:pt x="450" y="180"/>
                  </a:lnTo>
                  <a:lnTo>
                    <a:pt x="450" y="52"/>
                  </a:lnTo>
                  <a:close/>
                  <a:moveTo>
                    <a:pt x="351" y="781"/>
                  </a:moveTo>
                  <a:lnTo>
                    <a:pt x="30" y="781"/>
                  </a:lnTo>
                  <a:lnTo>
                    <a:pt x="30" y="30"/>
                  </a:lnTo>
                  <a:lnTo>
                    <a:pt x="420" y="30"/>
                  </a:lnTo>
                  <a:lnTo>
                    <a:pt x="420" y="195"/>
                  </a:lnTo>
                  <a:lnTo>
                    <a:pt x="421" y="198"/>
                  </a:lnTo>
                  <a:lnTo>
                    <a:pt x="421" y="201"/>
                  </a:lnTo>
                  <a:lnTo>
                    <a:pt x="424" y="203"/>
                  </a:lnTo>
                  <a:lnTo>
                    <a:pt x="425" y="205"/>
                  </a:lnTo>
                  <a:lnTo>
                    <a:pt x="427" y="208"/>
                  </a:lnTo>
                  <a:lnTo>
                    <a:pt x="430" y="209"/>
                  </a:lnTo>
                  <a:lnTo>
                    <a:pt x="432" y="210"/>
                  </a:lnTo>
                  <a:lnTo>
                    <a:pt x="435" y="210"/>
                  </a:lnTo>
                  <a:lnTo>
                    <a:pt x="601" y="210"/>
                  </a:lnTo>
                  <a:lnTo>
                    <a:pt x="601" y="270"/>
                  </a:lnTo>
                  <a:lnTo>
                    <a:pt x="601" y="273"/>
                  </a:lnTo>
                  <a:lnTo>
                    <a:pt x="602" y="276"/>
                  </a:lnTo>
                  <a:lnTo>
                    <a:pt x="603" y="279"/>
                  </a:lnTo>
                  <a:lnTo>
                    <a:pt x="605" y="281"/>
                  </a:lnTo>
                  <a:lnTo>
                    <a:pt x="608" y="282"/>
                  </a:lnTo>
                  <a:lnTo>
                    <a:pt x="610" y="284"/>
                  </a:lnTo>
                  <a:lnTo>
                    <a:pt x="613" y="285"/>
                  </a:lnTo>
                  <a:lnTo>
                    <a:pt x="616" y="285"/>
                  </a:lnTo>
                  <a:lnTo>
                    <a:pt x="619" y="285"/>
                  </a:lnTo>
                  <a:lnTo>
                    <a:pt x="622" y="284"/>
                  </a:lnTo>
                  <a:lnTo>
                    <a:pt x="625" y="282"/>
                  </a:lnTo>
                  <a:lnTo>
                    <a:pt x="627" y="281"/>
                  </a:lnTo>
                  <a:lnTo>
                    <a:pt x="628" y="279"/>
                  </a:lnTo>
                  <a:lnTo>
                    <a:pt x="630" y="276"/>
                  </a:lnTo>
                  <a:lnTo>
                    <a:pt x="630" y="273"/>
                  </a:lnTo>
                  <a:lnTo>
                    <a:pt x="631" y="270"/>
                  </a:lnTo>
                  <a:lnTo>
                    <a:pt x="631" y="195"/>
                  </a:lnTo>
                  <a:lnTo>
                    <a:pt x="630" y="189"/>
                  </a:lnTo>
                  <a:lnTo>
                    <a:pt x="627" y="184"/>
                  </a:lnTo>
                  <a:lnTo>
                    <a:pt x="446" y="4"/>
                  </a:lnTo>
                  <a:lnTo>
                    <a:pt x="444" y="2"/>
                  </a:lnTo>
                  <a:lnTo>
                    <a:pt x="442" y="1"/>
                  </a:lnTo>
                  <a:lnTo>
                    <a:pt x="439" y="0"/>
                  </a:lnTo>
                  <a:lnTo>
                    <a:pt x="43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796"/>
                  </a:lnTo>
                  <a:lnTo>
                    <a:pt x="1" y="799"/>
                  </a:lnTo>
                  <a:lnTo>
                    <a:pt x="1" y="801"/>
                  </a:lnTo>
                  <a:lnTo>
                    <a:pt x="3" y="805"/>
                  </a:lnTo>
                  <a:lnTo>
                    <a:pt x="4" y="807"/>
                  </a:lnTo>
                  <a:lnTo>
                    <a:pt x="6" y="808"/>
                  </a:lnTo>
                  <a:lnTo>
                    <a:pt x="9" y="810"/>
                  </a:lnTo>
                  <a:lnTo>
                    <a:pt x="12" y="810"/>
                  </a:lnTo>
                  <a:lnTo>
                    <a:pt x="15" y="811"/>
                  </a:lnTo>
                  <a:lnTo>
                    <a:pt x="351" y="811"/>
                  </a:lnTo>
                  <a:lnTo>
                    <a:pt x="354" y="810"/>
                  </a:lnTo>
                  <a:lnTo>
                    <a:pt x="357" y="810"/>
                  </a:lnTo>
                  <a:lnTo>
                    <a:pt x="359" y="808"/>
                  </a:lnTo>
                  <a:lnTo>
                    <a:pt x="362" y="807"/>
                  </a:lnTo>
                  <a:lnTo>
                    <a:pt x="364" y="805"/>
                  </a:lnTo>
                  <a:lnTo>
                    <a:pt x="365" y="801"/>
                  </a:lnTo>
                  <a:lnTo>
                    <a:pt x="366" y="799"/>
                  </a:lnTo>
                  <a:lnTo>
                    <a:pt x="366" y="796"/>
                  </a:lnTo>
                  <a:lnTo>
                    <a:pt x="366" y="793"/>
                  </a:lnTo>
                  <a:lnTo>
                    <a:pt x="365" y="790"/>
                  </a:lnTo>
                  <a:lnTo>
                    <a:pt x="364" y="788"/>
                  </a:lnTo>
                  <a:lnTo>
                    <a:pt x="362" y="785"/>
                  </a:lnTo>
                  <a:lnTo>
                    <a:pt x="359" y="783"/>
                  </a:lnTo>
                  <a:lnTo>
                    <a:pt x="357" y="782"/>
                  </a:lnTo>
                  <a:lnTo>
                    <a:pt x="354" y="781"/>
                  </a:lnTo>
                  <a:lnTo>
                    <a:pt x="351" y="7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305">
              <a:extLst>
                <a:ext uri="{FF2B5EF4-FFF2-40B4-BE49-F238E27FC236}">
                  <a16:creationId xmlns:a16="http://schemas.microsoft.com/office/drawing/2014/main" id="{279F7867-ADEB-4526-B636-33F5863619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51625" y="2076451"/>
              <a:ext cx="47625" cy="47625"/>
            </a:xfrm>
            <a:custGeom>
              <a:avLst/>
              <a:gdLst>
                <a:gd name="T0" fmla="*/ 85 w 151"/>
                <a:gd name="T1" fmla="*/ 31 h 150"/>
                <a:gd name="T2" fmla="*/ 101 w 151"/>
                <a:gd name="T3" fmla="*/ 38 h 150"/>
                <a:gd name="T4" fmla="*/ 114 w 151"/>
                <a:gd name="T5" fmla="*/ 51 h 150"/>
                <a:gd name="T6" fmla="*/ 120 w 151"/>
                <a:gd name="T7" fmla="*/ 67 h 150"/>
                <a:gd name="T8" fmla="*/ 120 w 151"/>
                <a:gd name="T9" fmla="*/ 85 h 150"/>
                <a:gd name="T10" fmla="*/ 114 w 151"/>
                <a:gd name="T11" fmla="*/ 101 h 150"/>
                <a:gd name="T12" fmla="*/ 101 w 151"/>
                <a:gd name="T13" fmla="*/ 113 h 150"/>
                <a:gd name="T14" fmla="*/ 85 w 151"/>
                <a:gd name="T15" fmla="*/ 119 h 150"/>
                <a:gd name="T16" fmla="*/ 67 w 151"/>
                <a:gd name="T17" fmla="*/ 119 h 150"/>
                <a:gd name="T18" fmla="*/ 51 w 151"/>
                <a:gd name="T19" fmla="*/ 113 h 150"/>
                <a:gd name="T20" fmla="*/ 39 w 151"/>
                <a:gd name="T21" fmla="*/ 101 h 150"/>
                <a:gd name="T22" fmla="*/ 31 w 151"/>
                <a:gd name="T23" fmla="*/ 85 h 150"/>
                <a:gd name="T24" fmla="*/ 31 w 151"/>
                <a:gd name="T25" fmla="*/ 67 h 150"/>
                <a:gd name="T26" fmla="*/ 39 w 151"/>
                <a:gd name="T27" fmla="*/ 51 h 150"/>
                <a:gd name="T28" fmla="*/ 51 w 151"/>
                <a:gd name="T29" fmla="*/ 38 h 150"/>
                <a:gd name="T30" fmla="*/ 67 w 151"/>
                <a:gd name="T31" fmla="*/ 31 h 150"/>
                <a:gd name="T32" fmla="*/ 76 w 151"/>
                <a:gd name="T33" fmla="*/ 150 h 150"/>
                <a:gd name="T34" fmla="*/ 91 w 151"/>
                <a:gd name="T35" fmla="*/ 149 h 150"/>
                <a:gd name="T36" fmla="*/ 105 w 151"/>
                <a:gd name="T37" fmla="*/ 145 h 150"/>
                <a:gd name="T38" fmla="*/ 118 w 151"/>
                <a:gd name="T39" fmla="*/ 137 h 150"/>
                <a:gd name="T40" fmla="*/ 129 w 151"/>
                <a:gd name="T41" fmla="*/ 129 h 150"/>
                <a:gd name="T42" fmla="*/ 138 w 151"/>
                <a:gd name="T43" fmla="*/ 117 h 150"/>
                <a:gd name="T44" fmla="*/ 145 w 151"/>
                <a:gd name="T45" fmla="*/ 105 h 150"/>
                <a:gd name="T46" fmla="*/ 149 w 151"/>
                <a:gd name="T47" fmla="*/ 90 h 150"/>
                <a:gd name="T48" fmla="*/ 151 w 151"/>
                <a:gd name="T49" fmla="*/ 75 h 150"/>
                <a:gd name="T50" fmla="*/ 149 w 151"/>
                <a:gd name="T51" fmla="*/ 60 h 150"/>
                <a:gd name="T52" fmla="*/ 145 w 151"/>
                <a:gd name="T53" fmla="*/ 46 h 150"/>
                <a:gd name="T54" fmla="*/ 138 w 151"/>
                <a:gd name="T55" fmla="*/ 34 h 150"/>
                <a:gd name="T56" fmla="*/ 129 w 151"/>
                <a:gd name="T57" fmla="*/ 23 h 150"/>
                <a:gd name="T58" fmla="*/ 118 w 151"/>
                <a:gd name="T59" fmla="*/ 13 h 150"/>
                <a:gd name="T60" fmla="*/ 105 w 151"/>
                <a:gd name="T61" fmla="*/ 6 h 150"/>
                <a:gd name="T62" fmla="*/ 91 w 151"/>
                <a:gd name="T63" fmla="*/ 2 h 150"/>
                <a:gd name="T64" fmla="*/ 76 w 151"/>
                <a:gd name="T65" fmla="*/ 0 h 150"/>
                <a:gd name="T66" fmla="*/ 61 w 151"/>
                <a:gd name="T67" fmla="*/ 2 h 150"/>
                <a:gd name="T68" fmla="*/ 46 w 151"/>
                <a:gd name="T69" fmla="*/ 6 h 150"/>
                <a:gd name="T70" fmla="*/ 33 w 151"/>
                <a:gd name="T71" fmla="*/ 13 h 150"/>
                <a:gd name="T72" fmla="*/ 23 w 151"/>
                <a:gd name="T73" fmla="*/ 23 h 150"/>
                <a:gd name="T74" fmla="*/ 13 w 151"/>
                <a:gd name="T75" fmla="*/ 34 h 150"/>
                <a:gd name="T76" fmla="*/ 7 w 151"/>
                <a:gd name="T77" fmla="*/ 46 h 150"/>
                <a:gd name="T78" fmla="*/ 2 w 151"/>
                <a:gd name="T79" fmla="*/ 60 h 150"/>
                <a:gd name="T80" fmla="*/ 0 w 151"/>
                <a:gd name="T81" fmla="*/ 75 h 150"/>
                <a:gd name="T82" fmla="*/ 2 w 151"/>
                <a:gd name="T83" fmla="*/ 90 h 150"/>
                <a:gd name="T84" fmla="*/ 7 w 151"/>
                <a:gd name="T85" fmla="*/ 105 h 150"/>
                <a:gd name="T86" fmla="*/ 13 w 151"/>
                <a:gd name="T87" fmla="*/ 117 h 150"/>
                <a:gd name="T88" fmla="*/ 23 w 151"/>
                <a:gd name="T89" fmla="*/ 129 h 150"/>
                <a:gd name="T90" fmla="*/ 33 w 151"/>
                <a:gd name="T91" fmla="*/ 137 h 150"/>
                <a:gd name="T92" fmla="*/ 46 w 151"/>
                <a:gd name="T93" fmla="*/ 145 h 150"/>
                <a:gd name="T94" fmla="*/ 61 w 151"/>
                <a:gd name="T95" fmla="*/ 149 h 150"/>
                <a:gd name="T96" fmla="*/ 76 w 151"/>
                <a:gd name="T97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1" h="150">
                  <a:moveTo>
                    <a:pt x="76" y="30"/>
                  </a:moveTo>
                  <a:lnTo>
                    <a:pt x="85" y="31"/>
                  </a:lnTo>
                  <a:lnTo>
                    <a:pt x="93" y="34"/>
                  </a:lnTo>
                  <a:lnTo>
                    <a:pt x="101" y="38"/>
                  </a:lnTo>
                  <a:lnTo>
                    <a:pt x="107" y="44"/>
                  </a:lnTo>
                  <a:lnTo>
                    <a:pt x="114" y="51"/>
                  </a:lnTo>
                  <a:lnTo>
                    <a:pt x="117" y="58"/>
                  </a:lnTo>
                  <a:lnTo>
                    <a:pt x="120" y="67"/>
                  </a:lnTo>
                  <a:lnTo>
                    <a:pt x="121" y="75"/>
                  </a:lnTo>
                  <a:lnTo>
                    <a:pt x="120" y="85"/>
                  </a:lnTo>
                  <a:lnTo>
                    <a:pt x="117" y="94"/>
                  </a:lnTo>
                  <a:lnTo>
                    <a:pt x="114" y="101"/>
                  </a:lnTo>
                  <a:lnTo>
                    <a:pt x="107" y="107"/>
                  </a:lnTo>
                  <a:lnTo>
                    <a:pt x="101" y="113"/>
                  </a:lnTo>
                  <a:lnTo>
                    <a:pt x="93" y="117"/>
                  </a:lnTo>
                  <a:lnTo>
                    <a:pt x="85" y="119"/>
                  </a:lnTo>
                  <a:lnTo>
                    <a:pt x="76" y="120"/>
                  </a:lnTo>
                  <a:lnTo>
                    <a:pt x="67" y="119"/>
                  </a:lnTo>
                  <a:lnTo>
                    <a:pt x="58" y="117"/>
                  </a:lnTo>
                  <a:lnTo>
                    <a:pt x="51" y="113"/>
                  </a:lnTo>
                  <a:lnTo>
                    <a:pt x="44" y="107"/>
                  </a:lnTo>
                  <a:lnTo>
                    <a:pt x="39" y="101"/>
                  </a:lnTo>
                  <a:lnTo>
                    <a:pt x="34" y="94"/>
                  </a:lnTo>
                  <a:lnTo>
                    <a:pt x="31" y="85"/>
                  </a:lnTo>
                  <a:lnTo>
                    <a:pt x="31" y="75"/>
                  </a:lnTo>
                  <a:lnTo>
                    <a:pt x="31" y="67"/>
                  </a:lnTo>
                  <a:lnTo>
                    <a:pt x="34" y="58"/>
                  </a:lnTo>
                  <a:lnTo>
                    <a:pt x="39" y="51"/>
                  </a:lnTo>
                  <a:lnTo>
                    <a:pt x="44" y="44"/>
                  </a:lnTo>
                  <a:lnTo>
                    <a:pt x="51" y="38"/>
                  </a:lnTo>
                  <a:lnTo>
                    <a:pt x="58" y="34"/>
                  </a:lnTo>
                  <a:lnTo>
                    <a:pt x="67" y="31"/>
                  </a:lnTo>
                  <a:lnTo>
                    <a:pt x="76" y="30"/>
                  </a:lnTo>
                  <a:close/>
                  <a:moveTo>
                    <a:pt x="76" y="150"/>
                  </a:moveTo>
                  <a:lnTo>
                    <a:pt x="84" y="150"/>
                  </a:lnTo>
                  <a:lnTo>
                    <a:pt x="91" y="149"/>
                  </a:lnTo>
                  <a:lnTo>
                    <a:pt x="98" y="147"/>
                  </a:lnTo>
                  <a:lnTo>
                    <a:pt x="105" y="145"/>
                  </a:lnTo>
                  <a:lnTo>
                    <a:pt x="112" y="142"/>
                  </a:lnTo>
                  <a:lnTo>
                    <a:pt x="118" y="137"/>
                  </a:lnTo>
                  <a:lnTo>
                    <a:pt x="123" y="133"/>
                  </a:lnTo>
                  <a:lnTo>
                    <a:pt x="129" y="129"/>
                  </a:lnTo>
                  <a:lnTo>
                    <a:pt x="134" y="124"/>
                  </a:lnTo>
                  <a:lnTo>
                    <a:pt x="138" y="117"/>
                  </a:lnTo>
                  <a:lnTo>
                    <a:pt x="141" y="112"/>
                  </a:lnTo>
                  <a:lnTo>
                    <a:pt x="145" y="105"/>
                  </a:lnTo>
                  <a:lnTo>
                    <a:pt x="148" y="98"/>
                  </a:lnTo>
                  <a:lnTo>
                    <a:pt x="149" y="90"/>
                  </a:lnTo>
                  <a:lnTo>
                    <a:pt x="150" y="83"/>
                  </a:lnTo>
                  <a:lnTo>
                    <a:pt x="151" y="75"/>
                  </a:lnTo>
                  <a:lnTo>
                    <a:pt x="150" y="68"/>
                  </a:lnTo>
                  <a:lnTo>
                    <a:pt x="149" y="60"/>
                  </a:lnTo>
                  <a:lnTo>
                    <a:pt x="148" y="53"/>
                  </a:lnTo>
                  <a:lnTo>
                    <a:pt x="145" y="46"/>
                  </a:lnTo>
                  <a:lnTo>
                    <a:pt x="141" y="40"/>
                  </a:lnTo>
                  <a:lnTo>
                    <a:pt x="138" y="34"/>
                  </a:lnTo>
                  <a:lnTo>
                    <a:pt x="134" y="28"/>
                  </a:lnTo>
                  <a:lnTo>
                    <a:pt x="129" y="23"/>
                  </a:lnTo>
                  <a:lnTo>
                    <a:pt x="123" y="18"/>
                  </a:lnTo>
                  <a:lnTo>
                    <a:pt x="118" y="13"/>
                  </a:lnTo>
                  <a:lnTo>
                    <a:pt x="112" y="9"/>
                  </a:lnTo>
                  <a:lnTo>
                    <a:pt x="105" y="6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4" y="0"/>
                  </a:lnTo>
                  <a:lnTo>
                    <a:pt x="76" y="0"/>
                  </a:lnTo>
                  <a:lnTo>
                    <a:pt x="68" y="0"/>
                  </a:lnTo>
                  <a:lnTo>
                    <a:pt x="61" y="2"/>
                  </a:lnTo>
                  <a:lnTo>
                    <a:pt x="54" y="4"/>
                  </a:lnTo>
                  <a:lnTo>
                    <a:pt x="46" y="6"/>
                  </a:lnTo>
                  <a:lnTo>
                    <a:pt x="40" y="9"/>
                  </a:lnTo>
                  <a:lnTo>
                    <a:pt x="33" y="13"/>
                  </a:lnTo>
                  <a:lnTo>
                    <a:pt x="28" y="18"/>
                  </a:lnTo>
                  <a:lnTo>
                    <a:pt x="23" y="23"/>
                  </a:lnTo>
                  <a:lnTo>
                    <a:pt x="18" y="28"/>
                  </a:lnTo>
                  <a:lnTo>
                    <a:pt x="13" y="34"/>
                  </a:lnTo>
                  <a:lnTo>
                    <a:pt x="10" y="40"/>
                  </a:lnTo>
                  <a:lnTo>
                    <a:pt x="7" y="46"/>
                  </a:lnTo>
                  <a:lnTo>
                    <a:pt x="5" y="53"/>
                  </a:lnTo>
                  <a:lnTo>
                    <a:pt x="2" y="60"/>
                  </a:lnTo>
                  <a:lnTo>
                    <a:pt x="1" y="68"/>
                  </a:lnTo>
                  <a:lnTo>
                    <a:pt x="0" y="75"/>
                  </a:lnTo>
                  <a:lnTo>
                    <a:pt x="1" y="83"/>
                  </a:lnTo>
                  <a:lnTo>
                    <a:pt x="2" y="90"/>
                  </a:lnTo>
                  <a:lnTo>
                    <a:pt x="5" y="98"/>
                  </a:lnTo>
                  <a:lnTo>
                    <a:pt x="7" y="105"/>
                  </a:lnTo>
                  <a:lnTo>
                    <a:pt x="10" y="112"/>
                  </a:lnTo>
                  <a:lnTo>
                    <a:pt x="13" y="117"/>
                  </a:lnTo>
                  <a:lnTo>
                    <a:pt x="18" y="124"/>
                  </a:lnTo>
                  <a:lnTo>
                    <a:pt x="23" y="129"/>
                  </a:lnTo>
                  <a:lnTo>
                    <a:pt x="28" y="133"/>
                  </a:lnTo>
                  <a:lnTo>
                    <a:pt x="33" y="137"/>
                  </a:lnTo>
                  <a:lnTo>
                    <a:pt x="40" y="142"/>
                  </a:lnTo>
                  <a:lnTo>
                    <a:pt x="46" y="145"/>
                  </a:lnTo>
                  <a:lnTo>
                    <a:pt x="54" y="147"/>
                  </a:lnTo>
                  <a:lnTo>
                    <a:pt x="61" y="149"/>
                  </a:lnTo>
                  <a:lnTo>
                    <a:pt x="68" y="150"/>
                  </a:lnTo>
                  <a:lnTo>
                    <a:pt x="76" y="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306">
              <a:extLst>
                <a:ext uri="{FF2B5EF4-FFF2-40B4-BE49-F238E27FC236}">
                  <a16:creationId xmlns:a16="http://schemas.microsoft.com/office/drawing/2014/main" id="{15FD132C-188E-4EBF-AEA4-91600E34A9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8288" y="2041526"/>
              <a:ext cx="109538" cy="177800"/>
            </a:xfrm>
            <a:custGeom>
              <a:avLst/>
              <a:gdLst>
                <a:gd name="T0" fmla="*/ 181 w 346"/>
                <a:gd name="T1" fmla="*/ 441 h 561"/>
                <a:gd name="T2" fmla="*/ 75 w 346"/>
                <a:gd name="T3" fmla="*/ 323 h 561"/>
                <a:gd name="T4" fmla="*/ 108 w 346"/>
                <a:gd name="T5" fmla="*/ 345 h 561"/>
                <a:gd name="T6" fmla="*/ 149 w 346"/>
                <a:gd name="T7" fmla="*/ 368 h 561"/>
                <a:gd name="T8" fmla="*/ 197 w 346"/>
                <a:gd name="T9" fmla="*/ 368 h 561"/>
                <a:gd name="T10" fmla="*/ 239 w 346"/>
                <a:gd name="T11" fmla="*/ 345 h 561"/>
                <a:gd name="T12" fmla="*/ 255 w 346"/>
                <a:gd name="T13" fmla="*/ 326 h 561"/>
                <a:gd name="T14" fmla="*/ 279 w 346"/>
                <a:gd name="T15" fmla="*/ 321 h 561"/>
                <a:gd name="T16" fmla="*/ 46 w 346"/>
                <a:gd name="T17" fmla="*/ 191 h 561"/>
                <a:gd name="T18" fmla="*/ 39 w 346"/>
                <a:gd name="T19" fmla="*/ 169 h 561"/>
                <a:gd name="T20" fmla="*/ 30 w 346"/>
                <a:gd name="T21" fmla="*/ 135 h 561"/>
                <a:gd name="T22" fmla="*/ 44 w 346"/>
                <a:gd name="T23" fmla="*/ 101 h 561"/>
                <a:gd name="T24" fmla="*/ 73 w 346"/>
                <a:gd name="T25" fmla="*/ 82 h 561"/>
                <a:gd name="T26" fmla="*/ 105 w 346"/>
                <a:gd name="T27" fmla="*/ 79 h 561"/>
                <a:gd name="T28" fmla="*/ 121 w 346"/>
                <a:gd name="T29" fmla="*/ 61 h 561"/>
                <a:gd name="T30" fmla="*/ 147 w 346"/>
                <a:gd name="T31" fmla="*/ 37 h 561"/>
                <a:gd name="T32" fmla="*/ 182 w 346"/>
                <a:gd name="T33" fmla="*/ 31 h 561"/>
                <a:gd name="T34" fmla="*/ 214 w 346"/>
                <a:gd name="T35" fmla="*/ 47 h 561"/>
                <a:gd name="T36" fmla="*/ 233 w 346"/>
                <a:gd name="T37" fmla="*/ 74 h 561"/>
                <a:gd name="T38" fmla="*/ 255 w 346"/>
                <a:gd name="T39" fmla="*/ 78 h 561"/>
                <a:gd name="T40" fmla="*/ 289 w 346"/>
                <a:gd name="T41" fmla="*/ 89 h 561"/>
                <a:gd name="T42" fmla="*/ 312 w 346"/>
                <a:gd name="T43" fmla="*/ 117 h 561"/>
                <a:gd name="T44" fmla="*/ 315 w 346"/>
                <a:gd name="T45" fmla="*/ 152 h 561"/>
                <a:gd name="T46" fmla="*/ 300 w 346"/>
                <a:gd name="T47" fmla="*/ 182 h 561"/>
                <a:gd name="T48" fmla="*/ 307 w 346"/>
                <a:gd name="T49" fmla="*/ 204 h 561"/>
                <a:gd name="T50" fmla="*/ 316 w 346"/>
                <a:gd name="T51" fmla="*/ 238 h 561"/>
                <a:gd name="T52" fmla="*/ 303 w 346"/>
                <a:gd name="T53" fmla="*/ 272 h 561"/>
                <a:gd name="T54" fmla="*/ 273 w 346"/>
                <a:gd name="T55" fmla="*/ 292 h 561"/>
                <a:gd name="T56" fmla="*/ 241 w 346"/>
                <a:gd name="T57" fmla="*/ 295 h 561"/>
                <a:gd name="T58" fmla="*/ 226 w 346"/>
                <a:gd name="T59" fmla="*/ 311 h 561"/>
                <a:gd name="T60" fmla="*/ 199 w 346"/>
                <a:gd name="T61" fmla="*/ 335 h 561"/>
                <a:gd name="T62" fmla="*/ 164 w 346"/>
                <a:gd name="T63" fmla="*/ 341 h 561"/>
                <a:gd name="T64" fmla="*/ 132 w 346"/>
                <a:gd name="T65" fmla="*/ 326 h 561"/>
                <a:gd name="T66" fmla="*/ 115 w 346"/>
                <a:gd name="T67" fmla="*/ 299 h 561"/>
                <a:gd name="T68" fmla="*/ 102 w 346"/>
                <a:gd name="T69" fmla="*/ 293 h 561"/>
                <a:gd name="T70" fmla="*/ 73 w 346"/>
                <a:gd name="T71" fmla="*/ 292 h 561"/>
                <a:gd name="T72" fmla="*/ 44 w 346"/>
                <a:gd name="T73" fmla="*/ 272 h 561"/>
                <a:gd name="T74" fmla="*/ 30 w 346"/>
                <a:gd name="T75" fmla="*/ 238 h 561"/>
                <a:gd name="T76" fmla="*/ 39 w 346"/>
                <a:gd name="T77" fmla="*/ 204 h 561"/>
                <a:gd name="T78" fmla="*/ 343 w 346"/>
                <a:gd name="T79" fmla="*/ 164 h 561"/>
                <a:gd name="T80" fmla="*/ 343 w 346"/>
                <a:gd name="T81" fmla="*/ 117 h 561"/>
                <a:gd name="T82" fmla="*/ 319 w 346"/>
                <a:gd name="T83" fmla="*/ 74 h 561"/>
                <a:gd name="T84" fmla="*/ 278 w 346"/>
                <a:gd name="T85" fmla="*/ 52 h 561"/>
                <a:gd name="T86" fmla="*/ 239 w 346"/>
                <a:gd name="T87" fmla="*/ 29 h 561"/>
                <a:gd name="T88" fmla="*/ 198 w 346"/>
                <a:gd name="T89" fmla="*/ 5 h 561"/>
                <a:gd name="T90" fmla="*/ 149 w 346"/>
                <a:gd name="T91" fmla="*/ 5 h 561"/>
                <a:gd name="T92" fmla="*/ 108 w 346"/>
                <a:gd name="T93" fmla="*/ 29 h 561"/>
                <a:gd name="T94" fmla="*/ 69 w 346"/>
                <a:gd name="T95" fmla="*/ 52 h 561"/>
                <a:gd name="T96" fmla="*/ 27 w 346"/>
                <a:gd name="T97" fmla="*/ 75 h 561"/>
                <a:gd name="T98" fmla="*/ 4 w 346"/>
                <a:gd name="T99" fmla="*/ 117 h 561"/>
                <a:gd name="T100" fmla="*/ 5 w 346"/>
                <a:gd name="T101" fmla="*/ 164 h 561"/>
                <a:gd name="T102" fmla="*/ 5 w 346"/>
                <a:gd name="T103" fmla="*/ 209 h 561"/>
                <a:gd name="T104" fmla="*/ 4 w 346"/>
                <a:gd name="T105" fmla="*/ 257 h 561"/>
                <a:gd name="T106" fmla="*/ 27 w 346"/>
                <a:gd name="T107" fmla="*/ 298 h 561"/>
                <a:gd name="T108" fmla="*/ 46 w 346"/>
                <a:gd name="T109" fmla="*/ 550 h 561"/>
                <a:gd name="T110" fmla="*/ 58 w 346"/>
                <a:gd name="T111" fmla="*/ 561 h 561"/>
                <a:gd name="T112" fmla="*/ 181 w 346"/>
                <a:gd name="T113" fmla="*/ 475 h 561"/>
                <a:gd name="T114" fmla="*/ 299 w 346"/>
                <a:gd name="T115" fmla="*/ 561 h 561"/>
                <a:gd name="T116" fmla="*/ 311 w 346"/>
                <a:gd name="T117" fmla="*/ 558 h 561"/>
                <a:gd name="T118" fmla="*/ 316 w 346"/>
                <a:gd name="T119" fmla="*/ 301 h 561"/>
                <a:gd name="T120" fmla="*/ 343 w 346"/>
                <a:gd name="T121" fmla="*/ 257 h 561"/>
                <a:gd name="T122" fmla="*/ 343 w 346"/>
                <a:gd name="T123" fmla="*/ 209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6" h="561">
                  <a:moveTo>
                    <a:pt x="286" y="516"/>
                  </a:moveTo>
                  <a:lnTo>
                    <a:pt x="190" y="443"/>
                  </a:lnTo>
                  <a:lnTo>
                    <a:pt x="185" y="442"/>
                  </a:lnTo>
                  <a:lnTo>
                    <a:pt x="181" y="441"/>
                  </a:lnTo>
                  <a:lnTo>
                    <a:pt x="176" y="442"/>
                  </a:lnTo>
                  <a:lnTo>
                    <a:pt x="172" y="443"/>
                  </a:lnTo>
                  <a:lnTo>
                    <a:pt x="75" y="516"/>
                  </a:lnTo>
                  <a:lnTo>
                    <a:pt x="75" y="323"/>
                  </a:lnTo>
                  <a:lnTo>
                    <a:pt x="85" y="325"/>
                  </a:lnTo>
                  <a:lnTo>
                    <a:pt x="93" y="326"/>
                  </a:lnTo>
                  <a:lnTo>
                    <a:pt x="100" y="335"/>
                  </a:lnTo>
                  <a:lnTo>
                    <a:pt x="108" y="345"/>
                  </a:lnTo>
                  <a:lnTo>
                    <a:pt x="117" y="352"/>
                  </a:lnTo>
                  <a:lnTo>
                    <a:pt x="127" y="359"/>
                  </a:lnTo>
                  <a:lnTo>
                    <a:pt x="137" y="364"/>
                  </a:lnTo>
                  <a:lnTo>
                    <a:pt x="149" y="368"/>
                  </a:lnTo>
                  <a:lnTo>
                    <a:pt x="161" y="371"/>
                  </a:lnTo>
                  <a:lnTo>
                    <a:pt x="174" y="372"/>
                  </a:lnTo>
                  <a:lnTo>
                    <a:pt x="185" y="371"/>
                  </a:lnTo>
                  <a:lnTo>
                    <a:pt x="197" y="368"/>
                  </a:lnTo>
                  <a:lnTo>
                    <a:pt x="209" y="364"/>
                  </a:lnTo>
                  <a:lnTo>
                    <a:pt x="220" y="359"/>
                  </a:lnTo>
                  <a:lnTo>
                    <a:pt x="229" y="352"/>
                  </a:lnTo>
                  <a:lnTo>
                    <a:pt x="239" y="345"/>
                  </a:lnTo>
                  <a:lnTo>
                    <a:pt x="246" y="335"/>
                  </a:lnTo>
                  <a:lnTo>
                    <a:pt x="253" y="326"/>
                  </a:lnTo>
                  <a:lnTo>
                    <a:pt x="254" y="326"/>
                  </a:lnTo>
                  <a:lnTo>
                    <a:pt x="255" y="326"/>
                  </a:lnTo>
                  <a:lnTo>
                    <a:pt x="255" y="326"/>
                  </a:lnTo>
                  <a:lnTo>
                    <a:pt x="264" y="325"/>
                  </a:lnTo>
                  <a:lnTo>
                    <a:pt x="271" y="323"/>
                  </a:lnTo>
                  <a:lnTo>
                    <a:pt x="279" y="321"/>
                  </a:lnTo>
                  <a:lnTo>
                    <a:pt x="286" y="319"/>
                  </a:lnTo>
                  <a:lnTo>
                    <a:pt x="286" y="516"/>
                  </a:lnTo>
                  <a:close/>
                  <a:moveTo>
                    <a:pt x="44" y="196"/>
                  </a:moveTo>
                  <a:lnTo>
                    <a:pt x="46" y="191"/>
                  </a:lnTo>
                  <a:lnTo>
                    <a:pt x="47" y="186"/>
                  </a:lnTo>
                  <a:lnTo>
                    <a:pt x="46" y="182"/>
                  </a:lnTo>
                  <a:lnTo>
                    <a:pt x="44" y="178"/>
                  </a:lnTo>
                  <a:lnTo>
                    <a:pt x="39" y="169"/>
                  </a:lnTo>
                  <a:lnTo>
                    <a:pt x="35" y="162"/>
                  </a:lnTo>
                  <a:lnTo>
                    <a:pt x="32" y="152"/>
                  </a:lnTo>
                  <a:lnTo>
                    <a:pt x="30" y="144"/>
                  </a:lnTo>
                  <a:lnTo>
                    <a:pt x="30" y="135"/>
                  </a:lnTo>
                  <a:lnTo>
                    <a:pt x="32" y="127"/>
                  </a:lnTo>
                  <a:lnTo>
                    <a:pt x="35" y="117"/>
                  </a:lnTo>
                  <a:lnTo>
                    <a:pt x="39" y="108"/>
                  </a:lnTo>
                  <a:lnTo>
                    <a:pt x="44" y="101"/>
                  </a:lnTo>
                  <a:lnTo>
                    <a:pt x="50" y="94"/>
                  </a:lnTo>
                  <a:lnTo>
                    <a:pt x="57" y="89"/>
                  </a:lnTo>
                  <a:lnTo>
                    <a:pt x="65" y="85"/>
                  </a:lnTo>
                  <a:lnTo>
                    <a:pt x="73" y="82"/>
                  </a:lnTo>
                  <a:lnTo>
                    <a:pt x="82" y="79"/>
                  </a:lnTo>
                  <a:lnTo>
                    <a:pt x="91" y="78"/>
                  </a:lnTo>
                  <a:lnTo>
                    <a:pt x="101" y="78"/>
                  </a:lnTo>
                  <a:lnTo>
                    <a:pt x="105" y="79"/>
                  </a:lnTo>
                  <a:lnTo>
                    <a:pt x="111" y="77"/>
                  </a:lnTo>
                  <a:lnTo>
                    <a:pt x="114" y="74"/>
                  </a:lnTo>
                  <a:lnTo>
                    <a:pt x="117" y="70"/>
                  </a:lnTo>
                  <a:lnTo>
                    <a:pt x="121" y="61"/>
                  </a:lnTo>
                  <a:lnTo>
                    <a:pt x="126" y="54"/>
                  </a:lnTo>
                  <a:lnTo>
                    <a:pt x="132" y="47"/>
                  </a:lnTo>
                  <a:lnTo>
                    <a:pt x="139" y="41"/>
                  </a:lnTo>
                  <a:lnTo>
                    <a:pt x="147" y="37"/>
                  </a:lnTo>
                  <a:lnTo>
                    <a:pt x="156" y="33"/>
                  </a:lnTo>
                  <a:lnTo>
                    <a:pt x="164" y="31"/>
                  </a:lnTo>
                  <a:lnTo>
                    <a:pt x="174" y="30"/>
                  </a:lnTo>
                  <a:lnTo>
                    <a:pt x="182" y="31"/>
                  </a:lnTo>
                  <a:lnTo>
                    <a:pt x="192" y="33"/>
                  </a:lnTo>
                  <a:lnTo>
                    <a:pt x="199" y="37"/>
                  </a:lnTo>
                  <a:lnTo>
                    <a:pt x="208" y="41"/>
                  </a:lnTo>
                  <a:lnTo>
                    <a:pt x="214" y="47"/>
                  </a:lnTo>
                  <a:lnTo>
                    <a:pt x="221" y="54"/>
                  </a:lnTo>
                  <a:lnTo>
                    <a:pt x="226" y="61"/>
                  </a:lnTo>
                  <a:lnTo>
                    <a:pt x="229" y="70"/>
                  </a:lnTo>
                  <a:lnTo>
                    <a:pt x="233" y="74"/>
                  </a:lnTo>
                  <a:lnTo>
                    <a:pt x="236" y="77"/>
                  </a:lnTo>
                  <a:lnTo>
                    <a:pt x="241" y="79"/>
                  </a:lnTo>
                  <a:lnTo>
                    <a:pt x="246" y="78"/>
                  </a:lnTo>
                  <a:lnTo>
                    <a:pt x="255" y="78"/>
                  </a:lnTo>
                  <a:lnTo>
                    <a:pt x="265" y="79"/>
                  </a:lnTo>
                  <a:lnTo>
                    <a:pt x="273" y="82"/>
                  </a:lnTo>
                  <a:lnTo>
                    <a:pt x="282" y="85"/>
                  </a:lnTo>
                  <a:lnTo>
                    <a:pt x="289" y="89"/>
                  </a:lnTo>
                  <a:lnTo>
                    <a:pt x="297" y="94"/>
                  </a:lnTo>
                  <a:lnTo>
                    <a:pt x="303" y="101"/>
                  </a:lnTo>
                  <a:lnTo>
                    <a:pt x="307" y="108"/>
                  </a:lnTo>
                  <a:lnTo>
                    <a:pt x="312" y="117"/>
                  </a:lnTo>
                  <a:lnTo>
                    <a:pt x="315" y="127"/>
                  </a:lnTo>
                  <a:lnTo>
                    <a:pt x="316" y="135"/>
                  </a:lnTo>
                  <a:lnTo>
                    <a:pt x="316" y="144"/>
                  </a:lnTo>
                  <a:lnTo>
                    <a:pt x="315" y="152"/>
                  </a:lnTo>
                  <a:lnTo>
                    <a:pt x="312" y="162"/>
                  </a:lnTo>
                  <a:lnTo>
                    <a:pt x="307" y="169"/>
                  </a:lnTo>
                  <a:lnTo>
                    <a:pt x="302" y="178"/>
                  </a:lnTo>
                  <a:lnTo>
                    <a:pt x="300" y="182"/>
                  </a:lnTo>
                  <a:lnTo>
                    <a:pt x="299" y="186"/>
                  </a:lnTo>
                  <a:lnTo>
                    <a:pt x="300" y="191"/>
                  </a:lnTo>
                  <a:lnTo>
                    <a:pt x="302" y="196"/>
                  </a:lnTo>
                  <a:lnTo>
                    <a:pt x="307" y="204"/>
                  </a:lnTo>
                  <a:lnTo>
                    <a:pt x="312" y="212"/>
                  </a:lnTo>
                  <a:lnTo>
                    <a:pt x="315" y="221"/>
                  </a:lnTo>
                  <a:lnTo>
                    <a:pt x="316" y="229"/>
                  </a:lnTo>
                  <a:lnTo>
                    <a:pt x="316" y="238"/>
                  </a:lnTo>
                  <a:lnTo>
                    <a:pt x="315" y="247"/>
                  </a:lnTo>
                  <a:lnTo>
                    <a:pt x="312" y="256"/>
                  </a:lnTo>
                  <a:lnTo>
                    <a:pt x="307" y="265"/>
                  </a:lnTo>
                  <a:lnTo>
                    <a:pt x="303" y="272"/>
                  </a:lnTo>
                  <a:lnTo>
                    <a:pt x="297" y="278"/>
                  </a:lnTo>
                  <a:lnTo>
                    <a:pt x="289" y="285"/>
                  </a:lnTo>
                  <a:lnTo>
                    <a:pt x="282" y="289"/>
                  </a:lnTo>
                  <a:lnTo>
                    <a:pt x="273" y="292"/>
                  </a:lnTo>
                  <a:lnTo>
                    <a:pt x="265" y="293"/>
                  </a:lnTo>
                  <a:lnTo>
                    <a:pt x="255" y="295"/>
                  </a:lnTo>
                  <a:lnTo>
                    <a:pt x="246" y="293"/>
                  </a:lnTo>
                  <a:lnTo>
                    <a:pt x="241" y="295"/>
                  </a:lnTo>
                  <a:lnTo>
                    <a:pt x="236" y="296"/>
                  </a:lnTo>
                  <a:lnTo>
                    <a:pt x="233" y="299"/>
                  </a:lnTo>
                  <a:lnTo>
                    <a:pt x="229" y="302"/>
                  </a:lnTo>
                  <a:lnTo>
                    <a:pt x="226" y="311"/>
                  </a:lnTo>
                  <a:lnTo>
                    <a:pt x="221" y="319"/>
                  </a:lnTo>
                  <a:lnTo>
                    <a:pt x="214" y="326"/>
                  </a:lnTo>
                  <a:lnTo>
                    <a:pt x="208" y="331"/>
                  </a:lnTo>
                  <a:lnTo>
                    <a:pt x="199" y="335"/>
                  </a:lnTo>
                  <a:lnTo>
                    <a:pt x="192" y="338"/>
                  </a:lnTo>
                  <a:lnTo>
                    <a:pt x="182" y="341"/>
                  </a:lnTo>
                  <a:lnTo>
                    <a:pt x="174" y="342"/>
                  </a:lnTo>
                  <a:lnTo>
                    <a:pt x="164" y="341"/>
                  </a:lnTo>
                  <a:lnTo>
                    <a:pt x="156" y="338"/>
                  </a:lnTo>
                  <a:lnTo>
                    <a:pt x="147" y="335"/>
                  </a:lnTo>
                  <a:lnTo>
                    <a:pt x="139" y="331"/>
                  </a:lnTo>
                  <a:lnTo>
                    <a:pt x="132" y="326"/>
                  </a:lnTo>
                  <a:lnTo>
                    <a:pt x="126" y="319"/>
                  </a:lnTo>
                  <a:lnTo>
                    <a:pt x="121" y="311"/>
                  </a:lnTo>
                  <a:lnTo>
                    <a:pt x="117" y="302"/>
                  </a:lnTo>
                  <a:lnTo>
                    <a:pt x="115" y="299"/>
                  </a:lnTo>
                  <a:lnTo>
                    <a:pt x="112" y="297"/>
                  </a:lnTo>
                  <a:lnTo>
                    <a:pt x="107" y="295"/>
                  </a:lnTo>
                  <a:lnTo>
                    <a:pt x="103" y="293"/>
                  </a:lnTo>
                  <a:lnTo>
                    <a:pt x="102" y="293"/>
                  </a:lnTo>
                  <a:lnTo>
                    <a:pt x="101" y="293"/>
                  </a:lnTo>
                  <a:lnTo>
                    <a:pt x="91" y="295"/>
                  </a:lnTo>
                  <a:lnTo>
                    <a:pt x="82" y="293"/>
                  </a:lnTo>
                  <a:lnTo>
                    <a:pt x="73" y="292"/>
                  </a:lnTo>
                  <a:lnTo>
                    <a:pt x="65" y="289"/>
                  </a:lnTo>
                  <a:lnTo>
                    <a:pt x="57" y="285"/>
                  </a:lnTo>
                  <a:lnTo>
                    <a:pt x="50" y="278"/>
                  </a:lnTo>
                  <a:lnTo>
                    <a:pt x="44" y="272"/>
                  </a:lnTo>
                  <a:lnTo>
                    <a:pt x="39" y="265"/>
                  </a:lnTo>
                  <a:lnTo>
                    <a:pt x="35" y="256"/>
                  </a:lnTo>
                  <a:lnTo>
                    <a:pt x="32" y="247"/>
                  </a:lnTo>
                  <a:lnTo>
                    <a:pt x="30" y="238"/>
                  </a:lnTo>
                  <a:lnTo>
                    <a:pt x="30" y="229"/>
                  </a:lnTo>
                  <a:lnTo>
                    <a:pt x="32" y="221"/>
                  </a:lnTo>
                  <a:lnTo>
                    <a:pt x="35" y="212"/>
                  </a:lnTo>
                  <a:lnTo>
                    <a:pt x="39" y="204"/>
                  </a:lnTo>
                  <a:lnTo>
                    <a:pt x="44" y="196"/>
                  </a:lnTo>
                  <a:close/>
                  <a:moveTo>
                    <a:pt x="332" y="186"/>
                  </a:moveTo>
                  <a:lnTo>
                    <a:pt x="338" y="176"/>
                  </a:lnTo>
                  <a:lnTo>
                    <a:pt x="343" y="164"/>
                  </a:lnTo>
                  <a:lnTo>
                    <a:pt x="345" y="153"/>
                  </a:lnTo>
                  <a:lnTo>
                    <a:pt x="346" y="140"/>
                  </a:lnTo>
                  <a:lnTo>
                    <a:pt x="346" y="129"/>
                  </a:lnTo>
                  <a:lnTo>
                    <a:pt x="343" y="117"/>
                  </a:lnTo>
                  <a:lnTo>
                    <a:pt x="340" y="105"/>
                  </a:lnTo>
                  <a:lnTo>
                    <a:pt x="334" y="93"/>
                  </a:lnTo>
                  <a:lnTo>
                    <a:pt x="327" y="84"/>
                  </a:lnTo>
                  <a:lnTo>
                    <a:pt x="319" y="74"/>
                  </a:lnTo>
                  <a:lnTo>
                    <a:pt x="310" y="67"/>
                  </a:lnTo>
                  <a:lnTo>
                    <a:pt x="300" y="60"/>
                  </a:lnTo>
                  <a:lnTo>
                    <a:pt x="288" y="55"/>
                  </a:lnTo>
                  <a:lnTo>
                    <a:pt x="278" y="52"/>
                  </a:lnTo>
                  <a:lnTo>
                    <a:pt x="266" y="49"/>
                  </a:lnTo>
                  <a:lnTo>
                    <a:pt x="253" y="48"/>
                  </a:lnTo>
                  <a:lnTo>
                    <a:pt x="246" y="39"/>
                  </a:lnTo>
                  <a:lnTo>
                    <a:pt x="239" y="29"/>
                  </a:lnTo>
                  <a:lnTo>
                    <a:pt x="229" y="21"/>
                  </a:lnTo>
                  <a:lnTo>
                    <a:pt x="220" y="14"/>
                  </a:lnTo>
                  <a:lnTo>
                    <a:pt x="209" y="9"/>
                  </a:lnTo>
                  <a:lnTo>
                    <a:pt x="198" y="5"/>
                  </a:lnTo>
                  <a:lnTo>
                    <a:pt x="185" y="1"/>
                  </a:lnTo>
                  <a:lnTo>
                    <a:pt x="174" y="0"/>
                  </a:lnTo>
                  <a:lnTo>
                    <a:pt x="161" y="1"/>
                  </a:lnTo>
                  <a:lnTo>
                    <a:pt x="149" y="5"/>
                  </a:lnTo>
                  <a:lnTo>
                    <a:pt x="137" y="9"/>
                  </a:lnTo>
                  <a:lnTo>
                    <a:pt x="127" y="14"/>
                  </a:lnTo>
                  <a:lnTo>
                    <a:pt x="117" y="21"/>
                  </a:lnTo>
                  <a:lnTo>
                    <a:pt x="108" y="29"/>
                  </a:lnTo>
                  <a:lnTo>
                    <a:pt x="100" y="39"/>
                  </a:lnTo>
                  <a:lnTo>
                    <a:pt x="93" y="48"/>
                  </a:lnTo>
                  <a:lnTo>
                    <a:pt x="82" y="49"/>
                  </a:lnTo>
                  <a:lnTo>
                    <a:pt x="69" y="52"/>
                  </a:lnTo>
                  <a:lnTo>
                    <a:pt x="58" y="56"/>
                  </a:lnTo>
                  <a:lnTo>
                    <a:pt x="46" y="60"/>
                  </a:lnTo>
                  <a:lnTo>
                    <a:pt x="37" y="67"/>
                  </a:lnTo>
                  <a:lnTo>
                    <a:pt x="27" y="75"/>
                  </a:lnTo>
                  <a:lnTo>
                    <a:pt x="20" y="84"/>
                  </a:lnTo>
                  <a:lnTo>
                    <a:pt x="13" y="93"/>
                  </a:lnTo>
                  <a:lnTo>
                    <a:pt x="7" y="105"/>
                  </a:lnTo>
                  <a:lnTo>
                    <a:pt x="4" y="117"/>
                  </a:lnTo>
                  <a:lnTo>
                    <a:pt x="1" y="129"/>
                  </a:lnTo>
                  <a:lnTo>
                    <a:pt x="0" y="140"/>
                  </a:lnTo>
                  <a:lnTo>
                    <a:pt x="1" y="153"/>
                  </a:lnTo>
                  <a:lnTo>
                    <a:pt x="5" y="164"/>
                  </a:lnTo>
                  <a:lnTo>
                    <a:pt x="8" y="176"/>
                  </a:lnTo>
                  <a:lnTo>
                    <a:pt x="14" y="186"/>
                  </a:lnTo>
                  <a:lnTo>
                    <a:pt x="8" y="198"/>
                  </a:lnTo>
                  <a:lnTo>
                    <a:pt x="5" y="209"/>
                  </a:lnTo>
                  <a:lnTo>
                    <a:pt x="1" y="221"/>
                  </a:lnTo>
                  <a:lnTo>
                    <a:pt x="0" y="232"/>
                  </a:lnTo>
                  <a:lnTo>
                    <a:pt x="1" y="245"/>
                  </a:lnTo>
                  <a:lnTo>
                    <a:pt x="4" y="257"/>
                  </a:lnTo>
                  <a:lnTo>
                    <a:pt x="7" y="269"/>
                  </a:lnTo>
                  <a:lnTo>
                    <a:pt x="13" y="280"/>
                  </a:lnTo>
                  <a:lnTo>
                    <a:pt x="20" y="289"/>
                  </a:lnTo>
                  <a:lnTo>
                    <a:pt x="27" y="298"/>
                  </a:lnTo>
                  <a:lnTo>
                    <a:pt x="36" y="305"/>
                  </a:lnTo>
                  <a:lnTo>
                    <a:pt x="45" y="312"/>
                  </a:lnTo>
                  <a:lnTo>
                    <a:pt x="45" y="546"/>
                  </a:lnTo>
                  <a:lnTo>
                    <a:pt x="46" y="550"/>
                  </a:lnTo>
                  <a:lnTo>
                    <a:pt x="47" y="555"/>
                  </a:lnTo>
                  <a:lnTo>
                    <a:pt x="51" y="558"/>
                  </a:lnTo>
                  <a:lnTo>
                    <a:pt x="54" y="559"/>
                  </a:lnTo>
                  <a:lnTo>
                    <a:pt x="58" y="561"/>
                  </a:lnTo>
                  <a:lnTo>
                    <a:pt x="62" y="561"/>
                  </a:lnTo>
                  <a:lnTo>
                    <a:pt x="66" y="560"/>
                  </a:lnTo>
                  <a:lnTo>
                    <a:pt x="70" y="558"/>
                  </a:lnTo>
                  <a:lnTo>
                    <a:pt x="181" y="475"/>
                  </a:lnTo>
                  <a:lnTo>
                    <a:pt x="292" y="558"/>
                  </a:lnTo>
                  <a:lnTo>
                    <a:pt x="294" y="560"/>
                  </a:lnTo>
                  <a:lnTo>
                    <a:pt x="297" y="560"/>
                  </a:lnTo>
                  <a:lnTo>
                    <a:pt x="299" y="561"/>
                  </a:lnTo>
                  <a:lnTo>
                    <a:pt x="301" y="561"/>
                  </a:lnTo>
                  <a:lnTo>
                    <a:pt x="304" y="561"/>
                  </a:lnTo>
                  <a:lnTo>
                    <a:pt x="307" y="559"/>
                  </a:lnTo>
                  <a:lnTo>
                    <a:pt x="311" y="558"/>
                  </a:lnTo>
                  <a:lnTo>
                    <a:pt x="314" y="555"/>
                  </a:lnTo>
                  <a:lnTo>
                    <a:pt x="315" y="550"/>
                  </a:lnTo>
                  <a:lnTo>
                    <a:pt x="316" y="546"/>
                  </a:lnTo>
                  <a:lnTo>
                    <a:pt x="316" y="301"/>
                  </a:lnTo>
                  <a:lnTo>
                    <a:pt x="326" y="291"/>
                  </a:lnTo>
                  <a:lnTo>
                    <a:pt x="334" y="280"/>
                  </a:lnTo>
                  <a:lnTo>
                    <a:pt x="340" y="269"/>
                  </a:lnTo>
                  <a:lnTo>
                    <a:pt x="343" y="257"/>
                  </a:lnTo>
                  <a:lnTo>
                    <a:pt x="346" y="245"/>
                  </a:lnTo>
                  <a:lnTo>
                    <a:pt x="346" y="232"/>
                  </a:lnTo>
                  <a:lnTo>
                    <a:pt x="345" y="221"/>
                  </a:lnTo>
                  <a:lnTo>
                    <a:pt x="343" y="209"/>
                  </a:lnTo>
                  <a:lnTo>
                    <a:pt x="338" y="198"/>
                  </a:lnTo>
                  <a:lnTo>
                    <a:pt x="332" y="1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4819D5AE-743C-42B9-A6BC-8616EED926D2}"/>
              </a:ext>
            </a:extLst>
          </p:cNvPr>
          <p:cNvGrpSpPr/>
          <p:nvPr/>
        </p:nvGrpSpPr>
        <p:grpSpPr>
          <a:xfrm>
            <a:off x="1131427" y="1308100"/>
            <a:ext cx="5742269" cy="4801325"/>
            <a:chOff x="2616200" y="2406651"/>
            <a:chExt cx="2170113" cy="1814512"/>
          </a:xfrm>
          <a:solidFill>
            <a:schemeClr val="bg1">
              <a:lumMod val="85000"/>
            </a:schemeClr>
          </a:solidFill>
        </p:grpSpPr>
        <p:sp>
          <p:nvSpPr>
            <p:cNvPr id="76" name="Freeform 5">
              <a:extLst>
                <a:ext uri="{FF2B5EF4-FFF2-40B4-BE49-F238E27FC236}">
                  <a16:creationId xmlns:a16="http://schemas.microsoft.com/office/drawing/2014/main" id="{DA7C6377-CCB9-491C-9ECB-26E1D485D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438" y="3563938"/>
              <a:ext cx="125413" cy="149225"/>
            </a:xfrm>
            <a:custGeom>
              <a:avLst/>
              <a:gdLst>
                <a:gd name="T0" fmla="*/ 28 w 42"/>
                <a:gd name="T1" fmla="*/ 46 h 50"/>
                <a:gd name="T2" fmla="*/ 31 w 42"/>
                <a:gd name="T3" fmla="*/ 45 h 50"/>
                <a:gd name="T4" fmla="*/ 34 w 42"/>
                <a:gd name="T5" fmla="*/ 40 h 50"/>
                <a:gd name="T6" fmla="*/ 37 w 42"/>
                <a:gd name="T7" fmla="*/ 34 h 50"/>
                <a:gd name="T8" fmla="*/ 39 w 42"/>
                <a:gd name="T9" fmla="*/ 34 h 50"/>
                <a:gd name="T10" fmla="*/ 42 w 42"/>
                <a:gd name="T11" fmla="*/ 29 h 50"/>
                <a:gd name="T12" fmla="*/ 41 w 42"/>
                <a:gd name="T13" fmla="*/ 21 h 50"/>
                <a:gd name="T14" fmla="*/ 37 w 42"/>
                <a:gd name="T15" fmla="*/ 17 h 50"/>
                <a:gd name="T16" fmla="*/ 35 w 42"/>
                <a:gd name="T17" fmla="*/ 17 h 50"/>
                <a:gd name="T18" fmla="*/ 31 w 42"/>
                <a:gd name="T19" fmla="*/ 14 h 50"/>
                <a:gd name="T20" fmla="*/ 27 w 42"/>
                <a:gd name="T21" fmla="*/ 3 h 50"/>
                <a:gd name="T22" fmla="*/ 23 w 42"/>
                <a:gd name="T23" fmla="*/ 0 h 50"/>
                <a:gd name="T24" fmla="*/ 5 w 42"/>
                <a:gd name="T25" fmla="*/ 0 h 50"/>
                <a:gd name="T26" fmla="*/ 0 w 42"/>
                <a:gd name="T27" fmla="*/ 5 h 50"/>
                <a:gd name="T28" fmla="*/ 0 w 42"/>
                <a:gd name="T29" fmla="*/ 8 h 50"/>
                <a:gd name="T30" fmla="*/ 1 w 42"/>
                <a:gd name="T31" fmla="*/ 8 h 50"/>
                <a:gd name="T32" fmla="*/ 8 w 42"/>
                <a:gd name="T33" fmla="*/ 12 h 50"/>
                <a:gd name="T34" fmla="*/ 8 w 42"/>
                <a:gd name="T35" fmla="*/ 14 h 50"/>
                <a:gd name="T36" fmla="*/ 13 w 42"/>
                <a:gd name="T37" fmla="*/ 19 h 50"/>
                <a:gd name="T38" fmla="*/ 16 w 42"/>
                <a:gd name="T39" fmla="*/ 20 h 50"/>
                <a:gd name="T40" fmla="*/ 20 w 42"/>
                <a:gd name="T41" fmla="*/ 23 h 50"/>
                <a:gd name="T42" fmla="*/ 28 w 42"/>
                <a:gd name="T43" fmla="*/ 40 h 50"/>
                <a:gd name="T44" fmla="*/ 28 w 42"/>
                <a:gd name="T45" fmla="*/ 42 h 50"/>
                <a:gd name="T46" fmla="*/ 28 w 42"/>
                <a:gd name="T47" fmla="*/ 50 h 50"/>
                <a:gd name="T48" fmla="*/ 28 w 42"/>
                <a:gd name="T49" fmla="*/ 50 h 50"/>
                <a:gd name="T50" fmla="*/ 28 w 42"/>
                <a:gd name="T51" fmla="*/ 50 h 50"/>
                <a:gd name="T52" fmla="*/ 28 w 42"/>
                <a:gd name="T53" fmla="*/ 4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2" h="50">
                  <a:moveTo>
                    <a:pt x="28" y="46"/>
                  </a:moveTo>
                  <a:cubicBezTo>
                    <a:pt x="31" y="45"/>
                    <a:pt x="31" y="45"/>
                    <a:pt x="31" y="45"/>
                  </a:cubicBezTo>
                  <a:cubicBezTo>
                    <a:pt x="34" y="45"/>
                    <a:pt x="35" y="42"/>
                    <a:pt x="34" y="40"/>
                  </a:cubicBezTo>
                  <a:cubicBezTo>
                    <a:pt x="33" y="38"/>
                    <a:pt x="35" y="35"/>
                    <a:pt x="37" y="34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41" y="33"/>
                    <a:pt x="42" y="31"/>
                    <a:pt x="42" y="29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18"/>
                    <a:pt x="39" y="17"/>
                    <a:pt x="37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3" y="17"/>
                    <a:pt x="32" y="16"/>
                    <a:pt x="31" y="14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1"/>
                    <a:pt x="24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4" y="8"/>
                    <a:pt x="7" y="10"/>
                    <a:pt x="8" y="12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7"/>
                    <a:pt x="10" y="18"/>
                    <a:pt x="13" y="19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8" y="20"/>
                    <a:pt x="19" y="21"/>
                    <a:pt x="20" y="23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1"/>
                    <a:pt x="28" y="41"/>
                    <a:pt x="28" y="4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lnTo>
                    <a:pt x="28" y="4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6">
              <a:extLst>
                <a:ext uri="{FF2B5EF4-FFF2-40B4-BE49-F238E27FC236}">
                  <a16:creationId xmlns:a16="http://schemas.microsoft.com/office/drawing/2014/main" id="{D6140D27-39C4-4F4A-926F-2B9E68092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3650" y="4048126"/>
              <a:ext cx="96838" cy="61913"/>
            </a:xfrm>
            <a:custGeom>
              <a:avLst/>
              <a:gdLst>
                <a:gd name="T0" fmla="*/ 29 w 32"/>
                <a:gd name="T1" fmla="*/ 1 h 21"/>
                <a:gd name="T2" fmla="*/ 17 w 32"/>
                <a:gd name="T3" fmla="*/ 4 h 21"/>
                <a:gd name="T4" fmla="*/ 3 w 32"/>
                <a:gd name="T5" fmla="*/ 1 h 21"/>
                <a:gd name="T6" fmla="*/ 0 w 32"/>
                <a:gd name="T7" fmla="*/ 5 h 21"/>
                <a:gd name="T8" fmla="*/ 3 w 32"/>
                <a:gd name="T9" fmla="*/ 9 h 21"/>
                <a:gd name="T10" fmla="*/ 15 w 32"/>
                <a:gd name="T11" fmla="*/ 13 h 21"/>
                <a:gd name="T12" fmla="*/ 25 w 32"/>
                <a:gd name="T13" fmla="*/ 20 h 21"/>
                <a:gd name="T14" fmla="*/ 30 w 32"/>
                <a:gd name="T15" fmla="*/ 15 h 21"/>
                <a:gd name="T16" fmla="*/ 29 w 32"/>
                <a:gd name="T17" fmla="*/ 8 h 21"/>
                <a:gd name="T18" fmla="*/ 32 w 32"/>
                <a:gd name="T19" fmla="*/ 5 h 21"/>
                <a:gd name="T20" fmla="*/ 29 w 32"/>
                <a:gd name="T21" fmla="*/ 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21">
                  <a:moveTo>
                    <a:pt x="29" y="1"/>
                  </a:moveTo>
                  <a:cubicBezTo>
                    <a:pt x="26" y="1"/>
                    <a:pt x="23" y="4"/>
                    <a:pt x="17" y="4"/>
                  </a:cubicBezTo>
                  <a:cubicBezTo>
                    <a:pt x="10" y="4"/>
                    <a:pt x="6" y="0"/>
                    <a:pt x="3" y="1"/>
                  </a:cubicBezTo>
                  <a:cubicBezTo>
                    <a:pt x="1" y="2"/>
                    <a:pt x="0" y="2"/>
                    <a:pt x="0" y="5"/>
                  </a:cubicBezTo>
                  <a:cubicBezTo>
                    <a:pt x="0" y="7"/>
                    <a:pt x="0" y="9"/>
                    <a:pt x="3" y="9"/>
                  </a:cubicBezTo>
                  <a:cubicBezTo>
                    <a:pt x="6" y="10"/>
                    <a:pt x="13" y="11"/>
                    <a:pt x="15" y="13"/>
                  </a:cubicBezTo>
                  <a:cubicBezTo>
                    <a:pt x="17" y="15"/>
                    <a:pt x="22" y="20"/>
                    <a:pt x="25" y="20"/>
                  </a:cubicBezTo>
                  <a:cubicBezTo>
                    <a:pt x="29" y="21"/>
                    <a:pt x="30" y="19"/>
                    <a:pt x="30" y="15"/>
                  </a:cubicBezTo>
                  <a:cubicBezTo>
                    <a:pt x="30" y="11"/>
                    <a:pt x="26" y="9"/>
                    <a:pt x="29" y="8"/>
                  </a:cubicBezTo>
                  <a:cubicBezTo>
                    <a:pt x="29" y="8"/>
                    <a:pt x="32" y="7"/>
                    <a:pt x="32" y="5"/>
                  </a:cubicBezTo>
                  <a:cubicBezTo>
                    <a:pt x="32" y="3"/>
                    <a:pt x="32" y="0"/>
                    <a:pt x="29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7">
              <a:extLst>
                <a:ext uri="{FF2B5EF4-FFF2-40B4-BE49-F238E27FC236}">
                  <a16:creationId xmlns:a16="http://schemas.microsoft.com/office/drawing/2014/main" id="{A2F56056-7DC5-42EA-8903-0DD18906AA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800" y="4133851"/>
              <a:ext cx="20638" cy="20638"/>
            </a:xfrm>
            <a:custGeom>
              <a:avLst/>
              <a:gdLst>
                <a:gd name="T0" fmla="*/ 6 w 7"/>
                <a:gd name="T1" fmla="*/ 5 h 7"/>
                <a:gd name="T2" fmla="*/ 2 w 7"/>
                <a:gd name="T3" fmla="*/ 1 h 7"/>
                <a:gd name="T4" fmla="*/ 1 w 7"/>
                <a:gd name="T5" fmla="*/ 5 h 7"/>
                <a:gd name="T6" fmla="*/ 5 w 7"/>
                <a:gd name="T7" fmla="*/ 7 h 7"/>
                <a:gd name="T8" fmla="*/ 6 w 7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5"/>
                  </a:moveTo>
                  <a:cubicBezTo>
                    <a:pt x="6" y="5"/>
                    <a:pt x="4" y="0"/>
                    <a:pt x="2" y="1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2" y="6"/>
                    <a:pt x="4" y="7"/>
                    <a:pt x="5" y="7"/>
                  </a:cubicBezTo>
                  <a:cubicBezTo>
                    <a:pt x="6" y="6"/>
                    <a:pt x="7" y="6"/>
                    <a:pt x="6" y="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8">
              <a:extLst>
                <a:ext uri="{FF2B5EF4-FFF2-40B4-BE49-F238E27FC236}">
                  <a16:creationId xmlns:a16="http://schemas.microsoft.com/office/drawing/2014/main" id="{40F35014-5BA2-4191-9AFA-6CF5CC944B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2850" y="2528888"/>
              <a:ext cx="458788" cy="758825"/>
            </a:xfrm>
            <a:custGeom>
              <a:avLst/>
              <a:gdLst>
                <a:gd name="T0" fmla="*/ 81 w 153"/>
                <a:gd name="T1" fmla="*/ 124 h 254"/>
                <a:gd name="T2" fmla="*/ 110 w 153"/>
                <a:gd name="T3" fmla="*/ 106 h 254"/>
                <a:gd name="T4" fmla="*/ 126 w 153"/>
                <a:gd name="T5" fmla="*/ 70 h 254"/>
                <a:gd name="T6" fmla="*/ 150 w 153"/>
                <a:gd name="T7" fmla="*/ 62 h 254"/>
                <a:gd name="T8" fmla="*/ 152 w 153"/>
                <a:gd name="T9" fmla="*/ 53 h 254"/>
                <a:gd name="T10" fmla="*/ 153 w 153"/>
                <a:gd name="T11" fmla="*/ 43 h 254"/>
                <a:gd name="T12" fmla="*/ 148 w 153"/>
                <a:gd name="T13" fmla="*/ 21 h 254"/>
                <a:gd name="T14" fmla="*/ 131 w 153"/>
                <a:gd name="T15" fmla="*/ 12 h 254"/>
                <a:gd name="T16" fmla="*/ 119 w 153"/>
                <a:gd name="T17" fmla="*/ 1 h 254"/>
                <a:gd name="T18" fmla="*/ 115 w 153"/>
                <a:gd name="T19" fmla="*/ 12 h 254"/>
                <a:gd name="T20" fmla="*/ 106 w 153"/>
                <a:gd name="T21" fmla="*/ 8 h 254"/>
                <a:gd name="T22" fmla="*/ 99 w 153"/>
                <a:gd name="T23" fmla="*/ 4 h 254"/>
                <a:gd name="T24" fmla="*/ 95 w 153"/>
                <a:gd name="T25" fmla="*/ 12 h 254"/>
                <a:gd name="T26" fmla="*/ 85 w 153"/>
                <a:gd name="T27" fmla="*/ 16 h 254"/>
                <a:gd name="T28" fmla="*/ 70 w 153"/>
                <a:gd name="T29" fmla="*/ 29 h 254"/>
                <a:gd name="T30" fmla="*/ 69 w 153"/>
                <a:gd name="T31" fmla="*/ 41 h 254"/>
                <a:gd name="T32" fmla="*/ 55 w 153"/>
                <a:gd name="T33" fmla="*/ 56 h 254"/>
                <a:gd name="T34" fmla="*/ 49 w 153"/>
                <a:gd name="T35" fmla="*/ 57 h 254"/>
                <a:gd name="T36" fmla="*/ 48 w 153"/>
                <a:gd name="T37" fmla="*/ 69 h 254"/>
                <a:gd name="T38" fmla="*/ 45 w 153"/>
                <a:gd name="T39" fmla="*/ 89 h 254"/>
                <a:gd name="T40" fmla="*/ 46 w 153"/>
                <a:gd name="T41" fmla="*/ 94 h 254"/>
                <a:gd name="T42" fmla="*/ 29 w 153"/>
                <a:gd name="T43" fmla="*/ 104 h 254"/>
                <a:gd name="T44" fmla="*/ 16 w 153"/>
                <a:gd name="T45" fmla="*/ 139 h 254"/>
                <a:gd name="T46" fmla="*/ 22 w 153"/>
                <a:gd name="T47" fmla="*/ 146 h 254"/>
                <a:gd name="T48" fmla="*/ 23 w 153"/>
                <a:gd name="T49" fmla="*/ 151 h 254"/>
                <a:gd name="T50" fmla="*/ 15 w 153"/>
                <a:gd name="T51" fmla="*/ 155 h 254"/>
                <a:gd name="T52" fmla="*/ 20 w 153"/>
                <a:gd name="T53" fmla="*/ 160 h 254"/>
                <a:gd name="T54" fmla="*/ 24 w 153"/>
                <a:gd name="T55" fmla="*/ 167 h 254"/>
                <a:gd name="T56" fmla="*/ 17 w 153"/>
                <a:gd name="T57" fmla="*/ 175 h 254"/>
                <a:gd name="T58" fmla="*/ 13 w 153"/>
                <a:gd name="T59" fmla="*/ 193 h 254"/>
                <a:gd name="T60" fmla="*/ 0 w 153"/>
                <a:gd name="T61" fmla="*/ 197 h 254"/>
                <a:gd name="T62" fmla="*/ 8 w 153"/>
                <a:gd name="T63" fmla="*/ 219 h 254"/>
                <a:gd name="T64" fmla="*/ 33 w 153"/>
                <a:gd name="T65" fmla="*/ 252 h 254"/>
                <a:gd name="T66" fmla="*/ 40 w 153"/>
                <a:gd name="T67" fmla="*/ 249 h 254"/>
                <a:gd name="T68" fmla="*/ 62 w 153"/>
                <a:gd name="T69" fmla="*/ 231 h 254"/>
                <a:gd name="T70" fmla="*/ 66 w 153"/>
                <a:gd name="T71" fmla="*/ 211 h 254"/>
                <a:gd name="T72" fmla="*/ 81 w 153"/>
                <a:gd name="T73" fmla="*/ 191 h 254"/>
                <a:gd name="T74" fmla="*/ 85 w 153"/>
                <a:gd name="T75" fmla="*/ 170 h 254"/>
                <a:gd name="T76" fmla="*/ 76 w 153"/>
                <a:gd name="T77" fmla="*/ 161 h 254"/>
                <a:gd name="T78" fmla="*/ 77 w 153"/>
                <a:gd name="T79" fmla="*/ 13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" h="254">
                  <a:moveTo>
                    <a:pt x="77" y="131"/>
                  </a:moveTo>
                  <a:cubicBezTo>
                    <a:pt x="78" y="128"/>
                    <a:pt x="79" y="126"/>
                    <a:pt x="81" y="12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110" y="106"/>
                    <a:pt x="110" y="106"/>
                    <a:pt x="110" y="106"/>
                  </a:cubicBezTo>
                  <a:cubicBezTo>
                    <a:pt x="116" y="88"/>
                    <a:pt x="116" y="88"/>
                    <a:pt x="116" y="88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9" y="65"/>
                    <a:pt x="135" y="62"/>
                    <a:pt x="141" y="62"/>
                  </a:cubicBezTo>
                  <a:cubicBezTo>
                    <a:pt x="150" y="62"/>
                    <a:pt x="150" y="62"/>
                    <a:pt x="150" y="62"/>
                  </a:cubicBezTo>
                  <a:cubicBezTo>
                    <a:pt x="151" y="62"/>
                    <a:pt x="152" y="62"/>
                    <a:pt x="152" y="62"/>
                  </a:cubicBezTo>
                  <a:cubicBezTo>
                    <a:pt x="152" y="53"/>
                    <a:pt x="152" y="53"/>
                    <a:pt x="152" y="53"/>
                  </a:cubicBezTo>
                  <a:cubicBezTo>
                    <a:pt x="148" y="49"/>
                    <a:pt x="148" y="49"/>
                    <a:pt x="148" y="49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48" y="38"/>
                    <a:pt x="148" y="38"/>
                    <a:pt x="148" y="38"/>
                  </a:cubicBezTo>
                  <a:cubicBezTo>
                    <a:pt x="148" y="21"/>
                    <a:pt x="148" y="21"/>
                    <a:pt x="148" y="21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119" y="0"/>
                    <a:pt x="119" y="1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19" y="10"/>
                    <a:pt x="117" y="12"/>
                    <a:pt x="115" y="12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108" y="12"/>
                    <a:pt x="106" y="10"/>
                    <a:pt x="106" y="8"/>
                  </a:cubicBezTo>
                  <a:cubicBezTo>
                    <a:pt x="106" y="6"/>
                    <a:pt x="104" y="4"/>
                    <a:pt x="102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7" y="4"/>
                    <a:pt x="95" y="6"/>
                    <a:pt x="95" y="8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14"/>
                    <a:pt x="93" y="16"/>
                    <a:pt x="91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4" y="16"/>
                    <a:pt x="83" y="16"/>
                    <a:pt x="82" y="17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69" y="29"/>
                    <a:pt x="69" y="30"/>
                    <a:pt x="69" y="3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2"/>
                    <a:pt x="69" y="43"/>
                    <a:pt x="68" y="44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7"/>
                    <a:pt x="54" y="57"/>
                    <a:pt x="52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7"/>
                    <a:pt x="49" y="68"/>
                    <a:pt x="48" y="69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1" y="79"/>
                    <a:pt x="41" y="85"/>
                    <a:pt x="45" y="89"/>
                  </a:cubicBezTo>
                  <a:cubicBezTo>
                    <a:pt x="46" y="89"/>
                    <a:pt x="46" y="90"/>
                    <a:pt x="46" y="91"/>
                  </a:cubicBezTo>
                  <a:cubicBezTo>
                    <a:pt x="46" y="94"/>
                    <a:pt x="46" y="94"/>
                    <a:pt x="46" y="94"/>
                  </a:cubicBezTo>
                  <a:cubicBezTo>
                    <a:pt x="46" y="96"/>
                    <a:pt x="45" y="98"/>
                    <a:pt x="44" y="98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1" y="108"/>
                    <a:pt x="16" y="116"/>
                    <a:pt x="16" y="125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40"/>
                    <a:pt x="17" y="141"/>
                    <a:pt x="17" y="141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3" y="147"/>
                    <a:pt x="23" y="148"/>
                  </a:cubicBezTo>
                  <a:cubicBezTo>
                    <a:pt x="23" y="151"/>
                    <a:pt x="23" y="151"/>
                    <a:pt x="23" y="151"/>
                  </a:cubicBezTo>
                  <a:cubicBezTo>
                    <a:pt x="23" y="154"/>
                    <a:pt x="21" y="155"/>
                    <a:pt x="19" y="155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15" y="160"/>
                    <a:pt x="15" y="160"/>
                    <a:pt x="15" y="160"/>
                  </a:cubicBezTo>
                  <a:cubicBezTo>
                    <a:pt x="20" y="160"/>
                    <a:pt x="20" y="160"/>
                    <a:pt x="20" y="160"/>
                  </a:cubicBezTo>
                  <a:cubicBezTo>
                    <a:pt x="22" y="160"/>
                    <a:pt x="24" y="162"/>
                    <a:pt x="24" y="164"/>
                  </a:cubicBezTo>
                  <a:cubicBezTo>
                    <a:pt x="24" y="167"/>
                    <a:pt x="24" y="167"/>
                    <a:pt x="24" y="167"/>
                  </a:cubicBezTo>
                  <a:cubicBezTo>
                    <a:pt x="24" y="168"/>
                    <a:pt x="23" y="169"/>
                    <a:pt x="23" y="169"/>
                  </a:cubicBezTo>
                  <a:cubicBezTo>
                    <a:pt x="17" y="175"/>
                    <a:pt x="17" y="175"/>
                    <a:pt x="17" y="175"/>
                  </a:cubicBezTo>
                  <a:cubicBezTo>
                    <a:pt x="15" y="178"/>
                    <a:pt x="13" y="181"/>
                    <a:pt x="13" y="184"/>
                  </a:cubicBezTo>
                  <a:cubicBezTo>
                    <a:pt x="13" y="193"/>
                    <a:pt x="13" y="193"/>
                    <a:pt x="13" y="193"/>
                  </a:cubicBezTo>
                  <a:cubicBezTo>
                    <a:pt x="13" y="196"/>
                    <a:pt x="11" y="197"/>
                    <a:pt x="9" y="197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2" y="201"/>
                    <a:pt x="3" y="206"/>
                    <a:pt x="3" y="212"/>
                  </a:cubicBezTo>
                  <a:cubicBezTo>
                    <a:pt x="8" y="219"/>
                    <a:pt x="8" y="219"/>
                    <a:pt x="8" y="219"/>
                  </a:cubicBezTo>
                  <a:cubicBezTo>
                    <a:pt x="17" y="239"/>
                    <a:pt x="17" y="239"/>
                    <a:pt x="17" y="239"/>
                  </a:cubicBezTo>
                  <a:cubicBezTo>
                    <a:pt x="16" y="248"/>
                    <a:pt x="24" y="254"/>
                    <a:pt x="33" y="252"/>
                  </a:cubicBezTo>
                  <a:cubicBezTo>
                    <a:pt x="34" y="252"/>
                    <a:pt x="34" y="252"/>
                    <a:pt x="34" y="252"/>
                  </a:cubicBezTo>
                  <a:cubicBezTo>
                    <a:pt x="36" y="251"/>
                    <a:pt x="38" y="250"/>
                    <a:pt x="40" y="249"/>
                  </a:cubicBezTo>
                  <a:cubicBezTo>
                    <a:pt x="47" y="243"/>
                    <a:pt x="47" y="243"/>
                    <a:pt x="47" y="243"/>
                  </a:cubicBezTo>
                  <a:cubicBezTo>
                    <a:pt x="62" y="231"/>
                    <a:pt x="62" y="231"/>
                    <a:pt x="62" y="231"/>
                  </a:cubicBezTo>
                  <a:cubicBezTo>
                    <a:pt x="66" y="227"/>
                    <a:pt x="68" y="222"/>
                    <a:pt x="67" y="217"/>
                  </a:cubicBezTo>
                  <a:cubicBezTo>
                    <a:pt x="66" y="211"/>
                    <a:pt x="66" y="211"/>
                    <a:pt x="66" y="211"/>
                  </a:cubicBezTo>
                  <a:cubicBezTo>
                    <a:pt x="65" y="205"/>
                    <a:pt x="68" y="199"/>
                    <a:pt x="73" y="196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85" y="189"/>
                    <a:pt x="87" y="185"/>
                    <a:pt x="86" y="181"/>
                  </a:cubicBezTo>
                  <a:cubicBezTo>
                    <a:pt x="85" y="170"/>
                    <a:pt x="85" y="170"/>
                    <a:pt x="85" y="170"/>
                  </a:cubicBezTo>
                  <a:cubicBezTo>
                    <a:pt x="85" y="166"/>
                    <a:pt x="82" y="164"/>
                    <a:pt x="79" y="162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73" y="159"/>
                    <a:pt x="71" y="155"/>
                    <a:pt x="72" y="152"/>
                  </a:cubicBezTo>
                  <a:lnTo>
                    <a:pt x="77" y="131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9">
              <a:extLst>
                <a:ext uri="{FF2B5EF4-FFF2-40B4-BE49-F238E27FC236}">
                  <a16:creationId xmlns:a16="http://schemas.microsoft.com/office/drawing/2014/main" id="{7B448FDB-8D46-4696-8773-83CB21F2C9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513" y="2471738"/>
              <a:ext cx="374650" cy="565150"/>
            </a:xfrm>
            <a:custGeom>
              <a:avLst/>
              <a:gdLst>
                <a:gd name="T0" fmla="*/ 118 w 125"/>
                <a:gd name="T1" fmla="*/ 130 h 189"/>
                <a:gd name="T2" fmla="*/ 114 w 125"/>
                <a:gd name="T3" fmla="*/ 127 h 189"/>
                <a:gd name="T4" fmla="*/ 114 w 125"/>
                <a:gd name="T5" fmla="*/ 119 h 189"/>
                <a:gd name="T6" fmla="*/ 115 w 125"/>
                <a:gd name="T7" fmla="*/ 112 h 189"/>
                <a:gd name="T8" fmla="*/ 114 w 125"/>
                <a:gd name="T9" fmla="*/ 111 h 189"/>
                <a:gd name="T10" fmla="*/ 106 w 125"/>
                <a:gd name="T11" fmla="*/ 95 h 189"/>
                <a:gd name="T12" fmla="*/ 106 w 125"/>
                <a:gd name="T13" fmla="*/ 91 h 189"/>
                <a:gd name="T14" fmla="*/ 108 w 125"/>
                <a:gd name="T15" fmla="*/ 83 h 189"/>
                <a:gd name="T16" fmla="*/ 108 w 125"/>
                <a:gd name="T17" fmla="*/ 79 h 189"/>
                <a:gd name="T18" fmla="*/ 99 w 125"/>
                <a:gd name="T19" fmla="*/ 61 h 189"/>
                <a:gd name="T20" fmla="*/ 100 w 125"/>
                <a:gd name="T21" fmla="*/ 55 h 189"/>
                <a:gd name="T22" fmla="*/ 103 w 125"/>
                <a:gd name="T23" fmla="*/ 52 h 189"/>
                <a:gd name="T24" fmla="*/ 103 w 125"/>
                <a:gd name="T25" fmla="*/ 45 h 189"/>
                <a:gd name="T26" fmla="*/ 98 w 125"/>
                <a:gd name="T27" fmla="*/ 37 h 189"/>
                <a:gd name="T28" fmla="*/ 98 w 125"/>
                <a:gd name="T29" fmla="*/ 33 h 189"/>
                <a:gd name="T30" fmla="*/ 100 w 125"/>
                <a:gd name="T31" fmla="*/ 15 h 189"/>
                <a:gd name="T32" fmla="*/ 99 w 125"/>
                <a:gd name="T33" fmla="*/ 15 h 189"/>
                <a:gd name="T34" fmla="*/ 86 w 125"/>
                <a:gd name="T35" fmla="*/ 0 h 189"/>
                <a:gd name="T36" fmla="*/ 84 w 125"/>
                <a:gd name="T37" fmla="*/ 0 h 189"/>
                <a:gd name="T38" fmla="*/ 68 w 125"/>
                <a:gd name="T39" fmla="*/ 3 h 189"/>
                <a:gd name="T40" fmla="*/ 65 w 125"/>
                <a:gd name="T41" fmla="*/ 7 h 189"/>
                <a:gd name="T42" fmla="*/ 65 w 125"/>
                <a:gd name="T43" fmla="*/ 11 h 189"/>
                <a:gd name="T44" fmla="*/ 64 w 125"/>
                <a:gd name="T45" fmla="*/ 14 h 189"/>
                <a:gd name="T46" fmla="*/ 58 w 125"/>
                <a:gd name="T47" fmla="*/ 19 h 189"/>
                <a:gd name="T48" fmla="*/ 43 w 125"/>
                <a:gd name="T49" fmla="*/ 25 h 189"/>
                <a:gd name="T50" fmla="*/ 23 w 125"/>
                <a:gd name="T51" fmla="*/ 25 h 189"/>
                <a:gd name="T52" fmla="*/ 20 w 125"/>
                <a:gd name="T53" fmla="*/ 24 h 189"/>
                <a:gd name="T54" fmla="*/ 15 w 125"/>
                <a:gd name="T55" fmla="*/ 19 h 189"/>
                <a:gd name="T56" fmla="*/ 7 w 125"/>
                <a:gd name="T57" fmla="*/ 15 h 189"/>
                <a:gd name="T58" fmla="*/ 3 w 125"/>
                <a:gd name="T59" fmla="*/ 19 h 189"/>
                <a:gd name="T60" fmla="*/ 15 w 125"/>
                <a:gd name="T61" fmla="*/ 31 h 189"/>
                <a:gd name="T62" fmla="*/ 23 w 125"/>
                <a:gd name="T63" fmla="*/ 31 h 189"/>
                <a:gd name="T64" fmla="*/ 32 w 125"/>
                <a:gd name="T65" fmla="*/ 40 h 189"/>
                <a:gd name="T66" fmla="*/ 32 w 125"/>
                <a:gd name="T67" fmla="*/ 57 h 189"/>
                <a:gd name="T68" fmla="*/ 37 w 125"/>
                <a:gd name="T69" fmla="*/ 62 h 189"/>
                <a:gd name="T70" fmla="*/ 32 w 125"/>
                <a:gd name="T71" fmla="*/ 68 h 189"/>
                <a:gd name="T72" fmla="*/ 36 w 125"/>
                <a:gd name="T73" fmla="*/ 72 h 189"/>
                <a:gd name="T74" fmla="*/ 36 w 125"/>
                <a:gd name="T75" fmla="*/ 81 h 189"/>
                <a:gd name="T76" fmla="*/ 44 w 125"/>
                <a:gd name="T77" fmla="*/ 86 h 189"/>
                <a:gd name="T78" fmla="*/ 43 w 125"/>
                <a:gd name="T79" fmla="*/ 97 h 189"/>
                <a:gd name="T80" fmla="*/ 15 w 125"/>
                <a:gd name="T81" fmla="*/ 126 h 189"/>
                <a:gd name="T82" fmla="*/ 10 w 125"/>
                <a:gd name="T83" fmla="*/ 142 h 189"/>
                <a:gd name="T84" fmla="*/ 7 w 125"/>
                <a:gd name="T85" fmla="*/ 145 h 189"/>
                <a:gd name="T86" fmla="*/ 2 w 125"/>
                <a:gd name="T87" fmla="*/ 162 h 189"/>
                <a:gd name="T88" fmla="*/ 7 w 125"/>
                <a:gd name="T89" fmla="*/ 177 h 189"/>
                <a:gd name="T90" fmla="*/ 13 w 125"/>
                <a:gd name="T91" fmla="*/ 184 h 189"/>
                <a:gd name="T92" fmla="*/ 20 w 125"/>
                <a:gd name="T93" fmla="*/ 187 h 189"/>
                <a:gd name="T94" fmla="*/ 29 w 125"/>
                <a:gd name="T95" fmla="*/ 188 h 189"/>
                <a:gd name="T96" fmla="*/ 61 w 125"/>
                <a:gd name="T97" fmla="*/ 179 h 189"/>
                <a:gd name="T98" fmla="*/ 78 w 125"/>
                <a:gd name="T99" fmla="*/ 179 h 189"/>
                <a:gd name="T100" fmla="*/ 86 w 125"/>
                <a:gd name="T101" fmla="*/ 182 h 189"/>
                <a:gd name="T102" fmla="*/ 113 w 125"/>
                <a:gd name="T103" fmla="*/ 163 h 189"/>
                <a:gd name="T104" fmla="*/ 123 w 125"/>
                <a:gd name="T105" fmla="*/ 149 h 189"/>
                <a:gd name="T106" fmla="*/ 123 w 125"/>
                <a:gd name="T107" fmla="*/ 147 h 189"/>
                <a:gd name="T108" fmla="*/ 118 w 125"/>
                <a:gd name="T109" fmla="*/ 13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5" h="189">
                  <a:moveTo>
                    <a:pt x="118" y="130"/>
                  </a:moveTo>
                  <a:cubicBezTo>
                    <a:pt x="114" y="127"/>
                    <a:pt x="114" y="127"/>
                    <a:pt x="114" y="127"/>
                  </a:cubicBezTo>
                  <a:cubicBezTo>
                    <a:pt x="111" y="125"/>
                    <a:pt x="111" y="121"/>
                    <a:pt x="114" y="119"/>
                  </a:cubicBezTo>
                  <a:cubicBezTo>
                    <a:pt x="115" y="117"/>
                    <a:pt x="116" y="115"/>
                    <a:pt x="115" y="112"/>
                  </a:cubicBezTo>
                  <a:cubicBezTo>
                    <a:pt x="114" y="111"/>
                    <a:pt x="114" y="111"/>
                    <a:pt x="114" y="111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106" y="93"/>
                    <a:pt x="106" y="92"/>
                    <a:pt x="106" y="91"/>
                  </a:cubicBezTo>
                  <a:cubicBezTo>
                    <a:pt x="108" y="83"/>
                    <a:pt x="108" y="83"/>
                    <a:pt x="108" y="83"/>
                  </a:cubicBezTo>
                  <a:cubicBezTo>
                    <a:pt x="108" y="81"/>
                    <a:pt x="108" y="80"/>
                    <a:pt x="108" y="79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8" y="59"/>
                    <a:pt x="99" y="56"/>
                    <a:pt x="100" y="55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4" y="50"/>
                    <a:pt x="105" y="47"/>
                    <a:pt x="103" y="45"/>
                  </a:cubicBezTo>
                  <a:cubicBezTo>
                    <a:pt x="98" y="37"/>
                    <a:pt x="98" y="37"/>
                    <a:pt x="98" y="37"/>
                  </a:cubicBezTo>
                  <a:cubicBezTo>
                    <a:pt x="98" y="36"/>
                    <a:pt x="98" y="34"/>
                    <a:pt x="98" y="33"/>
                  </a:cubicBezTo>
                  <a:cubicBezTo>
                    <a:pt x="100" y="15"/>
                    <a:pt x="100" y="15"/>
                    <a:pt x="100" y="15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5" y="0"/>
                    <a:pt x="85" y="0"/>
                    <a:pt x="84" y="0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6" y="4"/>
                    <a:pt x="65" y="5"/>
                    <a:pt x="65" y="7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2"/>
                    <a:pt x="65" y="13"/>
                    <a:pt x="64" y="14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4" y="23"/>
                    <a:pt x="49" y="25"/>
                    <a:pt x="43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2" y="25"/>
                    <a:pt x="21" y="25"/>
                    <a:pt x="20" y="24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3" y="17"/>
                    <a:pt x="10" y="15"/>
                    <a:pt x="7" y="15"/>
                  </a:cubicBezTo>
                  <a:cubicBezTo>
                    <a:pt x="5" y="15"/>
                    <a:pt x="3" y="17"/>
                    <a:pt x="3" y="19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40" y="81"/>
                    <a:pt x="43" y="83"/>
                    <a:pt x="44" y="86"/>
                  </a:cubicBezTo>
                  <a:cubicBezTo>
                    <a:pt x="46" y="90"/>
                    <a:pt x="45" y="94"/>
                    <a:pt x="43" y="97"/>
                  </a:cubicBezTo>
                  <a:cubicBezTo>
                    <a:pt x="15" y="126"/>
                    <a:pt x="15" y="126"/>
                    <a:pt x="15" y="126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2" y="149"/>
                    <a:pt x="0" y="156"/>
                    <a:pt x="2" y="162"/>
                  </a:cubicBezTo>
                  <a:cubicBezTo>
                    <a:pt x="7" y="177"/>
                    <a:pt x="7" y="177"/>
                    <a:pt x="7" y="177"/>
                  </a:cubicBezTo>
                  <a:cubicBezTo>
                    <a:pt x="8" y="180"/>
                    <a:pt x="10" y="182"/>
                    <a:pt x="13" y="184"/>
                  </a:cubicBezTo>
                  <a:cubicBezTo>
                    <a:pt x="20" y="187"/>
                    <a:pt x="20" y="187"/>
                    <a:pt x="20" y="187"/>
                  </a:cubicBezTo>
                  <a:cubicBezTo>
                    <a:pt x="23" y="189"/>
                    <a:pt x="26" y="189"/>
                    <a:pt x="29" y="188"/>
                  </a:cubicBezTo>
                  <a:cubicBezTo>
                    <a:pt x="61" y="179"/>
                    <a:pt x="61" y="179"/>
                    <a:pt x="61" y="179"/>
                  </a:cubicBezTo>
                  <a:cubicBezTo>
                    <a:pt x="78" y="179"/>
                    <a:pt x="78" y="179"/>
                    <a:pt x="78" y="179"/>
                  </a:cubicBezTo>
                  <a:cubicBezTo>
                    <a:pt x="81" y="179"/>
                    <a:pt x="84" y="180"/>
                    <a:pt x="86" y="182"/>
                  </a:cubicBezTo>
                  <a:cubicBezTo>
                    <a:pt x="113" y="163"/>
                    <a:pt x="113" y="163"/>
                    <a:pt x="113" y="163"/>
                  </a:cubicBezTo>
                  <a:cubicBezTo>
                    <a:pt x="117" y="160"/>
                    <a:pt x="121" y="155"/>
                    <a:pt x="123" y="149"/>
                  </a:cubicBezTo>
                  <a:cubicBezTo>
                    <a:pt x="123" y="147"/>
                    <a:pt x="123" y="147"/>
                    <a:pt x="123" y="147"/>
                  </a:cubicBezTo>
                  <a:cubicBezTo>
                    <a:pt x="125" y="141"/>
                    <a:pt x="123" y="134"/>
                    <a:pt x="118" y="1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10">
              <a:extLst>
                <a:ext uri="{FF2B5EF4-FFF2-40B4-BE49-F238E27FC236}">
                  <a16:creationId xmlns:a16="http://schemas.microsoft.com/office/drawing/2014/main" id="{13E678BD-B6E5-4478-AE9A-0BE9B7EDC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188" y="2406651"/>
              <a:ext cx="892175" cy="750888"/>
            </a:xfrm>
            <a:custGeom>
              <a:avLst/>
              <a:gdLst>
                <a:gd name="T0" fmla="*/ 277 w 298"/>
                <a:gd name="T1" fmla="*/ 6 h 251"/>
                <a:gd name="T2" fmla="*/ 256 w 298"/>
                <a:gd name="T3" fmla="*/ 13 h 251"/>
                <a:gd name="T4" fmla="*/ 247 w 298"/>
                <a:gd name="T5" fmla="*/ 16 h 251"/>
                <a:gd name="T6" fmla="*/ 241 w 298"/>
                <a:gd name="T7" fmla="*/ 1 h 251"/>
                <a:gd name="T8" fmla="*/ 226 w 298"/>
                <a:gd name="T9" fmla="*/ 6 h 251"/>
                <a:gd name="T10" fmla="*/ 217 w 298"/>
                <a:gd name="T11" fmla="*/ 23 h 251"/>
                <a:gd name="T12" fmla="*/ 209 w 298"/>
                <a:gd name="T13" fmla="*/ 15 h 251"/>
                <a:gd name="T14" fmla="*/ 198 w 298"/>
                <a:gd name="T15" fmla="*/ 13 h 251"/>
                <a:gd name="T16" fmla="*/ 189 w 298"/>
                <a:gd name="T17" fmla="*/ 23 h 251"/>
                <a:gd name="T18" fmla="*/ 178 w 298"/>
                <a:gd name="T19" fmla="*/ 18 h 251"/>
                <a:gd name="T20" fmla="*/ 168 w 298"/>
                <a:gd name="T21" fmla="*/ 24 h 251"/>
                <a:gd name="T22" fmla="*/ 154 w 298"/>
                <a:gd name="T23" fmla="*/ 34 h 251"/>
                <a:gd name="T24" fmla="*/ 144 w 298"/>
                <a:gd name="T25" fmla="*/ 35 h 251"/>
                <a:gd name="T26" fmla="*/ 148 w 298"/>
                <a:gd name="T27" fmla="*/ 43 h 251"/>
                <a:gd name="T28" fmla="*/ 143 w 298"/>
                <a:gd name="T29" fmla="*/ 49 h 251"/>
                <a:gd name="T30" fmla="*/ 118 w 298"/>
                <a:gd name="T31" fmla="*/ 50 h 251"/>
                <a:gd name="T32" fmla="*/ 120 w 298"/>
                <a:gd name="T33" fmla="*/ 60 h 251"/>
                <a:gd name="T34" fmla="*/ 126 w 298"/>
                <a:gd name="T35" fmla="*/ 66 h 251"/>
                <a:gd name="T36" fmla="*/ 84 w 298"/>
                <a:gd name="T37" fmla="*/ 118 h 251"/>
                <a:gd name="T38" fmla="*/ 69 w 298"/>
                <a:gd name="T39" fmla="*/ 125 h 251"/>
                <a:gd name="T40" fmla="*/ 53 w 298"/>
                <a:gd name="T41" fmla="*/ 139 h 251"/>
                <a:gd name="T42" fmla="*/ 60 w 298"/>
                <a:gd name="T43" fmla="*/ 143 h 251"/>
                <a:gd name="T44" fmla="*/ 75 w 298"/>
                <a:gd name="T45" fmla="*/ 149 h 251"/>
                <a:gd name="T46" fmla="*/ 44 w 298"/>
                <a:gd name="T47" fmla="*/ 155 h 251"/>
                <a:gd name="T48" fmla="*/ 3 w 298"/>
                <a:gd name="T49" fmla="*/ 208 h 251"/>
                <a:gd name="T50" fmla="*/ 14 w 298"/>
                <a:gd name="T51" fmla="*/ 211 h 251"/>
                <a:gd name="T52" fmla="*/ 6 w 298"/>
                <a:gd name="T53" fmla="*/ 223 h 251"/>
                <a:gd name="T54" fmla="*/ 13 w 298"/>
                <a:gd name="T55" fmla="*/ 242 h 251"/>
                <a:gd name="T56" fmla="*/ 35 w 298"/>
                <a:gd name="T57" fmla="*/ 249 h 251"/>
                <a:gd name="T58" fmla="*/ 74 w 298"/>
                <a:gd name="T59" fmla="*/ 238 h 251"/>
                <a:gd name="T60" fmla="*/ 87 w 298"/>
                <a:gd name="T61" fmla="*/ 234 h 251"/>
                <a:gd name="T62" fmla="*/ 91 w 298"/>
                <a:gd name="T63" fmla="*/ 216 h 251"/>
                <a:gd name="T64" fmla="*/ 98 w 298"/>
                <a:gd name="T65" fmla="*/ 208 h 251"/>
                <a:gd name="T66" fmla="*/ 94 w 298"/>
                <a:gd name="T67" fmla="*/ 201 h 251"/>
                <a:gd name="T68" fmla="*/ 89 w 298"/>
                <a:gd name="T69" fmla="*/ 196 h 251"/>
                <a:gd name="T70" fmla="*/ 97 w 298"/>
                <a:gd name="T71" fmla="*/ 192 h 251"/>
                <a:gd name="T72" fmla="*/ 96 w 298"/>
                <a:gd name="T73" fmla="*/ 187 h 251"/>
                <a:gd name="T74" fmla="*/ 90 w 298"/>
                <a:gd name="T75" fmla="*/ 180 h 251"/>
                <a:gd name="T76" fmla="*/ 103 w 298"/>
                <a:gd name="T77" fmla="*/ 145 h 251"/>
                <a:gd name="T78" fmla="*/ 120 w 298"/>
                <a:gd name="T79" fmla="*/ 135 h 251"/>
                <a:gd name="T80" fmla="*/ 119 w 298"/>
                <a:gd name="T81" fmla="*/ 130 h 251"/>
                <a:gd name="T82" fmla="*/ 122 w 298"/>
                <a:gd name="T83" fmla="*/ 110 h 251"/>
                <a:gd name="T84" fmla="*/ 123 w 298"/>
                <a:gd name="T85" fmla="*/ 98 h 251"/>
                <a:gd name="T86" fmla="*/ 129 w 298"/>
                <a:gd name="T87" fmla="*/ 97 h 251"/>
                <a:gd name="T88" fmla="*/ 143 w 298"/>
                <a:gd name="T89" fmla="*/ 82 h 251"/>
                <a:gd name="T90" fmla="*/ 144 w 298"/>
                <a:gd name="T91" fmla="*/ 70 h 251"/>
                <a:gd name="T92" fmla="*/ 159 w 298"/>
                <a:gd name="T93" fmla="*/ 57 h 251"/>
                <a:gd name="T94" fmla="*/ 169 w 298"/>
                <a:gd name="T95" fmla="*/ 53 h 251"/>
                <a:gd name="T96" fmla="*/ 173 w 298"/>
                <a:gd name="T97" fmla="*/ 45 h 251"/>
                <a:gd name="T98" fmla="*/ 180 w 298"/>
                <a:gd name="T99" fmla="*/ 49 h 251"/>
                <a:gd name="T100" fmla="*/ 189 w 298"/>
                <a:gd name="T101" fmla="*/ 53 h 251"/>
                <a:gd name="T102" fmla="*/ 193 w 298"/>
                <a:gd name="T103" fmla="*/ 42 h 251"/>
                <a:gd name="T104" fmla="*/ 205 w 298"/>
                <a:gd name="T105" fmla="*/ 41 h 251"/>
                <a:gd name="T106" fmla="*/ 213 w 298"/>
                <a:gd name="T107" fmla="*/ 47 h 251"/>
                <a:gd name="T108" fmla="*/ 248 w 298"/>
                <a:gd name="T109" fmla="*/ 41 h 251"/>
                <a:gd name="T110" fmla="*/ 255 w 298"/>
                <a:gd name="T111" fmla="*/ 33 h 251"/>
                <a:gd name="T112" fmla="*/ 258 w 298"/>
                <a:gd name="T113" fmla="*/ 25 h 251"/>
                <a:gd name="T114" fmla="*/ 276 w 298"/>
                <a:gd name="T115" fmla="*/ 22 h 251"/>
                <a:gd name="T116" fmla="*/ 290 w 298"/>
                <a:gd name="T117" fmla="*/ 21 h 251"/>
                <a:gd name="T118" fmla="*/ 297 w 298"/>
                <a:gd name="T119" fmla="*/ 16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8" h="251">
                  <a:moveTo>
                    <a:pt x="289" y="8"/>
                  </a:moveTo>
                  <a:cubicBezTo>
                    <a:pt x="285" y="8"/>
                    <a:pt x="281" y="8"/>
                    <a:pt x="277" y="6"/>
                  </a:cubicBezTo>
                  <a:cubicBezTo>
                    <a:pt x="272" y="2"/>
                    <a:pt x="265" y="3"/>
                    <a:pt x="261" y="7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4" y="15"/>
                    <a:pt x="252" y="16"/>
                    <a:pt x="250" y="16"/>
                  </a:cubicBezTo>
                  <a:cubicBezTo>
                    <a:pt x="247" y="16"/>
                    <a:pt x="247" y="16"/>
                    <a:pt x="247" y="16"/>
                  </a:cubicBezTo>
                  <a:cubicBezTo>
                    <a:pt x="243" y="16"/>
                    <a:pt x="241" y="11"/>
                    <a:pt x="243" y="8"/>
                  </a:cubicBezTo>
                  <a:cubicBezTo>
                    <a:pt x="246" y="5"/>
                    <a:pt x="244" y="1"/>
                    <a:pt x="241" y="1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2" y="0"/>
                    <a:pt x="227" y="2"/>
                    <a:pt x="226" y="6"/>
                  </a:cubicBezTo>
                  <a:cubicBezTo>
                    <a:pt x="222" y="17"/>
                    <a:pt x="222" y="17"/>
                    <a:pt x="222" y="17"/>
                  </a:cubicBezTo>
                  <a:cubicBezTo>
                    <a:pt x="222" y="20"/>
                    <a:pt x="220" y="22"/>
                    <a:pt x="217" y="23"/>
                  </a:cubicBezTo>
                  <a:cubicBezTo>
                    <a:pt x="213" y="24"/>
                    <a:pt x="210" y="21"/>
                    <a:pt x="209" y="17"/>
                  </a:cubicBezTo>
                  <a:cubicBezTo>
                    <a:pt x="209" y="15"/>
                    <a:pt x="209" y="15"/>
                    <a:pt x="209" y="15"/>
                  </a:cubicBezTo>
                  <a:cubicBezTo>
                    <a:pt x="208" y="12"/>
                    <a:pt x="205" y="9"/>
                    <a:pt x="202" y="9"/>
                  </a:cubicBezTo>
                  <a:cubicBezTo>
                    <a:pt x="200" y="9"/>
                    <a:pt x="198" y="11"/>
                    <a:pt x="198" y="13"/>
                  </a:cubicBezTo>
                  <a:cubicBezTo>
                    <a:pt x="197" y="19"/>
                    <a:pt x="197" y="19"/>
                    <a:pt x="197" y="19"/>
                  </a:cubicBezTo>
                  <a:cubicBezTo>
                    <a:pt x="197" y="23"/>
                    <a:pt x="193" y="25"/>
                    <a:pt x="189" y="23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5" y="17"/>
                    <a:pt x="181" y="16"/>
                    <a:pt x="178" y="18"/>
                  </a:cubicBezTo>
                  <a:cubicBezTo>
                    <a:pt x="173" y="20"/>
                    <a:pt x="173" y="20"/>
                    <a:pt x="173" y="20"/>
                  </a:cubicBezTo>
                  <a:cubicBezTo>
                    <a:pt x="171" y="21"/>
                    <a:pt x="169" y="22"/>
                    <a:pt x="168" y="24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1" y="33"/>
                    <a:pt x="157" y="35"/>
                    <a:pt x="154" y="34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47" y="32"/>
                    <a:pt x="145" y="33"/>
                    <a:pt x="144" y="35"/>
                  </a:cubicBezTo>
                  <a:cubicBezTo>
                    <a:pt x="143" y="38"/>
                    <a:pt x="143" y="41"/>
                    <a:pt x="146" y="42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8" y="44"/>
                    <a:pt x="149" y="45"/>
                    <a:pt x="149" y="45"/>
                  </a:cubicBezTo>
                  <a:cubicBezTo>
                    <a:pt x="148" y="48"/>
                    <a:pt x="145" y="50"/>
                    <a:pt x="143" y="49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2" y="46"/>
                    <a:pt x="120" y="47"/>
                    <a:pt x="118" y="50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6" y="55"/>
                    <a:pt x="117" y="58"/>
                    <a:pt x="120" y="60"/>
                  </a:cubicBezTo>
                  <a:cubicBezTo>
                    <a:pt x="125" y="62"/>
                    <a:pt x="125" y="62"/>
                    <a:pt x="125" y="62"/>
                  </a:cubicBezTo>
                  <a:cubicBezTo>
                    <a:pt x="126" y="63"/>
                    <a:pt x="127" y="65"/>
                    <a:pt x="126" y="66"/>
                  </a:cubicBezTo>
                  <a:cubicBezTo>
                    <a:pt x="98" y="95"/>
                    <a:pt x="98" y="95"/>
                    <a:pt x="98" y="95"/>
                  </a:cubicBezTo>
                  <a:cubicBezTo>
                    <a:pt x="84" y="118"/>
                    <a:pt x="84" y="118"/>
                    <a:pt x="84" y="118"/>
                  </a:cubicBezTo>
                  <a:cubicBezTo>
                    <a:pt x="82" y="120"/>
                    <a:pt x="80" y="122"/>
                    <a:pt x="78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7" y="125"/>
                    <a:pt x="65" y="126"/>
                    <a:pt x="64" y="127"/>
                  </a:cubicBezTo>
                  <a:cubicBezTo>
                    <a:pt x="53" y="139"/>
                    <a:pt x="53" y="139"/>
                    <a:pt x="53" y="139"/>
                  </a:cubicBezTo>
                  <a:cubicBezTo>
                    <a:pt x="52" y="140"/>
                    <a:pt x="52" y="142"/>
                    <a:pt x="53" y="143"/>
                  </a:cubicBezTo>
                  <a:cubicBezTo>
                    <a:pt x="55" y="145"/>
                    <a:pt x="58" y="145"/>
                    <a:pt x="60" y="143"/>
                  </a:cubicBezTo>
                  <a:cubicBezTo>
                    <a:pt x="74" y="132"/>
                    <a:pt x="74" y="132"/>
                    <a:pt x="74" y="132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60" y="156"/>
                    <a:pt x="60" y="156"/>
                    <a:pt x="60" y="156"/>
                  </a:cubicBezTo>
                  <a:cubicBezTo>
                    <a:pt x="44" y="155"/>
                    <a:pt x="44" y="155"/>
                    <a:pt x="44" y="155"/>
                  </a:cubicBezTo>
                  <a:cubicBezTo>
                    <a:pt x="16" y="173"/>
                    <a:pt x="16" y="173"/>
                    <a:pt x="16" y="173"/>
                  </a:cubicBezTo>
                  <a:cubicBezTo>
                    <a:pt x="5" y="181"/>
                    <a:pt x="0" y="195"/>
                    <a:pt x="3" y="208"/>
                  </a:cubicBezTo>
                  <a:cubicBezTo>
                    <a:pt x="12" y="209"/>
                    <a:pt x="12" y="209"/>
                    <a:pt x="12" y="209"/>
                  </a:cubicBezTo>
                  <a:cubicBezTo>
                    <a:pt x="13" y="209"/>
                    <a:pt x="14" y="210"/>
                    <a:pt x="14" y="211"/>
                  </a:cubicBezTo>
                  <a:cubicBezTo>
                    <a:pt x="16" y="214"/>
                    <a:pt x="13" y="217"/>
                    <a:pt x="10" y="217"/>
                  </a:cubicBezTo>
                  <a:cubicBezTo>
                    <a:pt x="7" y="217"/>
                    <a:pt x="5" y="220"/>
                    <a:pt x="6" y="223"/>
                  </a:cubicBezTo>
                  <a:cubicBezTo>
                    <a:pt x="9" y="236"/>
                    <a:pt x="9" y="236"/>
                    <a:pt x="9" y="236"/>
                  </a:cubicBezTo>
                  <a:cubicBezTo>
                    <a:pt x="9" y="238"/>
                    <a:pt x="11" y="240"/>
                    <a:pt x="13" y="242"/>
                  </a:cubicBezTo>
                  <a:cubicBezTo>
                    <a:pt x="23" y="248"/>
                    <a:pt x="23" y="248"/>
                    <a:pt x="23" y="248"/>
                  </a:cubicBezTo>
                  <a:cubicBezTo>
                    <a:pt x="26" y="250"/>
                    <a:pt x="31" y="251"/>
                    <a:pt x="35" y="249"/>
                  </a:cubicBezTo>
                  <a:cubicBezTo>
                    <a:pt x="44" y="244"/>
                    <a:pt x="44" y="244"/>
                    <a:pt x="44" y="244"/>
                  </a:cubicBezTo>
                  <a:cubicBezTo>
                    <a:pt x="55" y="236"/>
                    <a:pt x="68" y="224"/>
                    <a:pt x="74" y="238"/>
                  </a:cubicBezTo>
                  <a:cubicBezTo>
                    <a:pt x="83" y="238"/>
                    <a:pt x="83" y="238"/>
                    <a:pt x="83" y="238"/>
                  </a:cubicBezTo>
                  <a:cubicBezTo>
                    <a:pt x="85" y="238"/>
                    <a:pt x="87" y="237"/>
                    <a:pt x="87" y="234"/>
                  </a:cubicBezTo>
                  <a:cubicBezTo>
                    <a:pt x="87" y="225"/>
                    <a:pt x="87" y="225"/>
                    <a:pt x="87" y="225"/>
                  </a:cubicBezTo>
                  <a:cubicBezTo>
                    <a:pt x="87" y="222"/>
                    <a:pt x="89" y="219"/>
                    <a:pt x="91" y="216"/>
                  </a:cubicBezTo>
                  <a:cubicBezTo>
                    <a:pt x="97" y="210"/>
                    <a:pt x="97" y="210"/>
                    <a:pt x="97" y="210"/>
                  </a:cubicBezTo>
                  <a:cubicBezTo>
                    <a:pt x="97" y="210"/>
                    <a:pt x="98" y="209"/>
                    <a:pt x="98" y="208"/>
                  </a:cubicBezTo>
                  <a:cubicBezTo>
                    <a:pt x="98" y="205"/>
                    <a:pt x="98" y="205"/>
                    <a:pt x="98" y="205"/>
                  </a:cubicBezTo>
                  <a:cubicBezTo>
                    <a:pt x="98" y="203"/>
                    <a:pt x="96" y="201"/>
                    <a:pt x="94" y="201"/>
                  </a:cubicBezTo>
                  <a:cubicBezTo>
                    <a:pt x="89" y="201"/>
                    <a:pt x="89" y="201"/>
                    <a:pt x="89" y="201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93" y="196"/>
                    <a:pt x="93" y="196"/>
                    <a:pt x="93" y="196"/>
                  </a:cubicBezTo>
                  <a:cubicBezTo>
                    <a:pt x="95" y="196"/>
                    <a:pt x="97" y="195"/>
                    <a:pt x="97" y="192"/>
                  </a:cubicBezTo>
                  <a:cubicBezTo>
                    <a:pt x="97" y="189"/>
                    <a:pt x="97" y="189"/>
                    <a:pt x="97" y="189"/>
                  </a:cubicBezTo>
                  <a:cubicBezTo>
                    <a:pt x="97" y="188"/>
                    <a:pt x="96" y="187"/>
                    <a:pt x="96" y="187"/>
                  </a:cubicBezTo>
                  <a:cubicBezTo>
                    <a:pt x="91" y="182"/>
                    <a:pt x="91" y="182"/>
                    <a:pt x="91" y="182"/>
                  </a:cubicBezTo>
                  <a:cubicBezTo>
                    <a:pt x="91" y="182"/>
                    <a:pt x="90" y="181"/>
                    <a:pt x="90" y="180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7"/>
                    <a:pt x="95" y="149"/>
                    <a:pt x="103" y="145"/>
                  </a:cubicBezTo>
                  <a:cubicBezTo>
                    <a:pt x="118" y="139"/>
                    <a:pt x="118" y="139"/>
                    <a:pt x="118" y="139"/>
                  </a:cubicBezTo>
                  <a:cubicBezTo>
                    <a:pt x="119" y="139"/>
                    <a:pt x="120" y="137"/>
                    <a:pt x="120" y="135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0" y="131"/>
                    <a:pt x="120" y="130"/>
                    <a:pt x="119" y="130"/>
                  </a:cubicBezTo>
                  <a:cubicBezTo>
                    <a:pt x="115" y="126"/>
                    <a:pt x="115" y="120"/>
                    <a:pt x="118" y="115"/>
                  </a:cubicBezTo>
                  <a:cubicBezTo>
                    <a:pt x="122" y="110"/>
                    <a:pt x="122" y="110"/>
                    <a:pt x="122" y="110"/>
                  </a:cubicBezTo>
                  <a:cubicBezTo>
                    <a:pt x="123" y="109"/>
                    <a:pt x="123" y="108"/>
                    <a:pt x="123" y="107"/>
                  </a:cubicBezTo>
                  <a:cubicBezTo>
                    <a:pt x="123" y="98"/>
                    <a:pt x="123" y="98"/>
                    <a:pt x="123" y="98"/>
                  </a:cubicBezTo>
                  <a:cubicBezTo>
                    <a:pt x="126" y="98"/>
                    <a:pt x="126" y="98"/>
                    <a:pt x="126" y="98"/>
                  </a:cubicBezTo>
                  <a:cubicBezTo>
                    <a:pt x="128" y="98"/>
                    <a:pt x="129" y="98"/>
                    <a:pt x="129" y="97"/>
                  </a:cubicBezTo>
                  <a:cubicBezTo>
                    <a:pt x="142" y="85"/>
                    <a:pt x="142" y="85"/>
                    <a:pt x="142" y="85"/>
                  </a:cubicBezTo>
                  <a:cubicBezTo>
                    <a:pt x="143" y="84"/>
                    <a:pt x="143" y="83"/>
                    <a:pt x="143" y="82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43" y="71"/>
                    <a:pt x="143" y="70"/>
                    <a:pt x="144" y="70"/>
                  </a:cubicBezTo>
                  <a:cubicBezTo>
                    <a:pt x="156" y="58"/>
                    <a:pt x="156" y="58"/>
                    <a:pt x="156" y="58"/>
                  </a:cubicBezTo>
                  <a:cubicBezTo>
                    <a:pt x="157" y="57"/>
                    <a:pt x="158" y="57"/>
                    <a:pt x="159" y="57"/>
                  </a:cubicBezTo>
                  <a:cubicBezTo>
                    <a:pt x="165" y="57"/>
                    <a:pt x="165" y="57"/>
                    <a:pt x="165" y="57"/>
                  </a:cubicBezTo>
                  <a:cubicBezTo>
                    <a:pt x="167" y="57"/>
                    <a:pt x="169" y="55"/>
                    <a:pt x="169" y="53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9" y="47"/>
                    <a:pt x="171" y="45"/>
                    <a:pt x="173" y="45"/>
                  </a:cubicBezTo>
                  <a:cubicBezTo>
                    <a:pt x="176" y="45"/>
                    <a:pt x="176" y="45"/>
                    <a:pt x="176" y="45"/>
                  </a:cubicBezTo>
                  <a:cubicBezTo>
                    <a:pt x="178" y="45"/>
                    <a:pt x="180" y="47"/>
                    <a:pt x="180" y="49"/>
                  </a:cubicBezTo>
                  <a:cubicBezTo>
                    <a:pt x="180" y="51"/>
                    <a:pt x="182" y="53"/>
                    <a:pt x="184" y="53"/>
                  </a:cubicBezTo>
                  <a:cubicBezTo>
                    <a:pt x="189" y="53"/>
                    <a:pt x="189" y="53"/>
                    <a:pt x="189" y="53"/>
                  </a:cubicBezTo>
                  <a:cubicBezTo>
                    <a:pt x="191" y="53"/>
                    <a:pt x="193" y="51"/>
                    <a:pt x="193" y="49"/>
                  </a:cubicBezTo>
                  <a:cubicBezTo>
                    <a:pt x="193" y="42"/>
                    <a:pt x="193" y="42"/>
                    <a:pt x="193" y="42"/>
                  </a:cubicBezTo>
                  <a:cubicBezTo>
                    <a:pt x="193" y="39"/>
                    <a:pt x="195" y="37"/>
                    <a:pt x="197" y="37"/>
                  </a:cubicBezTo>
                  <a:cubicBezTo>
                    <a:pt x="200" y="37"/>
                    <a:pt x="203" y="39"/>
                    <a:pt x="205" y="41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1" y="47"/>
                    <a:pt x="212" y="47"/>
                    <a:pt x="213" y="47"/>
                  </a:cubicBezTo>
                  <a:cubicBezTo>
                    <a:pt x="233" y="47"/>
                    <a:pt x="233" y="47"/>
                    <a:pt x="233" y="47"/>
                  </a:cubicBezTo>
                  <a:cubicBezTo>
                    <a:pt x="239" y="47"/>
                    <a:pt x="244" y="45"/>
                    <a:pt x="248" y="41"/>
                  </a:cubicBezTo>
                  <a:cubicBezTo>
                    <a:pt x="254" y="36"/>
                    <a:pt x="254" y="36"/>
                    <a:pt x="254" y="36"/>
                  </a:cubicBezTo>
                  <a:cubicBezTo>
                    <a:pt x="255" y="35"/>
                    <a:pt x="255" y="34"/>
                    <a:pt x="255" y="33"/>
                  </a:cubicBezTo>
                  <a:cubicBezTo>
                    <a:pt x="255" y="29"/>
                    <a:pt x="255" y="29"/>
                    <a:pt x="255" y="29"/>
                  </a:cubicBezTo>
                  <a:cubicBezTo>
                    <a:pt x="255" y="27"/>
                    <a:pt x="256" y="26"/>
                    <a:pt x="258" y="25"/>
                  </a:cubicBezTo>
                  <a:cubicBezTo>
                    <a:pt x="274" y="22"/>
                    <a:pt x="274" y="22"/>
                    <a:pt x="274" y="22"/>
                  </a:cubicBezTo>
                  <a:cubicBezTo>
                    <a:pt x="275" y="22"/>
                    <a:pt x="275" y="22"/>
                    <a:pt x="276" y="22"/>
                  </a:cubicBezTo>
                  <a:cubicBezTo>
                    <a:pt x="276" y="21"/>
                    <a:pt x="276" y="21"/>
                    <a:pt x="276" y="21"/>
                  </a:cubicBezTo>
                  <a:cubicBezTo>
                    <a:pt x="290" y="21"/>
                    <a:pt x="290" y="21"/>
                    <a:pt x="290" y="21"/>
                  </a:cubicBezTo>
                  <a:cubicBezTo>
                    <a:pt x="293" y="22"/>
                    <a:pt x="296" y="19"/>
                    <a:pt x="297" y="16"/>
                  </a:cubicBezTo>
                  <a:cubicBezTo>
                    <a:pt x="297" y="16"/>
                    <a:pt x="297" y="16"/>
                    <a:pt x="297" y="16"/>
                  </a:cubicBezTo>
                  <a:cubicBezTo>
                    <a:pt x="298" y="11"/>
                    <a:pt x="294" y="7"/>
                    <a:pt x="289" y="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11">
              <a:extLst>
                <a:ext uri="{FF2B5EF4-FFF2-40B4-BE49-F238E27FC236}">
                  <a16:creationId xmlns:a16="http://schemas.microsoft.com/office/drawing/2014/main" id="{30BBA10B-67DF-4A48-B407-3A7E212D9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3933826"/>
              <a:ext cx="50800" cy="84138"/>
            </a:xfrm>
            <a:custGeom>
              <a:avLst/>
              <a:gdLst>
                <a:gd name="T0" fmla="*/ 14 w 17"/>
                <a:gd name="T1" fmla="*/ 1 h 28"/>
                <a:gd name="T2" fmla="*/ 10 w 17"/>
                <a:gd name="T3" fmla="*/ 0 h 28"/>
                <a:gd name="T4" fmla="*/ 9 w 17"/>
                <a:gd name="T5" fmla="*/ 0 h 28"/>
                <a:gd name="T6" fmla="*/ 6 w 17"/>
                <a:gd name="T7" fmla="*/ 2 h 28"/>
                <a:gd name="T8" fmla="*/ 2 w 17"/>
                <a:gd name="T9" fmla="*/ 2 h 28"/>
                <a:gd name="T10" fmla="*/ 1 w 17"/>
                <a:gd name="T11" fmla="*/ 9 h 28"/>
                <a:gd name="T12" fmla="*/ 3 w 17"/>
                <a:gd name="T13" fmla="*/ 12 h 28"/>
                <a:gd name="T14" fmla="*/ 3 w 17"/>
                <a:gd name="T15" fmla="*/ 28 h 28"/>
                <a:gd name="T16" fmla="*/ 5 w 17"/>
                <a:gd name="T17" fmla="*/ 28 h 28"/>
                <a:gd name="T18" fmla="*/ 11 w 17"/>
                <a:gd name="T19" fmla="*/ 25 h 28"/>
                <a:gd name="T20" fmla="*/ 13 w 17"/>
                <a:gd name="T21" fmla="*/ 22 h 28"/>
                <a:gd name="T22" fmla="*/ 16 w 17"/>
                <a:gd name="T23" fmla="*/ 17 h 28"/>
                <a:gd name="T24" fmla="*/ 16 w 17"/>
                <a:gd name="T25" fmla="*/ 10 h 28"/>
                <a:gd name="T26" fmla="*/ 16 w 17"/>
                <a:gd name="T27" fmla="*/ 8 h 28"/>
                <a:gd name="T28" fmla="*/ 14 w 17"/>
                <a:gd name="T29" fmla="*/ 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28">
                  <a:moveTo>
                    <a:pt x="14" y="1"/>
                  </a:moveTo>
                  <a:cubicBezTo>
                    <a:pt x="13" y="0"/>
                    <a:pt x="12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3" y="1"/>
                    <a:pt x="2" y="2"/>
                  </a:cubicBezTo>
                  <a:cubicBezTo>
                    <a:pt x="0" y="3"/>
                    <a:pt x="1" y="9"/>
                    <a:pt x="1" y="9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7" y="28"/>
                    <a:pt x="9" y="27"/>
                    <a:pt x="11" y="25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5" y="21"/>
                    <a:pt x="16" y="19"/>
                    <a:pt x="16" y="17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5"/>
                    <a:pt x="16" y="2"/>
                    <a:pt x="14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2">
              <a:extLst>
                <a:ext uri="{FF2B5EF4-FFF2-40B4-BE49-F238E27FC236}">
                  <a16:creationId xmlns:a16="http://schemas.microsoft.com/office/drawing/2014/main" id="{7B075E48-9872-4283-82E6-423FE30907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063" y="3862388"/>
              <a:ext cx="30163" cy="47625"/>
            </a:xfrm>
            <a:custGeom>
              <a:avLst/>
              <a:gdLst>
                <a:gd name="T0" fmla="*/ 4 w 10"/>
                <a:gd name="T1" fmla="*/ 0 h 16"/>
                <a:gd name="T2" fmla="*/ 0 w 10"/>
                <a:gd name="T3" fmla="*/ 4 h 16"/>
                <a:gd name="T4" fmla="*/ 0 w 10"/>
                <a:gd name="T5" fmla="*/ 11 h 16"/>
                <a:gd name="T6" fmla="*/ 2 w 10"/>
                <a:gd name="T7" fmla="*/ 15 h 16"/>
                <a:gd name="T8" fmla="*/ 4 w 10"/>
                <a:gd name="T9" fmla="*/ 15 h 16"/>
                <a:gd name="T10" fmla="*/ 4 w 10"/>
                <a:gd name="T11" fmla="*/ 9 h 16"/>
                <a:gd name="T12" fmla="*/ 9 w 10"/>
                <a:gd name="T13" fmla="*/ 9 h 16"/>
                <a:gd name="T14" fmla="*/ 9 w 10"/>
                <a:gd name="T15" fmla="*/ 4 h 16"/>
                <a:gd name="T16" fmla="*/ 4 w 10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6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"/>
                    <a:pt x="0" y="14"/>
                    <a:pt x="2" y="15"/>
                  </a:cubicBezTo>
                  <a:cubicBezTo>
                    <a:pt x="2" y="15"/>
                    <a:pt x="3" y="16"/>
                    <a:pt x="4" y="15"/>
                  </a:cubicBezTo>
                  <a:cubicBezTo>
                    <a:pt x="5" y="14"/>
                    <a:pt x="4" y="9"/>
                    <a:pt x="4" y="9"/>
                  </a:cubicBezTo>
                  <a:cubicBezTo>
                    <a:pt x="4" y="9"/>
                    <a:pt x="8" y="10"/>
                    <a:pt x="9" y="9"/>
                  </a:cubicBezTo>
                  <a:cubicBezTo>
                    <a:pt x="10" y="8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13">
              <a:extLst>
                <a:ext uri="{FF2B5EF4-FFF2-40B4-BE49-F238E27FC236}">
                  <a16:creationId xmlns:a16="http://schemas.microsoft.com/office/drawing/2014/main" id="{CA773A01-2A72-4FA8-972A-0D2794107C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300" y="3814763"/>
              <a:ext cx="442913" cy="315913"/>
            </a:xfrm>
            <a:custGeom>
              <a:avLst/>
              <a:gdLst>
                <a:gd name="T0" fmla="*/ 120 w 148"/>
                <a:gd name="T1" fmla="*/ 13 h 106"/>
                <a:gd name="T2" fmla="*/ 113 w 148"/>
                <a:gd name="T3" fmla="*/ 14 h 106"/>
                <a:gd name="T4" fmla="*/ 88 w 148"/>
                <a:gd name="T5" fmla="*/ 5 h 106"/>
                <a:gd name="T6" fmla="*/ 85 w 148"/>
                <a:gd name="T7" fmla="*/ 6 h 106"/>
                <a:gd name="T8" fmla="*/ 68 w 148"/>
                <a:gd name="T9" fmla="*/ 5 h 106"/>
                <a:gd name="T10" fmla="*/ 68 w 148"/>
                <a:gd name="T11" fmla="*/ 5 h 106"/>
                <a:gd name="T12" fmla="*/ 56 w 148"/>
                <a:gd name="T13" fmla="*/ 5 h 106"/>
                <a:gd name="T14" fmla="*/ 54 w 148"/>
                <a:gd name="T15" fmla="*/ 5 h 106"/>
                <a:gd name="T16" fmla="*/ 49 w 148"/>
                <a:gd name="T17" fmla="*/ 2 h 106"/>
                <a:gd name="T18" fmla="*/ 47 w 148"/>
                <a:gd name="T19" fmla="*/ 2 h 106"/>
                <a:gd name="T20" fmla="*/ 22 w 148"/>
                <a:gd name="T21" fmla="*/ 0 h 106"/>
                <a:gd name="T22" fmla="*/ 22 w 148"/>
                <a:gd name="T23" fmla="*/ 0 h 106"/>
                <a:gd name="T24" fmla="*/ 12 w 148"/>
                <a:gd name="T25" fmla="*/ 0 h 106"/>
                <a:gd name="T26" fmla="*/ 9 w 148"/>
                <a:gd name="T27" fmla="*/ 1 h 106"/>
                <a:gd name="T28" fmla="*/ 2 w 148"/>
                <a:gd name="T29" fmla="*/ 7 h 106"/>
                <a:gd name="T30" fmla="*/ 0 w 148"/>
                <a:gd name="T31" fmla="*/ 12 h 106"/>
                <a:gd name="T32" fmla="*/ 2 w 148"/>
                <a:gd name="T33" fmla="*/ 20 h 106"/>
                <a:gd name="T34" fmla="*/ 3 w 148"/>
                <a:gd name="T35" fmla="*/ 22 h 106"/>
                <a:gd name="T36" fmla="*/ 5 w 148"/>
                <a:gd name="T37" fmla="*/ 25 h 106"/>
                <a:gd name="T38" fmla="*/ 6 w 148"/>
                <a:gd name="T39" fmla="*/ 27 h 106"/>
                <a:gd name="T40" fmla="*/ 13 w 148"/>
                <a:gd name="T41" fmla="*/ 29 h 106"/>
                <a:gd name="T42" fmla="*/ 29 w 148"/>
                <a:gd name="T43" fmla="*/ 26 h 106"/>
                <a:gd name="T44" fmla="*/ 34 w 148"/>
                <a:gd name="T45" fmla="*/ 28 h 106"/>
                <a:gd name="T46" fmla="*/ 35 w 148"/>
                <a:gd name="T47" fmla="*/ 35 h 106"/>
                <a:gd name="T48" fmla="*/ 34 w 148"/>
                <a:gd name="T49" fmla="*/ 36 h 106"/>
                <a:gd name="T50" fmla="*/ 32 w 148"/>
                <a:gd name="T51" fmla="*/ 38 h 106"/>
                <a:gd name="T52" fmla="*/ 31 w 148"/>
                <a:gd name="T53" fmla="*/ 38 h 106"/>
                <a:gd name="T54" fmla="*/ 28 w 148"/>
                <a:gd name="T55" fmla="*/ 43 h 106"/>
                <a:gd name="T56" fmla="*/ 25 w 148"/>
                <a:gd name="T57" fmla="*/ 62 h 106"/>
                <a:gd name="T58" fmla="*/ 24 w 148"/>
                <a:gd name="T59" fmla="*/ 65 h 106"/>
                <a:gd name="T60" fmla="*/ 22 w 148"/>
                <a:gd name="T61" fmla="*/ 67 h 106"/>
                <a:gd name="T62" fmla="*/ 24 w 148"/>
                <a:gd name="T63" fmla="*/ 70 h 106"/>
                <a:gd name="T64" fmla="*/ 25 w 148"/>
                <a:gd name="T65" fmla="*/ 73 h 106"/>
                <a:gd name="T66" fmla="*/ 23 w 148"/>
                <a:gd name="T67" fmla="*/ 91 h 106"/>
                <a:gd name="T68" fmla="*/ 27 w 148"/>
                <a:gd name="T69" fmla="*/ 92 h 106"/>
                <a:gd name="T70" fmla="*/ 28 w 148"/>
                <a:gd name="T71" fmla="*/ 94 h 106"/>
                <a:gd name="T72" fmla="*/ 30 w 148"/>
                <a:gd name="T73" fmla="*/ 98 h 106"/>
                <a:gd name="T74" fmla="*/ 33 w 148"/>
                <a:gd name="T75" fmla="*/ 102 h 106"/>
                <a:gd name="T76" fmla="*/ 37 w 148"/>
                <a:gd name="T77" fmla="*/ 105 h 106"/>
                <a:gd name="T78" fmla="*/ 41 w 148"/>
                <a:gd name="T79" fmla="*/ 106 h 106"/>
                <a:gd name="T80" fmla="*/ 50 w 148"/>
                <a:gd name="T81" fmla="*/ 103 h 106"/>
                <a:gd name="T82" fmla="*/ 51 w 148"/>
                <a:gd name="T83" fmla="*/ 102 h 106"/>
                <a:gd name="T84" fmla="*/ 65 w 148"/>
                <a:gd name="T85" fmla="*/ 99 h 106"/>
                <a:gd name="T86" fmla="*/ 66 w 148"/>
                <a:gd name="T87" fmla="*/ 99 h 106"/>
                <a:gd name="T88" fmla="*/ 75 w 148"/>
                <a:gd name="T89" fmla="*/ 99 h 106"/>
                <a:gd name="T90" fmla="*/ 78 w 148"/>
                <a:gd name="T91" fmla="*/ 98 h 106"/>
                <a:gd name="T92" fmla="*/ 89 w 148"/>
                <a:gd name="T93" fmla="*/ 90 h 106"/>
                <a:gd name="T94" fmla="*/ 89 w 148"/>
                <a:gd name="T95" fmla="*/ 90 h 106"/>
                <a:gd name="T96" fmla="*/ 99 w 148"/>
                <a:gd name="T97" fmla="*/ 81 h 106"/>
                <a:gd name="T98" fmla="*/ 109 w 148"/>
                <a:gd name="T99" fmla="*/ 72 h 106"/>
                <a:gd name="T100" fmla="*/ 104 w 148"/>
                <a:gd name="T101" fmla="*/ 64 h 106"/>
                <a:gd name="T102" fmla="*/ 108 w 148"/>
                <a:gd name="T103" fmla="*/ 52 h 106"/>
                <a:gd name="T104" fmla="*/ 121 w 148"/>
                <a:gd name="T105" fmla="*/ 39 h 106"/>
                <a:gd name="T106" fmla="*/ 125 w 148"/>
                <a:gd name="T107" fmla="*/ 37 h 106"/>
                <a:gd name="T108" fmla="*/ 131 w 148"/>
                <a:gd name="T109" fmla="*/ 36 h 106"/>
                <a:gd name="T110" fmla="*/ 134 w 148"/>
                <a:gd name="T111" fmla="*/ 35 h 106"/>
                <a:gd name="T112" fmla="*/ 144 w 148"/>
                <a:gd name="T113" fmla="*/ 30 h 106"/>
                <a:gd name="T114" fmla="*/ 147 w 148"/>
                <a:gd name="T115" fmla="*/ 25 h 106"/>
                <a:gd name="T116" fmla="*/ 148 w 148"/>
                <a:gd name="T117" fmla="*/ 20 h 106"/>
                <a:gd name="T118" fmla="*/ 127 w 148"/>
                <a:gd name="T119" fmla="*/ 11 h 106"/>
                <a:gd name="T120" fmla="*/ 120 w 148"/>
                <a:gd name="T121" fmla="*/ 1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06">
                  <a:moveTo>
                    <a:pt x="120" y="13"/>
                  </a:moveTo>
                  <a:cubicBezTo>
                    <a:pt x="118" y="15"/>
                    <a:pt x="115" y="15"/>
                    <a:pt x="113" y="14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7" y="6"/>
                    <a:pt x="86" y="6"/>
                    <a:pt x="85" y="6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5" y="5"/>
                    <a:pt x="54" y="5"/>
                    <a:pt x="54" y="5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8" y="2"/>
                    <a:pt x="48" y="2"/>
                    <a:pt x="47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9" y="1"/>
                    <a:pt x="9" y="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8"/>
                    <a:pt x="0" y="10"/>
                    <a:pt x="0" y="1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1"/>
                    <a:pt x="2" y="21"/>
                    <a:pt x="3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6" y="26"/>
                    <a:pt x="6" y="26"/>
                    <a:pt x="6" y="27"/>
                  </a:cubicBezTo>
                  <a:cubicBezTo>
                    <a:pt x="9" y="28"/>
                    <a:pt x="12" y="29"/>
                    <a:pt x="13" y="29"/>
                  </a:cubicBezTo>
                  <a:cubicBezTo>
                    <a:pt x="14" y="29"/>
                    <a:pt x="23" y="27"/>
                    <a:pt x="29" y="26"/>
                  </a:cubicBezTo>
                  <a:cubicBezTo>
                    <a:pt x="31" y="26"/>
                    <a:pt x="33" y="27"/>
                    <a:pt x="34" y="28"/>
                  </a:cubicBezTo>
                  <a:cubicBezTo>
                    <a:pt x="36" y="30"/>
                    <a:pt x="36" y="33"/>
                    <a:pt x="35" y="35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3" y="37"/>
                    <a:pt x="33" y="38"/>
                    <a:pt x="32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8" y="41"/>
                    <a:pt x="28" y="43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5" y="63"/>
                    <a:pt x="25" y="64"/>
                    <a:pt x="24" y="65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5" y="71"/>
                    <a:pt x="25" y="72"/>
                    <a:pt x="25" y="73"/>
                  </a:cubicBezTo>
                  <a:cubicBezTo>
                    <a:pt x="23" y="91"/>
                    <a:pt x="23" y="91"/>
                    <a:pt x="23" y="91"/>
                  </a:cubicBezTo>
                  <a:cubicBezTo>
                    <a:pt x="24" y="91"/>
                    <a:pt x="26" y="92"/>
                    <a:pt x="27" y="92"/>
                  </a:cubicBezTo>
                  <a:cubicBezTo>
                    <a:pt x="28" y="94"/>
                    <a:pt x="28" y="94"/>
                    <a:pt x="28" y="94"/>
                  </a:cubicBezTo>
                  <a:cubicBezTo>
                    <a:pt x="30" y="95"/>
                    <a:pt x="30" y="96"/>
                    <a:pt x="30" y="98"/>
                  </a:cubicBezTo>
                  <a:cubicBezTo>
                    <a:pt x="30" y="100"/>
                    <a:pt x="31" y="101"/>
                    <a:pt x="33" y="102"/>
                  </a:cubicBezTo>
                  <a:cubicBezTo>
                    <a:pt x="37" y="105"/>
                    <a:pt x="37" y="105"/>
                    <a:pt x="37" y="105"/>
                  </a:cubicBezTo>
                  <a:cubicBezTo>
                    <a:pt x="38" y="106"/>
                    <a:pt x="40" y="106"/>
                    <a:pt x="41" y="106"/>
                  </a:cubicBezTo>
                  <a:cubicBezTo>
                    <a:pt x="50" y="103"/>
                    <a:pt x="50" y="103"/>
                    <a:pt x="50" y="103"/>
                  </a:cubicBezTo>
                  <a:cubicBezTo>
                    <a:pt x="50" y="103"/>
                    <a:pt x="50" y="102"/>
                    <a:pt x="51" y="102"/>
                  </a:cubicBezTo>
                  <a:cubicBezTo>
                    <a:pt x="65" y="99"/>
                    <a:pt x="65" y="99"/>
                    <a:pt x="65" y="99"/>
                  </a:cubicBezTo>
                  <a:cubicBezTo>
                    <a:pt x="65" y="99"/>
                    <a:pt x="66" y="99"/>
                    <a:pt x="66" y="99"/>
                  </a:cubicBezTo>
                  <a:cubicBezTo>
                    <a:pt x="75" y="99"/>
                    <a:pt x="75" y="99"/>
                    <a:pt x="75" y="99"/>
                  </a:cubicBezTo>
                  <a:cubicBezTo>
                    <a:pt x="76" y="99"/>
                    <a:pt x="77" y="99"/>
                    <a:pt x="78" y="98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8" y="52"/>
                    <a:pt x="108" y="52"/>
                    <a:pt x="108" y="52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2" y="38"/>
                    <a:pt x="124" y="37"/>
                    <a:pt x="125" y="37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2" y="36"/>
                    <a:pt x="133" y="36"/>
                    <a:pt x="134" y="35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29"/>
                    <a:pt x="147" y="27"/>
                    <a:pt x="147" y="25"/>
                  </a:cubicBezTo>
                  <a:cubicBezTo>
                    <a:pt x="148" y="20"/>
                    <a:pt x="148" y="20"/>
                    <a:pt x="148" y="20"/>
                  </a:cubicBezTo>
                  <a:cubicBezTo>
                    <a:pt x="127" y="11"/>
                    <a:pt x="127" y="11"/>
                    <a:pt x="127" y="11"/>
                  </a:cubicBezTo>
                  <a:cubicBezTo>
                    <a:pt x="124" y="10"/>
                    <a:pt x="121" y="11"/>
                    <a:pt x="120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14">
              <a:extLst>
                <a:ext uri="{FF2B5EF4-FFF2-40B4-BE49-F238E27FC236}">
                  <a16:creationId xmlns:a16="http://schemas.microsoft.com/office/drawing/2014/main" id="{EDD79C95-1CDE-46F4-AD69-33B8F270A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250" y="3178176"/>
              <a:ext cx="90488" cy="136525"/>
            </a:xfrm>
            <a:custGeom>
              <a:avLst/>
              <a:gdLst>
                <a:gd name="T0" fmla="*/ 1 w 30"/>
                <a:gd name="T1" fmla="*/ 28 h 46"/>
                <a:gd name="T2" fmla="*/ 8 w 30"/>
                <a:gd name="T3" fmla="*/ 46 h 46"/>
                <a:gd name="T4" fmla="*/ 19 w 30"/>
                <a:gd name="T5" fmla="*/ 46 h 46"/>
                <a:gd name="T6" fmla="*/ 17 w 30"/>
                <a:gd name="T7" fmla="*/ 41 h 46"/>
                <a:gd name="T8" fmla="*/ 16 w 30"/>
                <a:gd name="T9" fmla="*/ 32 h 46"/>
                <a:gd name="T10" fmla="*/ 17 w 30"/>
                <a:gd name="T11" fmla="*/ 27 h 46"/>
                <a:gd name="T12" fmla="*/ 20 w 30"/>
                <a:gd name="T13" fmla="*/ 24 h 46"/>
                <a:gd name="T14" fmla="*/ 27 w 30"/>
                <a:gd name="T15" fmla="*/ 22 h 46"/>
                <a:gd name="T16" fmla="*/ 30 w 30"/>
                <a:gd name="T17" fmla="*/ 18 h 46"/>
                <a:gd name="T18" fmla="*/ 30 w 30"/>
                <a:gd name="T19" fmla="*/ 17 h 46"/>
                <a:gd name="T20" fmla="*/ 28 w 30"/>
                <a:gd name="T21" fmla="*/ 14 h 46"/>
                <a:gd name="T22" fmla="*/ 27 w 30"/>
                <a:gd name="T23" fmla="*/ 13 h 46"/>
                <a:gd name="T24" fmla="*/ 26 w 30"/>
                <a:gd name="T25" fmla="*/ 9 h 46"/>
                <a:gd name="T26" fmla="*/ 28 w 30"/>
                <a:gd name="T27" fmla="*/ 2 h 46"/>
                <a:gd name="T28" fmla="*/ 17 w 30"/>
                <a:gd name="T29" fmla="*/ 3 h 46"/>
                <a:gd name="T30" fmla="*/ 13 w 30"/>
                <a:gd name="T31" fmla="*/ 7 h 46"/>
                <a:gd name="T32" fmla="*/ 8 w 30"/>
                <a:gd name="T33" fmla="*/ 7 h 46"/>
                <a:gd name="T34" fmla="*/ 4 w 30"/>
                <a:gd name="T35" fmla="*/ 7 h 46"/>
                <a:gd name="T36" fmla="*/ 1 w 30"/>
                <a:gd name="T37" fmla="*/ 10 h 46"/>
                <a:gd name="T38" fmla="*/ 0 w 30"/>
                <a:gd name="T39" fmla="*/ 13 h 46"/>
                <a:gd name="T40" fmla="*/ 1 w 30"/>
                <a:gd name="T41" fmla="*/ 26 h 46"/>
                <a:gd name="T42" fmla="*/ 1 w 30"/>
                <a:gd name="T43" fmla="*/ 2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" h="46">
                  <a:moveTo>
                    <a:pt x="1" y="28"/>
                  </a:moveTo>
                  <a:cubicBezTo>
                    <a:pt x="8" y="46"/>
                    <a:pt x="8" y="46"/>
                    <a:pt x="8" y="46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5" y="38"/>
                    <a:pt x="15" y="35"/>
                    <a:pt x="16" y="32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8" y="22"/>
                    <a:pt x="30" y="20"/>
                    <a:pt x="30" y="18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6"/>
                    <a:pt x="29" y="15"/>
                    <a:pt x="28" y="14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6" y="12"/>
                    <a:pt x="25" y="10"/>
                    <a:pt x="26" y="9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0"/>
                    <a:pt x="20" y="0"/>
                    <a:pt x="17" y="3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9"/>
                    <a:pt x="9" y="9"/>
                    <a:pt x="8" y="7"/>
                  </a:cubicBezTo>
                  <a:cubicBezTo>
                    <a:pt x="7" y="6"/>
                    <a:pt x="5" y="6"/>
                    <a:pt x="4" y="7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1"/>
                    <a:pt x="0" y="12"/>
                    <a:pt x="0" y="13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7"/>
                    <a:pt x="1" y="27"/>
                    <a:pt x="1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5">
              <a:extLst>
                <a:ext uri="{FF2B5EF4-FFF2-40B4-BE49-F238E27FC236}">
                  <a16:creationId xmlns:a16="http://schemas.microsoft.com/office/drawing/2014/main" id="{E166EEA1-ED05-47B3-9213-C8A5AAF07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3314701"/>
              <a:ext cx="317500" cy="303213"/>
            </a:xfrm>
            <a:custGeom>
              <a:avLst/>
              <a:gdLst>
                <a:gd name="T0" fmla="*/ 42 w 106"/>
                <a:gd name="T1" fmla="*/ 95 h 101"/>
                <a:gd name="T2" fmla="*/ 52 w 106"/>
                <a:gd name="T3" fmla="*/ 100 h 101"/>
                <a:gd name="T4" fmla="*/ 56 w 106"/>
                <a:gd name="T5" fmla="*/ 101 h 101"/>
                <a:gd name="T6" fmla="*/ 71 w 106"/>
                <a:gd name="T7" fmla="*/ 101 h 101"/>
                <a:gd name="T8" fmla="*/ 86 w 106"/>
                <a:gd name="T9" fmla="*/ 94 h 101"/>
                <a:gd name="T10" fmla="*/ 92 w 106"/>
                <a:gd name="T11" fmla="*/ 89 h 101"/>
                <a:gd name="T12" fmla="*/ 92 w 106"/>
                <a:gd name="T13" fmla="*/ 76 h 101"/>
                <a:gd name="T14" fmla="*/ 86 w 106"/>
                <a:gd name="T15" fmla="*/ 69 h 101"/>
                <a:gd name="T16" fmla="*/ 83 w 106"/>
                <a:gd name="T17" fmla="*/ 63 h 101"/>
                <a:gd name="T18" fmla="*/ 83 w 106"/>
                <a:gd name="T19" fmla="*/ 60 h 101"/>
                <a:gd name="T20" fmla="*/ 89 w 106"/>
                <a:gd name="T21" fmla="*/ 51 h 101"/>
                <a:gd name="T22" fmla="*/ 99 w 106"/>
                <a:gd name="T23" fmla="*/ 48 h 101"/>
                <a:gd name="T24" fmla="*/ 104 w 106"/>
                <a:gd name="T25" fmla="*/ 37 h 101"/>
                <a:gd name="T26" fmla="*/ 101 w 106"/>
                <a:gd name="T27" fmla="*/ 25 h 101"/>
                <a:gd name="T28" fmla="*/ 104 w 106"/>
                <a:gd name="T29" fmla="*/ 16 h 101"/>
                <a:gd name="T30" fmla="*/ 106 w 106"/>
                <a:gd name="T31" fmla="*/ 13 h 101"/>
                <a:gd name="T32" fmla="*/ 103 w 106"/>
                <a:gd name="T33" fmla="*/ 10 h 101"/>
                <a:gd name="T34" fmla="*/ 88 w 106"/>
                <a:gd name="T35" fmla="*/ 5 h 101"/>
                <a:gd name="T36" fmla="*/ 85 w 106"/>
                <a:gd name="T37" fmla="*/ 5 h 101"/>
                <a:gd name="T38" fmla="*/ 77 w 106"/>
                <a:gd name="T39" fmla="*/ 13 h 101"/>
                <a:gd name="T40" fmla="*/ 59 w 106"/>
                <a:gd name="T41" fmla="*/ 6 h 101"/>
                <a:gd name="T42" fmla="*/ 53 w 106"/>
                <a:gd name="T43" fmla="*/ 1 h 101"/>
                <a:gd name="T44" fmla="*/ 52 w 106"/>
                <a:gd name="T45" fmla="*/ 0 h 101"/>
                <a:gd name="T46" fmla="*/ 41 w 106"/>
                <a:gd name="T47" fmla="*/ 0 h 101"/>
                <a:gd name="T48" fmla="*/ 42 w 106"/>
                <a:gd name="T49" fmla="*/ 3 h 101"/>
                <a:gd name="T50" fmla="*/ 45 w 106"/>
                <a:gd name="T51" fmla="*/ 8 h 101"/>
                <a:gd name="T52" fmla="*/ 44 w 106"/>
                <a:gd name="T53" fmla="*/ 12 h 101"/>
                <a:gd name="T54" fmla="*/ 39 w 106"/>
                <a:gd name="T55" fmla="*/ 16 h 101"/>
                <a:gd name="T56" fmla="*/ 38 w 106"/>
                <a:gd name="T57" fmla="*/ 17 h 101"/>
                <a:gd name="T58" fmla="*/ 36 w 106"/>
                <a:gd name="T59" fmla="*/ 22 h 101"/>
                <a:gd name="T60" fmla="*/ 30 w 106"/>
                <a:gd name="T61" fmla="*/ 17 h 101"/>
                <a:gd name="T62" fmla="*/ 27 w 106"/>
                <a:gd name="T63" fmla="*/ 17 h 101"/>
                <a:gd name="T64" fmla="*/ 25 w 106"/>
                <a:gd name="T65" fmla="*/ 17 h 101"/>
                <a:gd name="T66" fmla="*/ 26 w 106"/>
                <a:gd name="T67" fmla="*/ 19 h 101"/>
                <a:gd name="T68" fmla="*/ 26 w 106"/>
                <a:gd name="T69" fmla="*/ 21 h 101"/>
                <a:gd name="T70" fmla="*/ 18 w 106"/>
                <a:gd name="T71" fmla="*/ 34 h 101"/>
                <a:gd name="T72" fmla="*/ 10 w 106"/>
                <a:gd name="T73" fmla="*/ 48 h 101"/>
                <a:gd name="T74" fmla="*/ 10 w 106"/>
                <a:gd name="T75" fmla="*/ 55 h 101"/>
                <a:gd name="T76" fmla="*/ 10 w 106"/>
                <a:gd name="T77" fmla="*/ 55 h 101"/>
                <a:gd name="T78" fmla="*/ 10 w 106"/>
                <a:gd name="T79" fmla="*/ 65 h 101"/>
                <a:gd name="T80" fmla="*/ 7 w 106"/>
                <a:gd name="T81" fmla="*/ 71 h 101"/>
                <a:gd name="T82" fmla="*/ 0 w 106"/>
                <a:gd name="T83" fmla="*/ 79 h 101"/>
                <a:gd name="T84" fmla="*/ 10 w 106"/>
                <a:gd name="T85" fmla="*/ 79 h 101"/>
                <a:gd name="T86" fmla="*/ 12 w 106"/>
                <a:gd name="T87" fmla="*/ 80 h 101"/>
                <a:gd name="T88" fmla="*/ 16 w 106"/>
                <a:gd name="T89" fmla="*/ 84 h 101"/>
                <a:gd name="T90" fmla="*/ 19 w 106"/>
                <a:gd name="T91" fmla="*/ 85 h 101"/>
                <a:gd name="T92" fmla="*/ 28 w 106"/>
                <a:gd name="T93" fmla="*/ 85 h 101"/>
                <a:gd name="T94" fmla="*/ 32 w 106"/>
                <a:gd name="T95" fmla="*/ 88 h 101"/>
                <a:gd name="T96" fmla="*/ 32 w 106"/>
                <a:gd name="T97" fmla="*/ 91 h 101"/>
                <a:gd name="T98" fmla="*/ 31 w 106"/>
                <a:gd name="T99" fmla="*/ 93 h 101"/>
                <a:gd name="T100" fmla="*/ 30 w 106"/>
                <a:gd name="T101" fmla="*/ 94 h 101"/>
                <a:gd name="T102" fmla="*/ 38 w 106"/>
                <a:gd name="T103" fmla="*/ 94 h 101"/>
                <a:gd name="T104" fmla="*/ 42 w 106"/>
                <a:gd name="T105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6" h="101">
                  <a:moveTo>
                    <a:pt x="42" y="95"/>
                  </a:moveTo>
                  <a:cubicBezTo>
                    <a:pt x="52" y="100"/>
                    <a:pt x="52" y="100"/>
                    <a:pt x="52" y="100"/>
                  </a:cubicBezTo>
                  <a:cubicBezTo>
                    <a:pt x="53" y="100"/>
                    <a:pt x="54" y="101"/>
                    <a:pt x="56" y="101"/>
                  </a:cubicBezTo>
                  <a:cubicBezTo>
                    <a:pt x="71" y="101"/>
                    <a:pt x="71" y="101"/>
                    <a:pt x="71" y="101"/>
                  </a:cubicBezTo>
                  <a:cubicBezTo>
                    <a:pt x="77" y="101"/>
                    <a:pt x="82" y="98"/>
                    <a:pt x="86" y="94"/>
                  </a:cubicBezTo>
                  <a:cubicBezTo>
                    <a:pt x="92" y="89"/>
                    <a:pt x="92" y="89"/>
                    <a:pt x="92" y="89"/>
                  </a:cubicBezTo>
                  <a:cubicBezTo>
                    <a:pt x="96" y="85"/>
                    <a:pt x="96" y="79"/>
                    <a:pt x="92" y="76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4" y="68"/>
                    <a:pt x="83" y="65"/>
                    <a:pt x="83" y="63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3" y="56"/>
                    <a:pt x="86" y="53"/>
                    <a:pt x="89" y="51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103" y="46"/>
                    <a:pt x="105" y="42"/>
                    <a:pt x="104" y="3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0" y="22"/>
                    <a:pt x="101" y="18"/>
                    <a:pt x="104" y="16"/>
                  </a:cubicBezTo>
                  <a:cubicBezTo>
                    <a:pt x="105" y="15"/>
                    <a:pt x="106" y="14"/>
                    <a:pt x="106" y="13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99" y="5"/>
                    <a:pt x="93" y="4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1" y="6"/>
                    <a:pt x="78" y="9"/>
                    <a:pt x="77" y="13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6" y="5"/>
                    <a:pt x="54" y="3"/>
                    <a:pt x="53" y="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9"/>
                    <a:pt x="45" y="11"/>
                    <a:pt x="44" y="12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7"/>
                    <a:pt x="38" y="17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29" y="17"/>
                    <a:pt x="28" y="16"/>
                    <a:pt x="27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8"/>
                    <a:pt x="26" y="19"/>
                    <a:pt x="26" y="19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6"/>
                    <a:pt x="23" y="31"/>
                    <a:pt x="18" y="34"/>
                  </a:cubicBezTo>
                  <a:cubicBezTo>
                    <a:pt x="13" y="37"/>
                    <a:pt x="10" y="42"/>
                    <a:pt x="10" y="48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1" y="59"/>
                    <a:pt x="11" y="62"/>
                    <a:pt x="10" y="65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6" y="74"/>
                    <a:pt x="3" y="77"/>
                    <a:pt x="0" y="79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1" y="79"/>
                    <a:pt x="11" y="79"/>
                    <a:pt x="12" y="80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7" y="85"/>
                    <a:pt x="18" y="85"/>
                    <a:pt x="19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0" y="85"/>
                    <a:pt x="32" y="86"/>
                    <a:pt x="32" y="88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32" y="92"/>
                    <a:pt x="31" y="92"/>
                    <a:pt x="31" y="93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9" y="94"/>
                    <a:pt x="41" y="94"/>
                    <a:pt x="42" y="9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16">
              <a:extLst>
                <a:ext uri="{FF2B5EF4-FFF2-40B4-BE49-F238E27FC236}">
                  <a16:creationId xmlns:a16="http://schemas.microsoft.com/office/drawing/2014/main" id="{72F82450-54C0-4F4E-9D4A-D3E0F3342A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5" y="3541713"/>
              <a:ext cx="220663" cy="150813"/>
            </a:xfrm>
            <a:custGeom>
              <a:avLst/>
              <a:gdLst>
                <a:gd name="T0" fmla="*/ 68 w 74"/>
                <a:gd name="T1" fmla="*/ 29 h 50"/>
                <a:gd name="T2" fmla="*/ 73 w 74"/>
                <a:gd name="T3" fmla="*/ 21 h 50"/>
                <a:gd name="T4" fmla="*/ 73 w 74"/>
                <a:gd name="T5" fmla="*/ 15 h 50"/>
                <a:gd name="T6" fmla="*/ 71 w 74"/>
                <a:gd name="T7" fmla="*/ 7 h 50"/>
                <a:gd name="T8" fmla="*/ 65 w 74"/>
                <a:gd name="T9" fmla="*/ 2 h 50"/>
                <a:gd name="T10" fmla="*/ 61 w 74"/>
                <a:gd name="T11" fmla="*/ 1 h 50"/>
                <a:gd name="T12" fmla="*/ 53 w 74"/>
                <a:gd name="T13" fmla="*/ 4 h 50"/>
                <a:gd name="T14" fmla="*/ 46 w 74"/>
                <a:gd name="T15" fmla="*/ 7 h 50"/>
                <a:gd name="T16" fmla="*/ 40 w 74"/>
                <a:gd name="T17" fmla="*/ 7 h 50"/>
                <a:gd name="T18" fmla="*/ 37 w 74"/>
                <a:gd name="T19" fmla="*/ 13 h 50"/>
                <a:gd name="T20" fmla="*/ 31 w 74"/>
                <a:gd name="T21" fmla="*/ 18 h 50"/>
                <a:gd name="T22" fmla="*/ 16 w 74"/>
                <a:gd name="T23" fmla="*/ 25 h 50"/>
                <a:gd name="T24" fmla="*/ 1 w 74"/>
                <a:gd name="T25" fmla="*/ 25 h 50"/>
                <a:gd name="T26" fmla="*/ 1 w 74"/>
                <a:gd name="T27" fmla="*/ 26 h 50"/>
                <a:gd name="T28" fmla="*/ 5 w 74"/>
                <a:gd name="T29" fmla="*/ 31 h 50"/>
                <a:gd name="T30" fmla="*/ 7 w 74"/>
                <a:gd name="T31" fmla="*/ 31 h 50"/>
                <a:gd name="T32" fmla="*/ 10 w 74"/>
                <a:gd name="T33" fmla="*/ 35 h 50"/>
                <a:gd name="T34" fmla="*/ 8 w 74"/>
                <a:gd name="T35" fmla="*/ 39 h 50"/>
                <a:gd name="T36" fmla="*/ 3 w 74"/>
                <a:gd name="T37" fmla="*/ 42 h 50"/>
                <a:gd name="T38" fmla="*/ 0 w 74"/>
                <a:gd name="T39" fmla="*/ 47 h 50"/>
                <a:gd name="T40" fmla="*/ 0 w 74"/>
                <a:gd name="T41" fmla="*/ 50 h 50"/>
                <a:gd name="T42" fmla="*/ 2 w 74"/>
                <a:gd name="T43" fmla="*/ 48 h 50"/>
                <a:gd name="T44" fmla="*/ 8 w 74"/>
                <a:gd name="T45" fmla="*/ 46 h 50"/>
                <a:gd name="T46" fmla="*/ 14 w 74"/>
                <a:gd name="T47" fmla="*/ 46 h 50"/>
                <a:gd name="T48" fmla="*/ 15 w 74"/>
                <a:gd name="T49" fmla="*/ 42 h 50"/>
                <a:gd name="T50" fmla="*/ 23 w 74"/>
                <a:gd name="T51" fmla="*/ 42 h 50"/>
                <a:gd name="T52" fmla="*/ 28 w 74"/>
                <a:gd name="T53" fmla="*/ 45 h 50"/>
                <a:gd name="T54" fmla="*/ 30 w 74"/>
                <a:gd name="T55" fmla="*/ 48 h 50"/>
                <a:gd name="T56" fmla="*/ 34 w 74"/>
                <a:gd name="T57" fmla="*/ 49 h 50"/>
                <a:gd name="T58" fmla="*/ 35 w 74"/>
                <a:gd name="T59" fmla="*/ 49 h 50"/>
                <a:gd name="T60" fmla="*/ 62 w 74"/>
                <a:gd name="T61" fmla="*/ 36 h 50"/>
                <a:gd name="T62" fmla="*/ 68 w 74"/>
                <a:gd name="T63" fmla="*/ 29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4" h="50">
                  <a:moveTo>
                    <a:pt x="68" y="29"/>
                  </a:moveTo>
                  <a:cubicBezTo>
                    <a:pt x="73" y="21"/>
                    <a:pt x="73" y="21"/>
                    <a:pt x="73" y="21"/>
                  </a:cubicBezTo>
                  <a:cubicBezTo>
                    <a:pt x="74" y="19"/>
                    <a:pt x="74" y="17"/>
                    <a:pt x="73" y="15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0" y="5"/>
                    <a:pt x="68" y="2"/>
                    <a:pt x="65" y="2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58" y="0"/>
                    <a:pt x="55" y="1"/>
                    <a:pt x="53" y="4"/>
                  </a:cubicBezTo>
                  <a:cubicBezTo>
                    <a:pt x="51" y="6"/>
                    <a:pt x="49" y="7"/>
                    <a:pt x="46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9"/>
                    <a:pt x="39" y="11"/>
                    <a:pt x="37" y="13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27" y="22"/>
                    <a:pt x="22" y="25"/>
                    <a:pt x="16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9"/>
                    <a:pt x="3" y="31"/>
                    <a:pt x="5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9" y="31"/>
                    <a:pt x="10" y="33"/>
                    <a:pt x="10" y="35"/>
                  </a:cubicBezTo>
                  <a:cubicBezTo>
                    <a:pt x="10" y="36"/>
                    <a:pt x="10" y="38"/>
                    <a:pt x="8" y="39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1" y="43"/>
                    <a:pt x="0" y="45"/>
                    <a:pt x="0" y="4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3" y="47"/>
                    <a:pt x="6" y="46"/>
                    <a:pt x="8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3"/>
                    <a:pt x="15" y="42"/>
                  </a:cubicBezTo>
                  <a:cubicBezTo>
                    <a:pt x="16" y="40"/>
                    <a:pt x="23" y="42"/>
                    <a:pt x="23" y="42"/>
                  </a:cubicBezTo>
                  <a:cubicBezTo>
                    <a:pt x="25" y="42"/>
                    <a:pt x="27" y="43"/>
                    <a:pt x="28" y="45"/>
                  </a:cubicBezTo>
                  <a:cubicBezTo>
                    <a:pt x="28" y="46"/>
                    <a:pt x="29" y="47"/>
                    <a:pt x="30" y="48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5" y="49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5" y="34"/>
                    <a:pt x="67" y="32"/>
                    <a:pt x="68" y="2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7">
              <a:extLst>
                <a:ext uri="{FF2B5EF4-FFF2-40B4-BE49-F238E27FC236}">
                  <a16:creationId xmlns:a16="http://schemas.microsoft.com/office/drawing/2014/main" id="{B6D8A919-F08B-478B-A97A-4559079C2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3443288"/>
              <a:ext cx="193675" cy="120650"/>
            </a:xfrm>
            <a:custGeom>
              <a:avLst/>
              <a:gdLst>
                <a:gd name="T0" fmla="*/ 52 w 65"/>
                <a:gd name="T1" fmla="*/ 34 h 40"/>
                <a:gd name="T2" fmla="*/ 55 w 65"/>
                <a:gd name="T3" fmla="*/ 33 h 40"/>
                <a:gd name="T4" fmla="*/ 62 w 65"/>
                <a:gd name="T5" fmla="*/ 26 h 40"/>
                <a:gd name="T6" fmla="*/ 61 w 65"/>
                <a:gd name="T7" fmla="*/ 18 h 40"/>
                <a:gd name="T8" fmla="*/ 21 w 65"/>
                <a:gd name="T9" fmla="*/ 0 h 40"/>
                <a:gd name="T10" fmla="*/ 16 w 65"/>
                <a:gd name="T11" fmla="*/ 5 h 40"/>
                <a:gd name="T12" fmla="*/ 6 w 65"/>
                <a:gd name="T13" fmla="*/ 8 h 40"/>
                <a:gd name="T14" fmla="*/ 0 w 65"/>
                <a:gd name="T15" fmla="*/ 17 h 40"/>
                <a:gd name="T16" fmla="*/ 0 w 65"/>
                <a:gd name="T17" fmla="*/ 20 h 40"/>
                <a:gd name="T18" fmla="*/ 3 w 65"/>
                <a:gd name="T19" fmla="*/ 26 h 40"/>
                <a:gd name="T20" fmla="*/ 9 w 65"/>
                <a:gd name="T21" fmla="*/ 33 h 40"/>
                <a:gd name="T22" fmla="*/ 12 w 65"/>
                <a:gd name="T23" fmla="*/ 40 h 40"/>
                <a:gd name="T24" fmla="*/ 18 w 65"/>
                <a:gd name="T25" fmla="*/ 40 h 40"/>
                <a:gd name="T26" fmla="*/ 25 w 65"/>
                <a:gd name="T27" fmla="*/ 37 h 40"/>
                <a:gd name="T28" fmla="*/ 33 w 65"/>
                <a:gd name="T29" fmla="*/ 34 h 40"/>
                <a:gd name="T30" fmla="*/ 37 w 65"/>
                <a:gd name="T31" fmla="*/ 35 h 40"/>
                <a:gd name="T32" fmla="*/ 38 w 65"/>
                <a:gd name="T33" fmla="*/ 34 h 40"/>
                <a:gd name="T34" fmla="*/ 52 w 65"/>
                <a:gd name="T35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" h="40">
                  <a:moveTo>
                    <a:pt x="52" y="34"/>
                  </a:moveTo>
                  <a:cubicBezTo>
                    <a:pt x="53" y="34"/>
                    <a:pt x="54" y="34"/>
                    <a:pt x="55" y="33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5" y="24"/>
                    <a:pt x="64" y="20"/>
                    <a:pt x="61" y="18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2"/>
                    <a:pt x="18" y="4"/>
                    <a:pt x="16" y="5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3" y="10"/>
                    <a:pt x="0" y="13"/>
                    <a:pt x="0" y="1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1" y="25"/>
                    <a:pt x="3" y="26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1" y="35"/>
                    <a:pt x="12" y="37"/>
                    <a:pt x="12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21" y="40"/>
                    <a:pt x="23" y="39"/>
                    <a:pt x="25" y="37"/>
                  </a:cubicBezTo>
                  <a:cubicBezTo>
                    <a:pt x="27" y="34"/>
                    <a:pt x="30" y="33"/>
                    <a:pt x="33" y="34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4"/>
                    <a:pt x="38" y="34"/>
                    <a:pt x="38" y="34"/>
                  </a:cubicBezTo>
                  <a:lnTo>
                    <a:pt x="52" y="3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18">
              <a:extLst>
                <a:ext uri="{FF2B5EF4-FFF2-40B4-BE49-F238E27FC236}">
                  <a16:creationId xmlns:a16="http://schemas.microsoft.com/office/drawing/2014/main" id="{11789CBC-DE69-4C10-96B1-57E3D97A89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700" y="3638551"/>
              <a:ext cx="125413" cy="85725"/>
            </a:xfrm>
            <a:custGeom>
              <a:avLst/>
              <a:gdLst>
                <a:gd name="T0" fmla="*/ 23 w 42"/>
                <a:gd name="T1" fmla="*/ 22 h 29"/>
                <a:gd name="T2" fmla="*/ 29 w 42"/>
                <a:gd name="T3" fmla="*/ 11 h 29"/>
                <a:gd name="T4" fmla="*/ 36 w 42"/>
                <a:gd name="T5" fmla="*/ 14 h 29"/>
                <a:gd name="T6" fmla="*/ 39 w 42"/>
                <a:gd name="T7" fmla="*/ 13 h 29"/>
                <a:gd name="T8" fmla="*/ 42 w 42"/>
                <a:gd name="T9" fmla="*/ 11 h 29"/>
                <a:gd name="T10" fmla="*/ 39 w 42"/>
                <a:gd name="T11" fmla="*/ 8 h 29"/>
                <a:gd name="T12" fmla="*/ 32 w 42"/>
                <a:gd name="T13" fmla="*/ 0 h 29"/>
                <a:gd name="T14" fmla="*/ 27 w 42"/>
                <a:gd name="T15" fmla="*/ 4 h 29"/>
                <a:gd name="T16" fmla="*/ 0 w 42"/>
                <a:gd name="T17" fmla="*/ 17 h 29"/>
                <a:gd name="T18" fmla="*/ 5 w 42"/>
                <a:gd name="T19" fmla="*/ 28 h 29"/>
                <a:gd name="T20" fmla="*/ 5 w 42"/>
                <a:gd name="T21" fmla="*/ 29 h 29"/>
                <a:gd name="T22" fmla="*/ 21 w 42"/>
                <a:gd name="T23" fmla="*/ 23 h 29"/>
                <a:gd name="T24" fmla="*/ 23 w 42"/>
                <a:gd name="T25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29">
                  <a:moveTo>
                    <a:pt x="23" y="22"/>
                  </a:moveTo>
                  <a:cubicBezTo>
                    <a:pt x="25" y="19"/>
                    <a:pt x="29" y="12"/>
                    <a:pt x="29" y="11"/>
                  </a:cubicBezTo>
                  <a:cubicBezTo>
                    <a:pt x="29" y="11"/>
                    <a:pt x="33" y="12"/>
                    <a:pt x="36" y="14"/>
                  </a:cubicBezTo>
                  <a:cubicBezTo>
                    <a:pt x="37" y="14"/>
                    <a:pt x="38" y="14"/>
                    <a:pt x="39" y="13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1" y="10"/>
                    <a:pt x="40" y="9"/>
                    <a:pt x="39" y="8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0" y="1"/>
                    <a:pt x="29" y="3"/>
                    <a:pt x="27" y="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4" y="19"/>
                    <a:pt x="7" y="23"/>
                    <a:pt x="5" y="2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2" y="23"/>
                    <a:pt x="23" y="22"/>
                    <a:pt x="23" y="2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19">
              <a:extLst>
                <a:ext uri="{FF2B5EF4-FFF2-40B4-BE49-F238E27FC236}">
                  <a16:creationId xmlns:a16="http://schemas.microsoft.com/office/drawing/2014/main" id="{5B75CAB2-E843-4A4B-BDC0-9961FCFDC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738" y="3808413"/>
              <a:ext cx="44450" cy="68263"/>
            </a:xfrm>
            <a:custGeom>
              <a:avLst/>
              <a:gdLst>
                <a:gd name="T0" fmla="*/ 15 w 15"/>
                <a:gd name="T1" fmla="*/ 12 h 23"/>
                <a:gd name="T2" fmla="*/ 11 w 15"/>
                <a:gd name="T3" fmla="*/ 3 h 23"/>
                <a:gd name="T4" fmla="*/ 10 w 15"/>
                <a:gd name="T5" fmla="*/ 2 h 23"/>
                <a:gd name="T6" fmla="*/ 8 w 15"/>
                <a:gd name="T7" fmla="*/ 0 h 23"/>
                <a:gd name="T8" fmla="*/ 2 w 15"/>
                <a:gd name="T9" fmla="*/ 11 h 23"/>
                <a:gd name="T10" fmla="*/ 2 w 15"/>
                <a:gd name="T11" fmla="*/ 12 h 23"/>
                <a:gd name="T12" fmla="*/ 0 w 15"/>
                <a:gd name="T13" fmla="*/ 21 h 23"/>
                <a:gd name="T14" fmla="*/ 1 w 15"/>
                <a:gd name="T15" fmla="*/ 21 h 23"/>
                <a:gd name="T16" fmla="*/ 8 w 15"/>
                <a:gd name="T17" fmla="*/ 23 h 23"/>
                <a:gd name="T18" fmla="*/ 11 w 15"/>
                <a:gd name="T19" fmla="*/ 20 h 23"/>
                <a:gd name="T20" fmla="*/ 15 w 15"/>
                <a:gd name="T21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23">
                  <a:moveTo>
                    <a:pt x="15" y="12"/>
                  </a:moveTo>
                  <a:cubicBezTo>
                    <a:pt x="15" y="8"/>
                    <a:pt x="13" y="5"/>
                    <a:pt x="11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9" y="1"/>
                    <a:pt x="8" y="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0"/>
                    <a:pt x="6" y="21"/>
                    <a:pt x="8" y="23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3" y="18"/>
                    <a:pt x="15" y="15"/>
                    <a:pt x="15" y="1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20">
              <a:extLst>
                <a:ext uri="{FF2B5EF4-FFF2-40B4-BE49-F238E27FC236}">
                  <a16:creationId xmlns:a16="http://schemas.microsoft.com/office/drawing/2014/main" id="{6CE87CD7-92EF-46AC-AB4D-7FDF4F1DF3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9550" y="3852863"/>
              <a:ext cx="69850" cy="120650"/>
            </a:xfrm>
            <a:custGeom>
              <a:avLst/>
              <a:gdLst>
                <a:gd name="T0" fmla="*/ 17 w 23"/>
                <a:gd name="T1" fmla="*/ 13 h 40"/>
                <a:gd name="T2" fmla="*/ 17 w 23"/>
                <a:gd name="T3" fmla="*/ 11 h 40"/>
                <a:gd name="T4" fmla="*/ 12 w 23"/>
                <a:gd name="T5" fmla="*/ 3 h 40"/>
                <a:gd name="T6" fmla="*/ 6 w 23"/>
                <a:gd name="T7" fmla="*/ 0 h 40"/>
                <a:gd name="T8" fmla="*/ 3 w 23"/>
                <a:gd name="T9" fmla="*/ 5 h 40"/>
                <a:gd name="T10" fmla="*/ 0 w 23"/>
                <a:gd name="T11" fmla="*/ 8 h 40"/>
                <a:gd name="T12" fmla="*/ 1 w 23"/>
                <a:gd name="T13" fmla="*/ 9 h 40"/>
                <a:gd name="T14" fmla="*/ 9 w 23"/>
                <a:gd name="T15" fmla="*/ 20 h 40"/>
                <a:gd name="T16" fmla="*/ 10 w 23"/>
                <a:gd name="T17" fmla="*/ 24 h 40"/>
                <a:gd name="T18" fmla="*/ 10 w 23"/>
                <a:gd name="T19" fmla="*/ 29 h 40"/>
                <a:gd name="T20" fmla="*/ 13 w 23"/>
                <a:gd name="T21" fmla="*/ 38 h 40"/>
                <a:gd name="T22" fmla="*/ 14 w 23"/>
                <a:gd name="T23" fmla="*/ 40 h 40"/>
                <a:gd name="T24" fmla="*/ 18 w 23"/>
                <a:gd name="T25" fmla="*/ 28 h 40"/>
                <a:gd name="T26" fmla="*/ 23 w 23"/>
                <a:gd name="T27" fmla="*/ 24 h 40"/>
                <a:gd name="T28" fmla="*/ 19 w 23"/>
                <a:gd name="T29" fmla="*/ 20 h 40"/>
                <a:gd name="T30" fmla="*/ 17 w 23"/>
                <a:gd name="T31" fmla="*/ 1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" h="40">
                  <a:moveTo>
                    <a:pt x="17" y="13"/>
                  </a:moveTo>
                  <a:cubicBezTo>
                    <a:pt x="17" y="11"/>
                    <a:pt x="17" y="11"/>
                    <a:pt x="17" y="11"/>
                  </a:cubicBezTo>
                  <a:cubicBezTo>
                    <a:pt x="17" y="7"/>
                    <a:pt x="15" y="4"/>
                    <a:pt x="12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4"/>
                    <a:pt x="3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1" y="9"/>
                    <a:pt x="1" y="9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1"/>
                    <a:pt x="10" y="22"/>
                    <a:pt x="10" y="24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32"/>
                    <a:pt x="11" y="35"/>
                    <a:pt x="13" y="38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6"/>
                    <a:pt x="21" y="24"/>
                    <a:pt x="23" y="24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7" y="18"/>
                    <a:pt x="17" y="16"/>
                    <a:pt x="17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1">
              <a:extLst>
                <a:ext uri="{FF2B5EF4-FFF2-40B4-BE49-F238E27FC236}">
                  <a16:creationId xmlns:a16="http://schemas.microsoft.com/office/drawing/2014/main" id="{859A206F-E168-4955-8854-DEC4601B5D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1613" y="3673476"/>
              <a:ext cx="146050" cy="203200"/>
            </a:xfrm>
            <a:custGeom>
              <a:avLst/>
              <a:gdLst>
                <a:gd name="T0" fmla="*/ 31 w 49"/>
                <a:gd name="T1" fmla="*/ 60 h 68"/>
                <a:gd name="T2" fmla="*/ 32 w 49"/>
                <a:gd name="T3" fmla="*/ 60 h 68"/>
                <a:gd name="T4" fmla="*/ 43 w 49"/>
                <a:gd name="T5" fmla="*/ 61 h 68"/>
                <a:gd name="T6" fmla="*/ 42 w 49"/>
                <a:gd name="T7" fmla="*/ 57 h 68"/>
                <a:gd name="T8" fmla="*/ 47 w 49"/>
                <a:gd name="T9" fmla="*/ 53 h 68"/>
                <a:gd name="T10" fmla="*/ 49 w 49"/>
                <a:gd name="T11" fmla="*/ 53 h 68"/>
                <a:gd name="T12" fmla="*/ 49 w 49"/>
                <a:gd name="T13" fmla="*/ 49 h 68"/>
                <a:gd name="T14" fmla="*/ 47 w 49"/>
                <a:gd name="T15" fmla="*/ 46 h 68"/>
                <a:gd name="T16" fmla="*/ 45 w 49"/>
                <a:gd name="T17" fmla="*/ 43 h 68"/>
                <a:gd name="T18" fmla="*/ 43 w 49"/>
                <a:gd name="T19" fmla="*/ 40 h 68"/>
                <a:gd name="T20" fmla="*/ 43 w 49"/>
                <a:gd name="T21" fmla="*/ 30 h 68"/>
                <a:gd name="T22" fmla="*/ 44 w 49"/>
                <a:gd name="T23" fmla="*/ 29 h 68"/>
                <a:gd name="T24" fmla="*/ 39 w 49"/>
                <a:gd name="T25" fmla="*/ 22 h 68"/>
                <a:gd name="T26" fmla="*/ 35 w 49"/>
                <a:gd name="T27" fmla="*/ 22 h 68"/>
                <a:gd name="T28" fmla="*/ 35 w 49"/>
                <a:gd name="T29" fmla="*/ 26 h 68"/>
                <a:gd name="T30" fmla="*/ 33 w 49"/>
                <a:gd name="T31" fmla="*/ 26 h 68"/>
                <a:gd name="T32" fmla="*/ 28 w 49"/>
                <a:gd name="T33" fmla="*/ 24 h 68"/>
                <a:gd name="T34" fmla="*/ 21 w 49"/>
                <a:gd name="T35" fmla="*/ 14 h 68"/>
                <a:gd name="T36" fmla="*/ 20 w 49"/>
                <a:gd name="T37" fmla="*/ 11 h 68"/>
                <a:gd name="T38" fmla="*/ 19 w 49"/>
                <a:gd name="T39" fmla="*/ 1 h 68"/>
                <a:gd name="T40" fmla="*/ 15 w 49"/>
                <a:gd name="T41" fmla="*/ 1 h 68"/>
                <a:gd name="T42" fmla="*/ 8 w 49"/>
                <a:gd name="T43" fmla="*/ 1 h 68"/>
                <a:gd name="T44" fmla="*/ 1 w 49"/>
                <a:gd name="T45" fmla="*/ 5 h 68"/>
                <a:gd name="T46" fmla="*/ 0 w 49"/>
                <a:gd name="T47" fmla="*/ 5 h 68"/>
                <a:gd name="T48" fmla="*/ 1 w 49"/>
                <a:gd name="T49" fmla="*/ 8 h 68"/>
                <a:gd name="T50" fmla="*/ 4 w 49"/>
                <a:gd name="T51" fmla="*/ 11 h 68"/>
                <a:gd name="T52" fmla="*/ 7 w 49"/>
                <a:gd name="T53" fmla="*/ 13 h 68"/>
                <a:gd name="T54" fmla="*/ 7 w 49"/>
                <a:gd name="T55" fmla="*/ 16 h 68"/>
                <a:gd name="T56" fmla="*/ 7 w 49"/>
                <a:gd name="T57" fmla="*/ 18 h 68"/>
                <a:gd name="T58" fmla="*/ 3 w 49"/>
                <a:gd name="T59" fmla="*/ 23 h 68"/>
                <a:gd name="T60" fmla="*/ 3 w 49"/>
                <a:gd name="T61" fmla="*/ 27 h 68"/>
                <a:gd name="T62" fmla="*/ 7 w 49"/>
                <a:gd name="T63" fmla="*/ 36 h 68"/>
                <a:gd name="T64" fmla="*/ 7 w 49"/>
                <a:gd name="T65" fmla="*/ 38 h 68"/>
                <a:gd name="T66" fmla="*/ 3 w 49"/>
                <a:gd name="T67" fmla="*/ 45 h 68"/>
                <a:gd name="T68" fmla="*/ 5 w 49"/>
                <a:gd name="T69" fmla="*/ 47 h 68"/>
                <a:gd name="T70" fmla="*/ 6 w 49"/>
                <a:gd name="T71" fmla="*/ 48 h 68"/>
                <a:gd name="T72" fmla="*/ 10 w 49"/>
                <a:gd name="T73" fmla="*/ 57 h 68"/>
                <a:gd name="T74" fmla="*/ 9 w 49"/>
                <a:gd name="T75" fmla="*/ 60 h 68"/>
                <a:gd name="T76" fmla="*/ 15 w 49"/>
                <a:gd name="T77" fmla="*/ 63 h 68"/>
                <a:gd name="T78" fmla="*/ 20 w 49"/>
                <a:gd name="T79" fmla="*/ 68 h 68"/>
                <a:gd name="T80" fmla="*/ 22 w 49"/>
                <a:gd name="T81" fmla="*/ 65 h 68"/>
                <a:gd name="T82" fmla="*/ 31 w 49"/>
                <a:gd name="T83" fmla="*/ 6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68">
                  <a:moveTo>
                    <a:pt x="31" y="60"/>
                  </a:moveTo>
                  <a:cubicBezTo>
                    <a:pt x="32" y="60"/>
                    <a:pt x="32" y="60"/>
                    <a:pt x="32" y="60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60"/>
                    <a:pt x="42" y="59"/>
                    <a:pt x="42" y="57"/>
                  </a:cubicBezTo>
                  <a:cubicBezTo>
                    <a:pt x="42" y="55"/>
                    <a:pt x="44" y="53"/>
                    <a:pt x="47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49" y="48"/>
                    <a:pt x="48" y="46"/>
                    <a:pt x="47" y="46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4" y="42"/>
                    <a:pt x="43" y="41"/>
                    <a:pt x="43" y="4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29"/>
                    <a:pt x="44" y="29"/>
                    <a:pt x="44" y="29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1" y="26"/>
                    <a:pt x="29" y="25"/>
                    <a:pt x="28" y="2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0" y="13"/>
                    <a:pt x="20" y="12"/>
                    <a:pt x="20" y="1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7" y="1"/>
                    <a:pt x="16" y="1"/>
                    <a:pt x="15" y="1"/>
                  </a:cubicBezTo>
                  <a:cubicBezTo>
                    <a:pt x="13" y="0"/>
                    <a:pt x="10" y="0"/>
                    <a:pt x="8" y="1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10"/>
                    <a:pt x="2" y="11"/>
                    <a:pt x="4" y="11"/>
                  </a:cubicBezTo>
                  <a:cubicBezTo>
                    <a:pt x="5" y="11"/>
                    <a:pt x="7" y="12"/>
                    <a:pt x="7" y="13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8" y="16"/>
                    <a:pt x="7" y="17"/>
                    <a:pt x="7" y="18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2" y="24"/>
                    <a:pt x="2" y="26"/>
                    <a:pt x="3" y="27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7"/>
                    <a:pt x="7" y="38"/>
                    <a:pt x="7" y="38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4" y="46"/>
                    <a:pt x="5" y="46"/>
                    <a:pt x="5" y="47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8" y="50"/>
                    <a:pt x="10" y="53"/>
                    <a:pt x="10" y="57"/>
                  </a:cubicBezTo>
                  <a:cubicBezTo>
                    <a:pt x="10" y="58"/>
                    <a:pt x="9" y="59"/>
                    <a:pt x="9" y="60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7" y="64"/>
                    <a:pt x="19" y="66"/>
                    <a:pt x="20" y="68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4" y="62"/>
                    <a:pt x="28" y="60"/>
                    <a:pt x="31" y="6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2">
              <a:extLst>
                <a:ext uri="{FF2B5EF4-FFF2-40B4-BE49-F238E27FC236}">
                  <a16:creationId xmlns:a16="http://schemas.microsoft.com/office/drawing/2014/main" id="{8FFAC9B9-B373-4085-927A-964376251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0350" y="3852863"/>
              <a:ext cx="90488" cy="71438"/>
            </a:xfrm>
            <a:custGeom>
              <a:avLst/>
              <a:gdLst>
                <a:gd name="T0" fmla="*/ 28 w 30"/>
                <a:gd name="T1" fmla="*/ 8 h 24"/>
                <a:gd name="T2" fmla="*/ 27 w 30"/>
                <a:gd name="T3" fmla="*/ 4 h 24"/>
                <a:gd name="T4" fmla="*/ 23 w 30"/>
                <a:gd name="T5" fmla="*/ 1 h 24"/>
                <a:gd name="T6" fmla="*/ 23 w 30"/>
                <a:gd name="T7" fmla="*/ 1 h 24"/>
                <a:gd name="T8" fmla="*/ 12 w 30"/>
                <a:gd name="T9" fmla="*/ 0 h 24"/>
                <a:gd name="T10" fmla="*/ 11 w 30"/>
                <a:gd name="T11" fmla="*/ 0 h 24"/>
                <a:gd name="T12" fmla="*/ 2 w 30"/>
                <a:gd name="T13" fmla="*/ 5 h 24"/>
                <a:gd name="T14" fmla="*/ 0 w 30"/>
                <a:gd name="T15" fmla="*/ 8 h 24"/>
                <a:gd name="T16" fmla="*/ 0 w 30"/>
                <a:gd name="T17" fmla="*/ 11 h 24"/>
                <a:gd name="T18" fmla="*/ 0 w 30"/>
                <a:gd name="T19" fmla="*/ 13 h 24"/>
                <a:gd name="T20" fmla="*/ 2 w 30"/>
                <a:gd name="T21" fmla="*/ 20 h 24"/>
                <a:gd name="T22" fmla="*/ 6 w 30"/>
                <a:gd name="T23" fmla="*/ 24 h 24"/>
                <a:gd name="T24" fmla="*/ 8 w 30"/>
                <a:gd name="T25" fmla="*/ 23 h 24"/>
                <a:gd name="T26" fmla="*/ 9 w 30"/>
                <a:gd name="T27" fmla="*/ 23 h 24"/>
                <a:gd name="T28" fmla="*/ 14 w 30"/>
                <a:gd name="T29" fmla="*/ 21 h 24"/>
                <a:gd name="T30" fmla="*/ 14 w 30"/>
                <a:gd name="T31" fmla="*/ 21 h 24"/>
                <a:gd name="T32" fmla="*/ 20 w 30"/>
                <a:gd name="T33" fmla="*/ 19 h 24"/>
                <a:gd name="T34" fmla="*/ 26 w 30"/>
                <a:gd name="T35" fmla="*/ 17 h 24"/>
                <a:gd name="T36" fmla="*/ 30 w 30"/>
                <a:gd name="T37" fmla="*/ 12 h 24"/>
                <a:gd name="T38" fmla="*/ 28 w 30"/>
                <a:gd name="T39" fmla="*/ 9 h 24"/>
                <a:gd name="T40" fmla="*/ 28 w 30"/>
                <a:gd name="T41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24">
                  <a:moveTo>
                    <a:pt x="28" y="8"/>
                  </a:moveTo>
                  <a:cubicBezTo>
                    <a:pt x="28" y="7"/>
                    <a:pt x="28" y="5"/>
                    <a:pt x="27" y="4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4" y="2"/>
                    <a:pt x="2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10"/>
                    <a:pt x="0" y="1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6"/>
                    <a:pt x="0" y="18"/>
                    <a:pt x="2" y="20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1" y="23"/>
                    <a:pt x="13" y="23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6" y="20"/>
                    <a:pt x="18" y="19"/>
                    <a:pt x="20" y="19"/>
                  </a:cubicBezTo>
                  <a:cubicBezTo>
                    <a:pt x="22" y="19"/>
                    <a:pt x="24" y="18"/>
                    <a:pt x="26" y="17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9" y="11"/>
                    <a:pt x="28" y="10"/>
                    <a:pt x="28" y="9"/>
                  </a:cubicBezTo>
                  <a:lnTo>
                    <a:pt x="28" y="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3">
              <a:extLst>
                <a:ext uri="{FF2B5EF4-FFF2-40B4-BE49-F238E27FC236}">
                  <a16:creationId xmlns:a16="http://schemas.microsoft.com/office/drawing/2014/main" id="{D7BFDB44-424D-4407-BA5A-BA1E06C78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2413" y="3865563"/>
              <a:ext cx="314325" cy="250825"/>
            </a:xfrm>
            <a:custGeom>
              <a:avLst/>
              <a:gdLst>
                <a:gd name="T0" fmla="*/ 99 w 105"/>
                <a:gd name="T1" fmla="*/ 6 h 84"/>
                <a:gd name="T2" fmla="*/ 93 w 105"/>
                <a:gd name="T3" fmla="*/ 0 h 84"/>
                <a:gd name="T4" fmla="*/ 75 w 105"/>
                <a:gd name="T5" fmla="*/ 1 h 84"/>
                <a:gd name="T6" fmla="*/ 67 w 105"/>
                <a:gd name="T7" fmla="*/ 8 h 84"/>
                <a:gd name="T8" fmla="*/ 55 w 105"/>
                <a:gd name="T9" fmla="*/ 7 h 84"/>
                <a:gd name="T10" fmla="*/ 50 w 105"/>
                <a:gd name="T11" fmla="*/ 4 h 84"/>
                <a:gd name="T12" fmla="*/ 42 w 105"/>
                <a:gd name="T13" fmla="*/ 10 h 84"/>
                <a:gd name="T14" fmla="*/ 33 w 105"/>
                <a:gd name="T15" fmla="*/ 8 h 84"/>
                <a:gd name="T16" fmla="*/ 23 w 105"/>
                <a:gd name="T17" fmla="*/ 15 h 84"/>
                <a:gd name="T18" fmla="*/ 17 w 105"/>
                <a:gd name="T19" fmla="*/ 17 h 84"/>
                <a:gd name="T20" fmla="*/ 11 w 105"/>
                <a:gd name="T21" fmla="*/ 19 h 84"/>
                <a:gd name="T22" fmla="*/ 0 w 105"/>
                <a:gd name="T23" fmla="*/ 36 h 84"/>
                <a:gd name="T24" fmla="*/ 13 w 105"/>
                <a:gd name="T25" fmla="*/ 48 h 84"/>
                <a:gd name="T26" fmla="*/ 16 w 105"/>
                <a:gd name="T27" fmla="*/ 52 h 84"/>
                <a:gd name="T28" fmla="*/ 15 w 105"/>
                <a:gd name="T29" fmla="*/ 57 h 84"/>
                <a:gd name="T30" fmla="*/ 29 w 105"/>
                <a:gd name="T31" fmla="*/ 58 h 84"/>
                <a:gd name="T32" fmla="*/ 39 w 105"/>
                <a:gd name="T33" fmla="*/ 63 h 84"/>
                <a:gd name="T34" fmla="*/ 26 w 105"/>
                <a:gd name="T35" fmla="*/ 63 h 84"/>
                <a:gd name="T36" fmla="*/ 21 w 105"/>
                <a:gd name="T37" fmla="*/ 67 h 84"/>
                <a:gd name="T38" fmla="*/ 26 w 105"/>
                <a:gd name="T39" fmla="*/ 78 h 84"/>
                <a:gd name="T40" fmla="*/ 33 w 105"/>
                <a:gd name="T41" fmla="*/ 83 h 84"/>
                <a:gd name="T42" fmla="*/ 36 w 105"/>
                <a:gd name="T43" fmla="*/ 84 h 84"/>
                <a:gd name="T44" fmla="*/ 38 w 105"/>
                <a:gd name="T45" fmla="*/ 77 h 84"/>
                <a:gd name="T46" fmla="*/ 43 w 105"/>
                <a:gd name="T47" fmla="*/ 68 h 84"/>
                <a:gd name="T48" fmla="*/ 49 w 105"/>
                <a:gd name="T49" fmla="*/ 66 h 84"/>
                <a:gd name="T50" fmla="*/ 52 w 105"/>
                <a:gd name="T51" fmla="*/ 60 h 84"/>
                <a:gd name="T52" fmla="*/ 49 w 105"/>
                <a:gd name="T53" fmla="*/ 52 h 84"/>
                <a:gd name="T54" fmla="*/ 36 w 105"/>
                <a:gd name="T55" fmla="*/ 39 h 84"/>
                <a:gd name="T56" fmla="*/ 34 w 105"/>
                <a:gd name="T57" fmla="*/ 34 h 84"/>
                <a:gd name="T58" fmla="*/ 39 w 105"/>
                <a:gd name="T59" fmla="*/ 32 h 84"/>
                <a:gd name="T60" fmla="*/ 49 w 105"/>
                <a:gd name="T61" fmla="*/ 31 h 84"/>
                <a:gd name="T62" fmla="*/ 71 w 105"/>
                <a:gd name="T63" fmla="*/ 25 h 84"/>
                <a:gd name="T64" fmla="*/ 83 w 105"/>
                <a:gd name="T65" fmla="*/ 29 h 84"/>
                <a:gd name="T66" fmla="*/ 98 w 105"/>
                <a:gd name="T67" fmla="*/ 24 h 84"/>
                <a:gd name="T68" fmla="*/ 103 w 105"/>
                <a:gd name="T69" fmla="*/ 1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5" h="84">
                  <a:moveTo>
                    <a:pt x="103" y="14"/>
                  </a:moveTo>
                  <a:cubicBezTo>
                    <a:pt x="99" y="6"/>
                    <a:pt x="99" y="6"/>
                    <a:pt x="99" y="6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8" y="0"/>
                    <a:pt x="76" y="0"/>
                    <a:pt x="75" y="1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9" y="8"/>
                    <a:pt x="68" y="8"/>
                    <a:pt x="67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8" y="8"/>
                    <a:pt x="56" y="8"/>
                    <a:pt x="55" y="7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4" y="9"/>
                    <a:pt x="43" y="10"/>
                    <a:pt x="42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5" y="10"/>
                    <a:pt x="33" y="9"/>
                    <a:pt x="33" y="8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7" y="14"/>
                    <a:pt x="25" y="15"/>
                    <a:pt x="23" y="15"/>
                  </a:cubicBezTo>
                  <a:cubicBezTo>
                    <a:pt x="21" y="15"/>
                    <a:pt x="19" y="16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6" y="19"/>
                    <a:pt x="14" y="19"/>
                    <a:pt x="12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8" y="19"/>
                    <a:pt x="5" y="21"/>
                    <a:pt x="4" y="2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5" y="44"/>
                    <a:pt x="9" y="47"/>
                    <a:pt x="13" y="48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4" y="53"/>
                    <a:pt x="13" y="55"/>
                    <a:pt x="14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7" y="59"/>
                    <a:pt x="18" y="59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29" y="58"/>
                    <a:pt x="30" y="58"/>
                    <a:pt x="31" y="5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5" y="63"/>
                    <a:pt x="23" y="63"/>
                    <a:pt x="22" y="65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0" y="69"/>
                    <a:pt x="20" y="70"/>
                    <a:pt x="21" y="72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7" y="79"/>
                    <a:pt x="27" y="79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3" y="84"/>
                    <a:pt x="34" y="84"/>
                    <a:pt x="35" y="84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8" y="84"/>
                    <a:pt x="40" y="81"/>
                    <a:pt x="39" y="78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7" y="75"/>
                    <a:pt x="38" y="73"/>
                    <a:pt x="41" y="72"/>
                  </a:cubicBezTo>
                  <a:cubicBezTo>
                    <a:pt x="43" y="72"/>
                    <a:pt x="44" y="70"/>
                    <a:pt x="43" y="68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51" y="62"/>
                    <a:pt x="51" y="62"/>
                    <a:pt x="51" y="62"/>
                  </a:cubicBezTo>
                  <a:cubicBezTo>
                    <a:pt x="51" y="62"/>
                    <a:pt x="52" y="61"/>
                    <a:pt x="52" y="60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52" y="54"/>
                    <a:pt x="51" y="53"/>
                    <a:pt x="49" y="52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4" y="33"/>
                    <a:pt x="34" y="31"/>
                    <a:pt x="35" y="29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40" y="34"/>
                    <a:pt x="43" y="36"/>
                    <a:pt x="46" y="35"/>
                  </a:cubicBezTo>
                  <a:cubicBezTo>
                    <a:pt x="48" y="35"/>
                    <a:pt x="49" y="33"/>
                    <a:pt x="49" y="31"/>
                  </a:cubicBezTo>
                  <a:cubicBezTo>
                    <a:pt x="49" y="28"/>
                    <a:pt x="51" y="26"/>
                    <a:pt x="54" y="26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3" y="25"/>
                    <a:pt x="75" y="25"/>
                    <a:pt x="76" y="27"/>
                  </a:cubicBezTo>
                  <a:cubicBezTo>
                    <a:pt x="78" y="29"/>
                    <a:pt x="80" y="29"/>
                    <a:pt x="83" y="29"/>
                  </a:cubicBezTo>
                  <a:cubicBezTo>
                    <a:pt x="96" y="25"/>
                    <a:pt x="96" y="25"/>
                    <a:pt x="96" y="25"/>
                  </a:cubicBezTo>
                  <a:cubicBezTo>
                    <a:pt x="97" y="25"/>
                    <a:pt x="97" y="24"/>
                    <a:pt x="98" y="24"/>
                  </a:cubicBezTo>
                  <a:cubicBezTo>
                    <a:pt x="101" y="22"/>
                    <a:pt x="101" y="22"/>
                    <a:pt x="101" y="22"/>
                  </a:cubicBezTo>
                  <a:cubicBezTo>
                    <a:pt x="104" y="20"/>
                    <a:pt x="105" y="17"/>
                    <a:pt x="103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24">
              <a:extLst>
                <a:ext uri="{FF2B5EF4-FFF2-40B4-BE49-F238E27FC236}">
                  <a16:creationId xmlns:a16="http://schemas.microsoft.com/office/drawing/2014/main" id="{76F2EED9-CDBE-415C-8462-AEE2B68827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7025" y="3760788"/>
              <a:ext cx="250825" cy="134938"/>
            </a:xfrm>
            <a:custGeom>
              <a:avLst/>
              <a:gdLst>
                <a:gd name="T0" fmla="*/ 74 w 84"/>
                <a:gd name="T1" fmla="*/ 27 h 45"/>
                <a:gd name="T2" fmla="*/ 75 w 84"/>
                <a:gd name="T3" fmla="*/ 15 h 45"/>
                <a:gd name="T4" fmla="*/ 77 w 84"/>
                <a:gd name="T5" fmla="*/ 11 h 45"/>
                <a:gd name="T6" fmla="*/ 84 w 84"/>
                <a:gd name="T7" fmla="*/ 6 h 45"/>
                <a:gd name="T8" fmla="*/ 53 w 84"/>
                <a:gd name="T9" fmla="*/ 6 h 45"/>
                <a:gd name="T10" fmla="*/ 51 w 84"/>
                <a:gd name="T11" fmla="*/ 6 h 45"/>
                <a:gd name="T12" fmla="*/ 38 w 84"/>
                <a:gd name="T13" fmla="*/ 13 h 45"/>
                <a:gd name="T14" fmla="*/ 35 w 84"/>
                <a:gd name="T15" fmla="*/ 13 h 45"/>
                <a:gd name="T16" fmla="*/ 14 w 84"/>
                <a:gd name="T17" fmla="*/ 13 h 45"/>
                <a:gd name="T18" fmla="*/ 9 w 84"/>
                <a:gd name="T19" fmla="*/ 11 h 45"/>
                <a:gd name="T20" fmla="*/ 2 w 84"/>
                <a:gd name="T21" fmla="*/ 0 h 45"/>
                <a:gd name="T22" fmla="*/ 1 w 84"/>
                <a:gd name="T23" fmla="*/ 1 h 45"/>
                <a:gd name="T24" fmla="*/ 1 w 84"/>
                <a:gd name="T25" fmla="*/ 11 h 45"/>
                <a:gd name="T26" fmla="*/ 3 w 84"/>
                <a:gd name="T27" fmla="*/ 14 h 45"/>
                <a:gd name="T28" fmla="*/ 5 w 84"/>
                <a:gd name="T29" fmla="*/ 17 h 45"/>
                <a:gd name="T30" fmla="*/ 7 w 84"/>
                <a:gd name="T31" fmla="*/ 20 h 45"/>
                <a:gd name="T32" fmla="*/ 7 w 84"/>
                <a:gd name="T33" fmla="*/ 24 h 45"/>
                <a:gd name="T34" fmla="*/ 5 w 84"/>
                <a:gd name="T35" fmla="*/ 24 h 45"/>
                <a:gd name="T36" fmla="*/ 0 w 84"/>
                <a:gd name="T37" fmla="*/ 28 h 45"/>
                <a:gd name="T38" fmla="*/ 1 w 84"/>
                <a:gd name="T39" fmla="*/ 32 h 45"/>
                <a:gd name="T40" fmla="*/ 5 w 84"/>
                <a:gd name="T41" fmla="*/ 35 h 45"/>
                <a:gd name="T42" fmla="*/ 6 w 84"/>
                <a:gd name="T43" fmla="*/ 39 h 45"/>
                <a:gd name="T44" fmla="*/ 6 w 84"/>
                <a:gd name="T45" fmla="*/ 40 h 45"/>
                <a:gd name="T46" fmla="*/ 11 w 84"/>
                <a:gd name="T47" fmla="*/ 45 h 45"/>
                <a:gd name="T48" fmla="*/ 17 w 84"/>
                <a:gd name="T49" fmla="*/ 45 h 45"/>
                <a:gd name="T50" fmla="*/ 20 w 84"/>
                <a:gd name="T51" fmla="*/ 44 h 45"/>
                <a:gd name="T52" fmla="*/ 25 w 84"/>
                <a:gd name="T53" fmla="*/ 39 h 45"/>
                <a:gd name="T54" fmla="*/ 28 w 84"/>
                <a:gd name="T55" fmla="*/ 39 h 45"/>
                <a:gd name="T56" fmla="*/ 30 w 84"/>
                <a:gd name="T57" fmla="*/ 42 h 45"/>
                <a:gd name="T58" fmla="*/ 34 w 84"/>
                <a:gd name="T59" fmla="*/ 43 h 45"/>
                <a:gd name="T60" fmla="*/ 42 w 84"/>
                <a:gd name="T61" fmla="*/ 43 h 45"/>
                <a:gd name="T62" fmla="*/ 45 w 84"/>
                <a:gd name="T63" fmla="*/ 42 h 45"/>
                <a:gd name="T64" fmla="*/ 50 w 84"/>
                <a:gd name="T65" fmla="*/ 36 h 45"/>
                <a:gd name="T66" fmla="*/ 54 w 84"/>
                <a:gd name="T67" fmla="*/ 35 h 45"/>
                <a:gd name="T68" fmla="*/ 68 w 84"/>
                <a:gd name="T69" fmla="*/ 35 h 45"/>
                <a:gd name="T70" fmla="*/ 73 w 84"/>
                <a:gd name="T71" fmla="*/ 30 h 45"/>
                <a:gd name="T72" fmla="*/ 74 w 84"/>
                <a:gd name="T73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45">
                  <a:moveTo>
                    <a:pt x="74" y="27"/>
                  </a:moveTo>
                  <a:cubicBezTo>
                    <a:pt x="75" y="15"/>
                    <a:pt x="75" y="15"/>
                    <a:pt x="75" y="15"/>
                  </a:cubicBezTo>
                  <a:cubicBezTo>
                    <a:pt x="75" y="13"/>
                    <a:pt x="76" y="12"/>
                    <a:pt x="77" y="11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2" y="6"/>
                    <a:pt x="51" y="6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7" y="13"/>
                    <a:pt x="36" y="13"/>
                    <a:pt x="35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3"/>
                    <a:pt x="10" y="12"/>
                    <a:pt x="9" y="1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2"/>
                    <a:pt x="2" y="13"/>
                    <a:pt x="3" y="14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6" y="17"/>
                    <a:pt x="7" y="19"/>
                    <a:pt x="7" y="20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2" y="24"/>
                    <a:pt x="0" y="26"/>
                    <a:pt x="0" y="28"/>
                  </a:cubicBezTo>
                  <a:cubicBezTo>
                    <a:pt x="0" y="30"/>
                    <a:pt x="0" y="31"/>
                    <a:pt x="1" y="32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6" y="36"/>
                    <a:pt x="6" y="38"/>
                    <a:pt x="6" y="39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6" y="43"/>
                    <a:pt x="8" y="45"/>
                    <a:pt x="11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8" y="45"/>
                    <a:pt x="19" y="44"/>
                    <a:pt x="20" y="44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1" y="43"/>
                    <a:pt x="33" y="43"/>
                    <a:pt x="34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3" y="43"/>
                    <a:pt x="44" y="43"/>
                    <a:pt x="45" y="42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1" y="35"/>
                    <a:pt x="53" y="35"/>
                    <a:pt x="54" y="35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4" y="29"/>
                    <a:pt x="74" y="28"/>
                    <a:pt x="74" y="2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25">
              <a:extLst>
                <a:ext uri="{FF2B5EF4-FFF2-40B4-BE49-F238E27FC236}">
                  <a16:creationId xmlns:a16="http://schemas.microsoft.com/office/drawing/2014/main" id="{D31E1C95-00CF-4810-8D1F-27A296AFF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8938" y="3055938"/>
              <a:ext cx="155575" cy="109538"/>
            </a:xfrm>
            <a:custGeom>
              <a:avLst/>
              <a:gdLst>
                <a:gd name="T0" fmla="*/ 30 w 52"/>
                <a:gd name="T1" fmla="*/ 34 h 37"/>
                <a:gd name="T2" fmla="*/ 38 w 52"/>
                <a:gd name="T3" fmla="*/ 37 h 37"/>
                <a:gd name="T4" fmla="*/ 48 w 52"/>
                <a:gd name="T5" fmla="*/ 37 h 37"/>
                <a:gd name="T6" fmla="*/ 49 w 52"/>
                <a:gd name="T7" fmla="*/ 33 h 37"/>
                <a:gd name="T8" fmla="*/ 50 w 52"/>
                <a:gd name="T9" fmla="*/ 20 h 37"/>
                <a:gd name="T10" fmla="*/ 38 w 52"/>
                <a:gd name="T11" fmla="*/ 6 h 37"/>
                <a:gd name="T12" fmla="*/ 32 w 52"/>
                <a:gd name="T13" fmla="*/ 0 h 37"/>
                <a:gd name="T14" fmla="*/ 0 w 52"/>
                <a:gd name="T15" fmla="*/ 9 h 37"/>
                <a:gd name="T16" fmla="*/ 0 w 52"/>
                <a:gd name="T17" fmla="*/ 19 h 37"/>
                <a:gd name="T18" fmla="*/ 8 w 52"/>
                <a:gd name="T19" fmla="*/ 25 h 37"/>
                <a:gd name="T20" fmla="*/ 10 w 52"/>
                <a:gd name="T21" fmla="*/ 25 h 37"/>
                <a:gd name="T22" fmla="*/ 10 w 52"/>
                <a:gd name="T23" fmla="*/ 30 h 37"/>
                <a:gd name="T24" fmla="*/ 21 w 52"/>
                <a:gd name="T25" fmla="*/ 30 h 37"/>
                <a:gd name="T26" fmla="*/ 30 w 52"/>
                <a:gd name="T27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37">
                  <a:moveTo>
                    <a:pt x="30" y="34"/>
                  </a:moveTo>
                  <a:cubicBezTo>
                    <a:pt x="32" y="36"/>
                    <a:pt x="35" y="37"/>
                    <a:pt x="3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6"/>
                    <a:pt x="48" y="34"/>
                    <a:pt x="49" y="33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2" y="13"/>
                    <a:pt x="46" y="6"/>
                    <a:pt x="38" y="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4" y="30"/>
                    <a:pt x="27" y="31"/>
                    <a:pt x="30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26">
              <a:extLst>
                <a:ext uri="{FF2B5EF4-FFF2-40B4-BE49-F238E27FC236}">
                  <a16:creationId xmlns:a16="http://schemas.microsoft.com/office/drawing/2014/main" id="{2053D118-EE5B-4AE7-969D-544BD9440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144838"/>
              <a:ext cx="344488" cy="155575"/>
            </a:xfrm>
            <a:custGeom>
              <a:avLst/>
              <a:gdLst>
                <a:gd name="T0" fmla="*/ 36 w 115"/>
                <a:gd name="T1" fmla="*/ 34 h 52"/>
                <a:gd name="T2" fmla="*/ 57 w 115"/>
                <a:gd name="T3" fmla="*/ 41 h 52"/>
                <a:gd name="T4" fmla="*/ 61 w 115"/>
                <a:gd name="T5" fmla="*/ 42 h 52"/>
                <a:gd name="T6" fmla="*/ 74 w 115"/>
                <a:gd name="T7" fmla="*/ 48 h 52"/>
                <a:gd name="T8" fmla="*/ 104 w 115"/>
                <a:gd name="T9" fmla="*/ 48 h 52"/>
                <a:gd name="T10" fmla="*/ 115 w 115"/>
                <a:gd name="T11" fmla="*/ 43 h 52"/>
                <a:gd name="T12" fmla="*/ 104 w 115"/>
                <a:gd name="T13" fmla="*/ 35 h 52"/>
                <a:gd name="T14" fmla="*/ 96 w 115"/>
                <a:gd name="T15" fmla="*/ 33 h 52"/>
                <a:gd name="T16" fmla="*/ 85 w 115"/>
                <a:gd name="T17" fmla="*/ 24 h 52"/>
                <a:gd name="T18" fmla="*/ 81 w 115"/>
                <a:gd name="T19" fmla="*/ 15 h 52"/>
                <a:gd name="T20" fmla="*/ 79 w 115"/>
                <a:gd name="T21" fmla="*/ 7 h 52"/>
                <a:gd name="T22" fmla="*/ 69 w 115"/>
                <a:gd name="T23" fmla="*/ 7 h 52"/>
                <a:gd name="T24" fmla="*/ 61 w 115"/>
                <a:gd name="T25" fmla="*/ 4 h 52"/>
                <a:gd name="T26" fmla="*/ 52 w 115"/>
                <a:gd name="T27" fmla="*/ 0 h 52"/>
                <a:gd name="T28" fmla="*/ 41 w 115"/>
                <a:gd name="T29" fmla="*/ 0 h 52"/>
                <a:gd name="T30" fmla="*/ 41 w 115"/>
                <a:gd name="T31" fmla="*/ 13 h 52"/>
                <a:gd name="T32" fmla="*/ 33 w 115"/>
                <a:gd name="T33" fmla="*/ 21 h 52"/>
                <a:gd name="T34" fmla="*/ 24 w 115"/>
                <a:gd name="T35" fmla="*/ 11 h 52"/>
                <a:gd name="T36" fmla="*/ 10 w 115"/>
                <a:gd name="T37" fmla="*/ 11 h 52"/>
                <a:gd name="T38" fmla="*/ 0 w 115"/>
                <a:gd name="T39" fmla="*/ 22 h 52"/>
                <a:gd name="T40" fmla="*/ 0 w 115"/>
                <a:gd name="T41" fmla="*/ 32 h 52"/>
                <a:gd name="T42" fmla="*/ 25 w 115"/>
                <a:gd name="T43" fmla="*/ 32 h 52"/>
                <a:gd name="T44" fmla="*/ 36 w 115"/>
                <a:gd name="T45" fmla="*/ 3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2">
                  <a:moveTo>
                    <a:pt x="36" y="34"/>
                  </a:moveTo>
                  <a:cubicBezTo>
                    <a:pt x="57" y="41"/>
                    <a:pt x="57" y="41"/>
                    <a:pt x="57" y="41"/>
                  </a:cubicBezTo>
                  <a:cubicBezTo>
                    <a:pt x="58" y="41"/>
                    <a:pt x="60" y="42"/>
                    <a:pt x="61" y="42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84" y="52"/>
                    <a:pt x="94" y="52"/>
                    <a:pt x="104" y="48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2" y="39"/>
                    <a:pt x="108" y="36"/>
                    <a:pt x="104" y="35"/>
                  </a:cubicBezTo>
                  <a:cubicBezTo>
                    <a:pt x="96" y="33"/>
                    <a:pt x="96" y="33"/>
                    <a:pt x="96" y="33"/>
                  </a:cubicBezTo>
                  <a:cubicBezTo>
                    <a:pt x="91" y="32"/>
                    <a:pt x="87" y="29"/>
                    <a:pt x="85" y="2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0" y="13"/>
                    <a:pt x="80" y="10"/>
                    <a:pt x="79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6" y="7"/>
                    <a:pt x="63" y="6"/>
                    <a:pt x="61" y="4"/>
                  </a:cubicBezTo>
                  <a:cubicBezTo>
                    <a:pt x="58" y="1"/>
                    <a:pt x="55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9" y="32"/>
                    <a:pt x="33" y="33"/>
                    <a:pt x="36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27">
              <a:extLst>
                <a:ext uri="{FF2B5EF4-FFF2-40B4-BE49-F238E27FC236}">
                  <a16:creationId xmlns:a16="http://schemas.microsoft.com/office/drawing/2014/main" id="{1B48E845-9C22-4D4E-9AB3-4826489C5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240088"/>
              <a:ext cx="146050" cy="120650"/>
            </a:xfrm>
            <a:custGeom>
              <a:avLst/>
              <a:gdLst>
                <a:gd name="T0" fmla="*/ 49 w 49"/>
                <a:gd name="T1" fmla="*/ 21 h 40"/>
                <a:gd name="T2" fmla="*/ 49 w 49"/>
                <a:gd name="T3" fmla="*/ 16 h 40"/>
                <a:gd name="T4" fmla="*/ 45 w 49"/>
                <a:gd name="T5" fmla="*/ 5 h 40"/>
                <a:gd name="T6" fmla="*/ 36 w 49"/>
                <a:gd name="T7" fmla="*/ 2 h 40"/>
                <a:gd name="T8" fmla="*/ 25 w 49"/>
                <a:gd name="T9" fmla="*/ 0 h 40"/>
                <a:gd name="T10" fmla="*/ 0 w 49"/>
                <a:gd name="T11" fmla="*/ 0 h 40"/>
                <a:gd name="T12" fmla="*/ 0 w 49"/>
                <a:gd name="T13" fmla="*/ 9 h 40"/>
                <a:gd name="T14" fmla="*/ 5 w 49"/>
                <a:gd name="T15" fmla="*/ 14 h 40"/>
                <a:gd name="T16" fmla="*/ 4 w 49"/>
                <a:gd name="T17" fmla="*/ 15 h 40"/>
                <a:gd name="T18" fmla="*/ 6 w 49"/>
                <a:gd name="T19" fmla="*/ 16 h 40"/>
                <a:gd name="T20" fmla="*/ 15 w 49"/>
                <a:gd name="T21" fmla="*/ 37 h 40"/>
                <a:gd name="T22" fmla="*/ 15 w 49"/>
                <a:gd name="T23" fmla="*/ 40 h 40"/>
                <a:gd name="T24" fmla="*/ 41 w 49"/>
                <a:gd name="T25" fmla="*/ 32 h 40"/>
                <a:gd name="T26" fmla="*/ 49 w 49"/>
                <a:gd name="T27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" h="40">
                  <a:moveTo>
                    <a:pt x="49" y="21"/>
                  </a:moveTo>
                  <a:cubicBezTo>
                    <a:pt x="49" y="19"/>
                    <a:pt x="49" y="18"/>
                    <a:pt x="49" y="16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3" y="1"/>
                    <a:pt x="29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5" y="16"/>
                    <a:pt x="6" y="16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8"/>
                    <a:pt x="15" y="39"/>
                    <a:pt x="15" y="40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6" y="30"/>
                    <a:pt x="49" y="26"/>
                    <a:pt x="49" y="2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28">
              <a:extLst>
                <a:ext uri="{FF2B5EF4-FFF2-40B4-BE49-F238E27FC236}">
                  <a16:creationId xmlns:a16="http://schemas.microsoft.com/office/drawing/2014/main" id="{841E7827-8F21-4370-BEDD-18A754946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0675" y="3255963"/>
              <a:ext cx="379413" cy="200025"/>
            </a:xfrm>
            <a:custGeom>
              <a:avLst/>
              <a:gdLst>
                <a:gd name="T0" fmla="*/ 122 w 127"/>
                <a:gd name="T1" fmla="*/ 46 h 67"/>
                <a:gd name="T2" fmla="*/ 125 w 127"/>
                <a:gd name="T3" fmla="*/ 38 h 67"/>
                <a:gd name="T4" fmla="*/ 112 w 127"/>
                <a:gd name="T5" fmla="*/ 20 h 67"/>
                <a:gd name="T6" fmla="*/ 110 w 127"/>
                <a:gd name="T7" fmla="*/ 13 h 67"/>
                <a:gd name="T8" fmla="*/ 107 w 127"/>
                <a:gd name="T9" fmla="*/ 6 h 67"/>
                <a:gd name="T10" fmla="*/ 96 w 127"/>
                <a:gd name="T11" fmla="*/ 11 h 67"/>
                <a:gd name="T12" fmla="*/ 66 w 127"/>
                <a:gd name="T13" fmla="*/ 11 h 67"/>
                <a:gd name="T14" fmla="*/ 53 w 127"/>
                <a:gd name="T15" fmla="*/ 5 h 67"/>
                <a:gd name="T16" fmla="*/ 49 w 127"/>
                <a:gd name="T17" fmla="*/ 4 h 67"/>
                <a:gd name="T18" fmla="*/ 37 w 127"/>
                <a:gd name="T19" fmla="*/ 0 h 67"/>
                <a:gd name="T20" fmla="*/ 41 w 127"/>
                <a:gd name="T21" fmla="*/ 11 h 67"/>
                <a:gd name="T22" fmla="*/ 41 w 127"/>
                <a:gd name="T23" fmla="*/ 16 h 67"/>
                <a:gd name="T24" fmla="*/ 33 w 127"/>
                <a:gd name="T25" fmla="*/ 27 h 67"/>
                <a:gd name="T26" fmla="*/ 7 w 127"/>
                <a:gd name="T27" fmla="*/ 35 h 67"/>
                <a:gd name="T28" fmla="*/ 5 w 127"/>
                <a:gd name="T29" fmla="*/ 37 h 67"/>
                <a:gd name="T30" fmla="*/ 2 w 127"/>
                <a:gd name="T31" fmla="*/ 39 h 67"/>
                <a:gd name="T32" fmla="*/ 0 w 127"/>
                <a:gd name="T33" fmla="*/ 42 h 67"/>
                <a:gd name="T34" fmla="*/ 2 w 127"/>
                <a:gd name="T35" fmla="*/ 46 h 67"/>
                <a:gd name="T36" fmla="*/ 5 w 127"/>
                <a:gd name="T37" fmla="*/ 47 h 67"/>
                <a:gd name="T38" fmla="*/ 7 w 127"/>
                <a:gd name="T39" fmla="*/ 51 h 67"/>
                <a:gd name="T40" fmla="*/ 7 w 127"/>
                <a:gd name="T41" fmla="*/ 63 h 67"/>
                <a:gd name="T42" fmla="*/ 24 w 127"/>
                <a:gd name="T43" fmla="*/ 59 h 67"/>
                <a:gd name="T44" fmla="*/ 31 w 127"/>
                <a:gd name="T45" fmla="*/ 59 h 67"/>
                <a:gd name="T46" fmla="*/ 36 w 127"/>
                <a:gd name="T47" fmla="*/ 59 h 67"/>
                <a:gd name="T48" fmla="*/ 47 w 127"/>
                <a:gd name="T49" fmla="*/ 61 h 67"/>
                <a:gd name="T50" fmla="*/ 59 w 127"/>
                <a:gd name="T51" fmla="*/ 65 h 67"/>
                <a:gd name="T52" fmla="*/ 70 w 127"/>
                <a:gd name="T53" fmla="*/ 67 h 67"/>
                <a:gd name="T54" fmla="*/ 79 w 127"/>
                <a:gd name="T55" fmla="*/ 67 h 67"/>
                <a:gd name="T56" fmla="*/ 90 w 127"/>
                <a:gd name="T57" fmla="*/ 65 h 67"/>
                <a:gd name="T58" fmla="*/ 97 w 127"/>
                <a:gd name="T59" fmla="*/ 62 h 67"/>
                <a:gd name="T60" fmla="*/ 105 w 127"/>
                <a:gd name="T61" fmla="*/ 60 h 67"/>
                <a:gd name="T62" fmla="*/ 123 w 127"/>
                <a:gd name="T63" fmla="*/ 58 h 67"/>
                <a:gd name="T64" fmla="*/ 117 w 127"/>
                <a:gd name="T65" fmla="*/ 50 h 67"/>
                <a:gd name="T66" fmla="*/ 122 w 127"/>
                <a:gd name="T67" fmla="*/ 4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7" h="67">
                  <a:moveTo>
                    <a:pt x="122" y="46"/>
                  </a:moveTo>
                  <a:cubicBezTo>
                    <a:pt x="125" y="45"/>
                    <a:pt x="127" y="41"/>
                    <a:pt x="125" y="38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0" y="13"/>
                    <a:pt x="110" y="13"/>
                    <a:pt x="110" y="13"/>
                  </a:cubicBezTo>
                  <a:cubicBezTo>
                    <a:pt x="110" y="10"/>
                    <a:pt x="108" y="8"/>
                    <a:pt x="107" y="6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86" y="15"/>
                    <a:pt x="76" y="15"/>
                    <a:pt x="66" y="11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2" y="5"/>
                    <a:pt x="50" y="4"/>
                    <a:pt x="49" y="4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3"/>
                    <a:pt x="41" y="14"/>
                    <a:pt x="41" y="16"/>
                  </a:cubicBezTo>
                  <a:cubicBezTo>
                    <a:pt x="41" y="21"/>
                    <a:pt x="38" y="25"/>
                    <a:pt x="33" y="27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6"/>
                    <a:pt x="6" y="36"/>
                    <a:pt x="5" y="37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1" y="39"/>
                    <a:pt x="0" y="41"/>
                    <a:pt x="0" y="42"/>
                  </a:cubicBezTo>
                  <a:cubicBezTo>
                    <a:pt x="0" y="44"/>
                    <a:pt x="1" y="45"/>
                    <a:pt x="2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6" y="48"/>
                    <a:pt x="7" y="49"/>
                    <a:pt x="7" y="51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26" y="59"/>
                    <a:pt x="29" y="59"/>
                    <a:pt x="31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40" y="59"/>
                    <a:pt x="43" y="59"/>
                    <a:pt x="47" y="61"/>
                  </a:cubicBezTo>
                  <a:cubicBezTo>
                    <a:pt x="59" y="65"/>
                    <a:pt x="59" y="65"/>
                    <a:pt x="59" y="65"/>
                  </a:cubicBezTo>
                  <a:cubicBezTo>
                    <a:pt x="63" y="66"/>
                    <a:pt x="66" y="67"/>
                    <a:pt x="70" y="67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83" y="67"/>
                    <a:pt x="86" y="66"/>
                    <a:pt x="90" y="65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100" y="61"/>
                    <a:pt x="102" y="61"/>
                    <a:pt x="105" y="60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20" y="57"/>
                    <a:pt x="117" y="54"/>
                    <a:pt x="117" y="50"/>
                  </a:cubicBezTo>
                  <a:cubicBezTo>
                    <a:pt x="117" y="47"/>
                    <a:pt x="119" y="46"/>
                    <a:pt x="122" y="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29">
              <a:extLst>
                <a:ext uri="{FF2B5EF4-FFF2-40B4-BE49-F238E27FC236}">
                  <a16:creationId xmlns:a16="http://schemas.microsoft.com/office/drawing/2014/main" id="{A8170347-5F54-4C13-9BE5-B8B530496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3213" y="3429001"/>
              <a:ext cx="673100" cy="355600"/>
            </a:xfrm>
            <a:custGeom>
              <a:avLst/>
              <a:gdLst>
                <a:gd name="T0" fmla="*/ 216 w 225"/>
                <a:gd name="T1" fmla="*/ 35 h 119"/>
                <a:gd name="T2" fmla="*/ 195 w 225"/>
                <a:gd name="T3" fmla="*/ 34 h 119"/>
                <a:gd name="T4" fmla="*/ 167 w 225"/>
                <a:gd name="T5" fmla="*/ 21 h 119"/>
                <a:gd name="T6" fmla="*/ 155 w 225"/>
                <a:gd name="T7" fmla="*/ 10 h 119"/>
                <a:gd name="T8" fmla="*/ 132 w 225"/>
                <a:gd name="T9" fmla="*/ 1 h 119"/>
                <a:gd name="T10" fmla="*/ 111 w 225"/>
                <a:gd name="T11" fmla="*/ 2 h 119"/>
                <a:gd name="T12" fmla="*/ 96 w 225"/>
                <a:gd name="T13" fmla="*/ 7 h 119"/>
                <a:gd name="T14" fmla="*/ 76 w 225"/>
                <a:gd name="T15" fmla="*/ 9 h 119"/>
                <a:gd name="T16" fmla="*/ 53 w 225"/>
                <a:gd name="T17" fmla="*/ 3 h 119"/>
                <a:gd name="T18" fmla="*/ 37 w 225"/>
                <a:gd name="T19" fmla="*/ 1 h 119"/>
                <a:gd name="T20" fmla="*/ 13 w 225"/>
                <a:gd name="T21" fmla="*/ 5 h 119"/>
                <a:gd name="T22" fmla="*/ 14 w 225"/>
                <a:gd name="T23" fmla="*/ 7 h 119"/>
                <a:gd name="T24" fmla="*/ 16 w 225"/>
                <a:gd name="T25" fmla="*/ 19 h 119"/>
                <a:gd name="T26" fmla="*/ 11 w 225"/>
                <a:gd name="T27" fmla="*/ 20 h 119"/>
                <a:gd name="T28" fmla="*/ 1 w 225"/>
                <a:gd name="T29" fmla="*/ 34 h 119"/>
                <a:gd name="T30" fmla="*/ 3 w 225"/>
                <a:gd name="T31" fmla="*/ 42 h 119"/>
                <a:gd name="T32" fmla="*/ 0 w 225"/>
                <a:gd name="T33" fmla="*/ 45 h 119"/>
                <a:gd name="T34" fmla="*/ 6 w 225"/>
                <a:gd name="T35" fmla="*/ 55 h 119"/>
                <a:gd name="T36" fmla="*/ 50 w 225"/>
                <a:gd name="T37" fmla="*/ 50 h 119"/>
                <a:gd name="T38" fmla="*/ 73 w 225"/>
                <a:gd name="T39" fmla="*/ 45 h 119"/>
                <a:gd name="T40" fmla="*/ 81 w 225"/>
                <a:gd name="T41" fmla="*/ 59 h 119"/>
                <a:gd name="T42" fmla="*/ 87 w 225"/>
                <a:gd name="T43" fmla="*/ 62 h 119"/>
                <a:gd name="T44" fmla="*/ 92 w 225"/>
                <a:gd name="T45" fmla="*/ 74 h 119"/>
                <a:gd name="T46" fmla="*/ 87 w 225"/>
                <a:gd name="T47" fmla="*/ 79 h 119"/>
                <a:gd name="T48" fmla="*/ 81 w 225"/>
                <a:gd name="T49" fmla="*/ 90 h 119"/>
                <a:gd name="T50" fmla="*/ 78 w 225"/>
                <a:gd name="T51" fmla="*/ 95 h 119"/>
                <a:gd name="T52" fmla="*/ 85 w 225"/>
                <a:gd name="T53" fmla="*/ 101 h 119"/>
                <a:gd name="T54" fmla="*/ 102 w 225"/>
                <a:gd name="T55" fmla="*/ 101 h 119"/>
                <a:gd name="T56" fmla="*/ 112 w 225"/>
                <a:gd name="T57" fmla="*/ 96 h 119"/>
                <a:gd name="T58" fmla="*/ 121 w 225"/>
                <a:gd name="T59" fmla="*/ 85 h 119"/>
                <a:gd name="T60" fmla="*/ 128 w 225"/>
                <a:gd name="T61" fmla="*/ 89 h 119"/>
                <a:gd name="T62" fmla="*/ 134 w 225"/>
                <a:gd name="T63" fmla="*/ 95 h 119"/>
                <a:gd name="T64" fmla="*/ 149 w 225"/>
                <a:gd name="T65" fmla="*/ 98 h 119"/>
                <a:gd name="T66" fmla="*/ 142 w 225"/>
                <a:gd name="T67" fmla="*/ 111 h 119"/>
                <a:gd name="T68" fmla="*/ 147 w 225"/>
                <a:gd name="T69" fmla="*/ 116 h 119"/>
                <a:gd name="T70" fmla="*/ 152 w 225"/>
                <a:gd name="T71" fmla="*/ 119 h 119"/>
                <a:gd name="T72" fmla="*/ 163 w 225"/>
                <a:gd name="T73" fmla="*/ 118 h 119"/>
                <a:gd name="T74" fmla="*/ 176 w 225"/>
                <a:gd name="T75" fmla="*/ 112 h 119"/>
                <a:gd name="T76" fmla="*/ 185 w 225"/>
                <a:gd name="T77" fmla="*/ 111 h 119"/>
                <a:gd name="T78" fmla="*/ 169 w 225"/>
                <a:gd name="T79" fmla="*/ 107 h 119"/>
                <a:gd name="T80" fmla="*/ 163 w 225"/>
                <a:gd name="T81" fmla="*/ 102 h 119"/>
                <a:gd name="T82" fmla="*/ 155 w 225"/>
                <a:gd name="T83" fmla="*/ 99 h 119"/>
                <a:gd name="T84" fmla="*/ 176 w 225"/>
                <a:gd name="T85" fmla="*/ 88 h 119"/>
                <a:gd name="T86" fmla="*/ 204 w 225"/>
                <a:gd name="T87" fmla="*/ 72 h 119"/>
                <a:gd name="T88" fmla="*/ 223 w 225"/>
                <a:gd name="T89" fmla="*/ 59 h 119"/>
                <a:gd name="T90" fmla="*/ 219 w 225"/>
                <a:gd name="T91" fmla="*/ 38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119">
                  <a:moveTo>
                    <a:pt x="219" y="38"/>
                  </a:moveTo>
                  <a:cubicBezTo>
                    <a:pt x="216" y="35"/>
                    <a:pt x="216" y="35"/>
                    <a:pt x="216" y="35"/>
                  </a:cubicBezTo>
                  <a:cubicBezTo>
                    <a:pt x="212" y="32"/>
                    <a:pt x="207" y="32"/>
                    <a:pt x="203" y="33"/>
                  </a:cubicBezTo>
                  <a:cubicBezTo>
                    <a:pt x="200" y="34"/>
                    <a:pt x="198" y="35"/>
                    <a:pt x="195" y="34"/>
                  </a:cubicBezTo>
                  <a:cubicBezTo>
                    <a:pt x="174" y="29"/>
                    <a:pt x="174" y="29"/>
                    <a:pt x="174" y="29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6" y="19"/>
                    <a:pt x="164" y="18"/>
                    <a:pt x="162" y="18"/>
                  </a:cubicBezTo>
                  <a:cubicBezTo>
                    <a:pt x="158" y="16"/>
                    <a:pt x="156" y="13"/>
                    <a:pt x="155" y="10"/>
                  </a:cubicBezTo>
                  <a:cubicBezTo>
                    <a:pt x="153" y="5"/>
                    <a:pt x="149" y="1"/>
                    <a:pt x="144" y="1"/>
                  </a:cubicBezTo>
                  <a:cubicBezTo>
                    <a:pt x="132" y="1"/>
                    <a:pt x="132" y="1"/>
                    <a:pt x="132" y="1"/>
                  </a:cubicBezTo>
                  <a:cubicBezTo>
                    <a:pt x="131" y="1"/>
                    <a:pt x="130" y="0"/>
                    <a:pt x="129" y="0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8" y="3"/>
                    <a:pt x="106" y="3"/>
                    <a:pt x="103" y="4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2" y="8"/>
                    <a:pt x="89" y="9"/>
                    <a:pt x="85" y="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2" y="9"/>
                    <a:pt x="69" y="8"/>
                    <a:pt x="65" y="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49" y="1"/>
                    <a:pt x="46" y="1"/>
                    <a:pt x="42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5" y="1"/>
                    <a:pt x="32" y="1"/>
                    <a:pt x="30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7"/>
                    <a:pt x="14" y="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9"/>
                    <a:pt x="14" y="20"/>
                    <a:pt x="13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9" y="21"/>
                    <a:pt x="8" y="22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38"/>
                    <a:pt x="5" y="40"/>
                    <a:pt x="3" y="42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5"/>
                    <a:pt x="0" y="45"/>
                    <a:pt x="0" y="45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5" y="50"/>
                    <a:pt x="6" y="52"/>
                    <a:pt x="6" y="55"/>
                  </a:cubicBezTo>
                  <a:cubicBezTo>
                    <a:pt x="50" y="53"/>
                    <a:pt x="50" y="53"/>
                    <a:pt x="50" y="53"/>
                  </a:cubicBezTo>
                  <a:cubicBezTo>
                    <a:pt x="50" y="50"/>
                    <a:pt x="50" y="50"/>
                    <a:pt x="50" y="50"/>
                  </a:cubicBezTo>
                  <a:cubicBezTo>
                    <a:pt x="50" y="47"/>
                    <a:pt x="52" y="45"/>
                    <a:pt x="55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4" y="45"/>
                    <a:pt x="76" y="46"/>
                    <a:pt x="77" y="48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2" y="61"/>
                    <a:pt x="83" y="62"/>
                    <a:pt x="85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9" y="62"/>
                    <a:pt x="91" y="63"/>
                    <a:pt x="91" y="66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92" y="76"/>
                    <a:pt x="91" y="78"/>
                    <a:pt x="89" y="79"/>
                  </a:cubicBezTo>
                  <a:cubicBezTo>
                    <a:pt x="87" y="79"/>
                    <a:pt x="87" y="79"/>
                    <a:pt x="87" y="79"/>
                  </a:cubicBezTo>
                  <a:cubicBezTo>
                    <a:pt x="85" y="80"/>
                    <a:pt x="83" y="83"/>
                    <a:pt x="84" y="85"/>
                  </a:cubicBezTo>
                  <a:cubicBezTo>
                    <a:pt x="85" y="87"/>
                    <a:pt x="84" y="90"/>
                    <a:pt x="81" y="90"/>
                  </a:cubicBezTo>
                  <a:cubicBezTo>
                    <a:pt x="78" y="91"/>
                    <a:pt x="78" y="91"/>
                    <a:pt x="78" y="91"/>
                  </a:cubicBezTo>
                  <a:cubicBezTo>
                    <a:pt x="78" y="95"/>
                    <a:pt x="78" y="95"/>
                    <a:pt x="78" y="95"/>
                  </a:cubicBezTo>
                  <a:cubicBezTo>
                    <a:pt x="78" y="97"/>
                    <a:pt x="79" y="98"/>
                    <a:pt x="80" y="99"/>
                  </a:cubicBezTo>
                  <a:cubicBezTo>
                    <a:pt x="81" y="101"/>
                    <a:pt x="83" y="101"/>
                    <a:pt x="85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3" y="100"/>
                    <a:pt x="104" y="99"/>
                    <a:pt x="105" y="98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4" y="95"/>
                    <a:pt x="115" y="93"/>
                    <a:pt x="115" y="90"/>
                  </a:cubicBezTo>
                  <a:cubicBezTo>
                    <a:pt x="115" y="87"/>
                    <a:pt x="118" y="84"/>
                    <a:pt x="121" y="85"/>
                  </a:cubicBezTo>
                  <a:cubicBezTo>
                    <a:pt x="124" y="85"/>
                    <a:pt x="124" y="85"/>
                    <a:pt x="124" y="85"/>
                  </a:cubicBezTo>
                  <a:cubicBezTo>
                    <a:pt x="126" y="86"/>
                    <a:pt x="128" y="87"/>
                    <a:pt x="128" y="89"/>
                  </a:cubicBezTo>
                  <a:cubicBezTo>
                    <a:pt x="129" y="91"/>
                    <a:pt x="129" y="91"/>
                    <a:pt x="129" y="91"/>
                  </a:cubicBezTo>
                  <a:cubicBezTo>
                    <a:pt x="130" y="94"/>
                    <a:pt x="132" y="95"/>
                    <a:pt x="134" y="95"/>
                  </a:cubicBezTo>
                  <a:cubicBezTo>
                    <a:pt x="149" y="95"/>
                    <a:pt x="149" y="95"/>
                    <a:pt x="149" y="95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2" y="103"/>
                    <a:pt x="142" y="103"/>
                    <a:pt x="142" y="103"/>
                  </a:cubicBezTo>
                  <a:cubicBezTo>
                    <a:pt x="140" y="105"/>
                    <a:pt x="140" y="109"/>
                    <a:pt x="142" y="111"/>
                  </a:cubicBezTo>
                  <a:cubicBezTo>
                    <a:pt x="146" y="114"/>
                    <a:pt x="146" y="114"/>
                    <a:pt x="146" y="114"/>
                  </a:cubicBezTo>
                  <a:cubicBezTo>
                    <a:pt x="146" y="115"/>
                    <a:pt x="146" y="115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48" y="118"/>
                    <a:pt x="150" y="119"/>
                    <a:pt x="152" y="119"/>
                  </a:cubicBezTo>
                  <a:cubicBezTo>
                    <a:pt x="161" y="119"/>
                    <a:pt x="161" y="119"/>
                    <a:pt x="161" y="119"/>
                  </a:cubicBezTo>
                  <a:cubicBezTo>
                    <a:pt x="162" y="119"/>
                    <a:pt x="163" y="119"/>
                    <a:pt x="163" y="118"/>
                  </a:cubicBezTo>
                  <a:cubicBezTo>
                    <a:pt x="173" y="112"/>
                    <a:pt x="173" y="112"/>
                    <a:pt x="173" y="112"/>
                  </a:cubicBezTo>
                  <a:cubicBezTo>
                    <a:pt x="174" y="112"/>
                    <a:pt x="175" y="112"/>
                    <a:pt x="176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80" y="115"/>
                    <a:pt x="186" y="115"/>
                    <a:pt x="185" y="111"/>
                  </a:cubicBezTo>
                  <a:cubicBezTo>
                    <a:pt x="185" y="107"/>
                    <a:pt x="182" y="104"/>
                    <a:pt x="178" y="105"/>
                  </a:cubicBezTo>
                  <a:cubicBezTo>
                    <a:pt x="169" y="107"/>
                    <a:pt x="169" y="107"/>
                    <a:pt x="169" y="107"/>
                  </a:cubicBezTo>
                  <a:cubicBezTo>
                    <a:pt x="167" y="107"/>
                    <a:pt x="165" y="106"/>
                    <a:pt x="164" y="104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2" y="100"/>
                    <a:pt x="161" y="99"/>
                    <a:pt x="159" y="99"/>
                  </a:cubicBezTo>
                  <a:cubicBezTo>
                    <a:pt x="155" y="99"/>
                    <a:pt x="155" y="99"/>
                    <a:pt x="155" y="99"/>
                  </a:cubicBezTo>
                  <a:cubicBezTo>
                    <a:pt x="154" y="95"/>
                    <a:pt x="154" y="95"/>
                    <a:pt x="154" y="95"/>
                  </a:cubicBezTo>
                  <a:cubicBezTo>
                    <a:pt x="176" y="88"/>
                    <a:pt x="176" y="88"/>
                    <a:pt x="176" y="88"/>
                  </a:cubicBezTo>
                  <a:cubicBezTo>
                    <a:pt x="196" y="81"/>
                    <a:pt x="196" y="81"/>
                    <a:pt x="196" y="81"/>
                  </a:cubicBezTo>
                  <a:cubicBezTo>
                    <a:pt x="200" y="79"/>
                    <a:pt x="203" y="76"/>
                    <a:pt x="204" y="72"/>
                  </a:cubicBezTo>
                  <a:cubicBezTo>
                    <a:pt x="214" y="69"/>
                    <a:pt x="214" y="69"/>
                    <a:pt x="214" y="69"/>
                  </a:cubicBezTo>
                  <a:cubicBezTo>
                    <a:pt x="219" y="68"/>
                    <a:pt x="222" y="64"/>
                    <a:pt x="223" y="59"/>
                  </a:cubicBezTo>
                  <a:cubicBezTo>
                    <a:pt x="224" y="50"/>
                    <a:pt x="224" y="50"/>
                    <a:pt x="224" y="50"/>
                  </a:cubicBezTo>
                  <a:cubicBezTo>
                    <a:pt x="225" y="45"/>
                    <a:pt x="223" y="41"/>
                    <a:pt x="219" y="38"/>
                  </a:cubicBez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0">
              <a:extLst>
                <a:ext uri="{FF2B5EF4-FFF2-40B4-BE49-F238E27FC236}">
                  <a16:creationId xmlns:a16="http://schemas.microsoft.com/office/drawing/2014/main" id="{4D48C658-5670-4332-9799-12DB4D036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7175" y="3587751"/>
              <a:ext cx="350838" cy="211138"/>
            </a:xfrm>
            <a:custGeom>
              <a:avLst/>
              <a:gdLst>
                <a:gd name="T0" fmla="*/ 95 w 117"/>
                <a:gd name="T1" fmla="*/ 46 h 71"/>
                <a:gd name="T2" fmla="*/ 93 w 117"/>
                <a:gd name="T3" fmla="*/ 42 h 71"/>
                <a:gd name="T4" fmla="*/ 93 w 117"/>
                <a:gd name="T5" fmla="*/ 34 h 71"/>
                <a:gd name="T6" fmla="*/ 93 w 117"/>
                <a:gd name="T7" fmla="*/ 32 h 71"/>
                <a:gd name="T8" fmla="*/ 85 w 117"/>
                <a:gd name="T9" fmla="*/ 15 h 71"/>
                <a:gd name="T10" fmla="*/ 81 w 117"/>
                <a:gd name="T11" fmla="*/ 12 h 71"/>
                <a:gd name="T12" fmla="*/ 78 w 117"/>
                <a:gd name="T13" fmla="*/ 11 h 71"/>
                <a:gd name="T14" fmla="*/ 73 w 117"/>
                <a:gd name="T15" fmla="*/ 6 h 71"/>
                <a:gd name="T16" fmla="*/ 73 w 117"/>
                <a:gd name="T17" fmla="*/ 4 h 71"/>
                <a:gd name="T18" fmla="*/ 66 w 117"/>
                <a:gd name="T19" fmla="*/ 0 h 71"/>
                <a:gd name="T20" fmla="*/ 21 w 117"/>
                <a:gd name="T21" fmla="*/ 2 h 71"/>
                <a:gd name="T22" fmla="*/ 20 w 117"/>
                <a:gd name="T23" fmla="*/ 7 h 71"/>
                <a:gd name="T24" fmla="*/ 6 w 117"/>
                <a:gd name="T25" fmla="*/ 26 h 71"/>
                <a:gd name="T26" fmla="*/ 0 w 117"/>
                <a:gd name="T27" fmla="*/ 30 h 71"/>
                <a:gd name="T28" fmla="*/ 1 w 117"/>
                <a:gd name="T29" fmla="*/ 40 h 71"/>
                <a:gd name="T30" fmla="*/ 2 w 117"/>
                <a:gd name="T31" fmla="*/ 43 h 71"/>
                <a:gd name="T32" fmla="*/ 9 w 117"/>
                <a:gd name="T33" fmla="*/ 53 h 71"/>
                <a:gd name="T34" fmla="*/ 14 w 117"/>
                <a:gd name="T35" fmla="*/ 55 h 71"/>
                <a:gd name="T36" fmla="*/ 16 w 117"/>
                <a:gd name="T37" fmla="*/ 55 h 71"/>
                <a:gd name="T38" fmla="*/ 16 w 117"/>
                <a:gd name="T39" fmla="*/ 51 h 71"/>
                <a:gd name="T40" fmla="*/ 20 w 117"/>
                <a:gd name="T41" fmla="*/ 51 h 71"/>
                <a:gd name="T42" fmla="*/ 32 w 117"/>
                <a:gd name="T43" fmla="*/ 69 h 71"/>
                <a:gd name="T44" fmla="*/ 37 w 117"/>
                <a:gd name="T45" fmla="*/ 71 h 71"/>
                <a:gd name="T46" fmla="*/ 58 w 117"/>
                <a:gd name="T47" fmla="*/ 71 h 71"/>
                <a:gd name="T48" fmla="*/ 61 w 117"/>
                <a:gd name="T49" fmla="*/ 71 h 71"/>
                <a:gd name="T50" fmla="*/ 74 w 117"/>
                <a:gd name="T51" fmla="*/ 64 h 71"/>
                <a:gd name="T52" fmla="*/ 76 w 117"/>
                <a:gd name="T53" fmla="*/ 64 h 71"/>
                <a:gd name="T54" fmla="*/ 107 w 117"/>
                <a:gd name="T55" fmla="*/ 64 h 71"/>
                <a:gd name="T56" fmla="*/ 110 w 117"/>
                <a:gd name="T57" fmla="*/ 61 h 71"/>
                <a:gd name="T58" fmla="*/ 111 w 117"/>
                <a:gd name="T59" fmla="*/ 60 h 71"/>
                <a:gd name="T60" fmla="*/ 117 w 117"/>
                <a:gd name="T61" fmla="*/ 48 h 71"/>
                <a:gd name="T62" fmla="*/ 100 w 117"/>
                <a:gd name="T63" fmla="*/ 48 h 71"/>
                <a:gd name="T64" fmla="*/ 95 w 117"/>
                <a:gd name="T65" fmla="*/ 4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7" h="71">
                  <a:moveTo>
                    <a:pt x="95" y="46"/>
                  </a:moveTo>
                  <a:cubicBezTo>
                    <a:pt x="94" y="45"/>
                    <a:pt x="93" y="44"/>
                    <a:pt x="93" y="42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3"/>
                    <a:pt x="93" y="33"/>
                    <a:pt x="93" y="32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84" y="13"/>
                    <a:pt x="83" y="12"/>
                    <a:pt x="81" y="12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5" y="10"/>
                    <a:pt x="74" y="9"/>
                    <a:pt x="73" y="6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2" y="2"/>
                    <a:pt x="69" y="0"/>
                    <a:pt x="66" y="0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4"/>
                    <a:pt x="21" y="6"/>
                    <a:pt x="20" y="7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4" y="28"/>
                    <a:pt x="2" y="30"/>
                    <a:pt x="0" y="3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1"/>
                    <a:pt x="1" y="42"/>
                    <a:pt x="2" y="4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10" y="54"/>
                    <a:pt x="12" y="55"/>
                    <a:pt x="14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3" y="70"/>
                    <a:pt x="35" y="71"/>
                    <a:pt x="37" y="71"/>
                  </a:cubicBezTo>
                  <a:cubicBezTo>
                    <a:pt x="58" y="71"/>
                    <a:pt x="58" y="71"/>
                    <a:pt x="58" y="71"/>
                  </a:cubicBezTo>
                  <a:cubicBezTo>
                    <a:pt x="59" y="71"/>
                    <a:pt x="60" y="71"/>
                    <a:pt x="61" y="71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5" y="64"/>
                    <a:pt x="76" y="64"/>
                    <a:pt x="76" y="6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10" y="61"/>
                    <a:pt x="110" y="61"/>
                    <a:pt x="110" y="61"/>
                  </a:cubicBezTo>
                  <a:cubicBezTo>
                    <a:pt x="110" y="61"/>
                    <a:pt x="111" y="60"/>
                    <a:pt x="111" y="60"/>
                  </a:cubicBezTo>
                  <a:cubicBezTo>
                    <a:pt x="117" y="48"/>
                    <a:pt x="117" y="48"/>
                    <a:pt x="117" y="48"/>
                  </a:cubicBezTo>
                  <a:cubicBezTo>
                    <a:pt x="100" y="48"/>
                    <a:pt x="100" y="48"/>
                    <a:pt x="100" y="48"/>
                  </a:cubicBezTo>
                  <a:cubicBezTo>
                    <a:pt x="98" y="48"/>
                    <a:pt x="96" y="48"/>
                    <a:pt x="95" y="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1">
              <a:extLst>
                <a:ext uri="{FF2B5EF4-FFF2-40B4-BE49-F238E27FC236}">
                  <a16:creationId xmlns:a16="http://schemas.microsoft.com/office/drawing/2014/main" id="{B433E923-2810-4DC0-ADB0-2C3590B9A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988" y="3670301"/>
              <a:ext cx="198438" cy="203200"/>
            </a:xfrm>
            <a:custGeom>
              <a:avLst/>
              <a:gdLst>
                <a:gd name="T0" fmla="*/ 65 w 66"/>
                <a:gd name="T1" fmla="*/ 37 h 68"/>
                <a:gd name="T2" fmla="*/ 65 w 66"/>
                <a:gd name="T3" fmla="*/ 39 h 68"/>
                <a:gd name="T4" fmla="*/ 55 w 66"/>
                <a:gd name="T5" fmla="*/ 57 h 68"/>
                <a:gd name="T6" fmla="*/ 55 w 66"/>
                <a:gd name="T7" fmla="*/ 57 h 68"/>
                <a:gd name="T8" fmla="*/ 55 w 66"/>
                <a:gd name="T9" fmla="*/ 58 h 68"/>
                <a:gd name="T10" fmla="*/ 53 w 66"/>
                <a:gd name="T11" fmla="*/ 67 h 68"/>
                <a:gd name="T12" fmla="*/ 48 w 66"/>
                <a:gd name="T13" fmla="*/ 66 h 68"/>
                <a:gd name="T14" fmla="*/ 30 w 66"/>
                <a:gd name="T15" fmla="*/ 50 h 68"/>
                <a:gd name="T16" fmla="*/ 19 w 66"/>
                <a:gd name="T17" fmla="*/ 31 h 68"/>
                <a:gd name="T18" fmla="*/ 16 w 66"/>
                <a:gd name="T19" fmla="*/ 30 h 68"/>
                <a:gd name="T20" fmla="*/ 7 w 66"/>
                <a:gd name="T21" fmla="*/ 30 h 68"/>
                <a:gd name="T22" fmla="*/ 6 w 66"/>
                <a:gd name="T23" fmla="*/ 29 h 68"/>
                <a:gd name="T24" fmla="*/ 5 w 66"/>
                <a:gd name="T25" fmla="*/ 21 h 68"/>
                <a:gd name="T26" fmla="*/ 0 w 66"/>
                <a:gd name="T27" fmla="*/ 19 h 68"/>
                <a:gd name="T28" fmla="*/ 0 w 66"/>
                <a:gd name="T29" fmla="*/ 19 h 68"/>
                <a:gd name="T30" fmla="*/ 0 w 66"/>
                <a:gd name="T31" fmla="*/ 18 h 68"/>
                <a:gd name="T32" fmla="*/ 16 w 66"/>
                <a:gd name="T33" fmla="*/ 12 h 68"/>
                <a:gd name="T34" fmla="*/ 18 w 66"/>
                <a:gd name="T35" fmla="*/ 11 h 68"/>
                <a:gd name="T36" fmla="*/ 24 w 66"/>
                <a:gd name="T37" fmla="*/ 0 h 68"/>
                <a:gd name="T38" fmla="*/ 31 w 66"/>
                <a:gd name="T39" fmla="*/ 3 h 68"/>
                <a:gd name="T40" fmla="*/ 34 w 66"/>
                <a:gd name="T41" fmla="*/ 2 h 68"/>
                <a:gd name="T42" fmla="*/ 37 w 66"/>
                <a:gd name="T43" fmla="*/ 0 h 68"/>
                <a:gd name="T44" fmla="*/ 38 w 66"/>
                <a:gd name="T45" fmla="*/ 0 h 68"/>
                <a:gd name="T46" fmla="*/ 51 w 66"/>
                <a:gd name="T47" fmla="*/ 6 h 68"/>
                <a:gd name="T48" fmla="*/ 58 w 66"/>
                <a:gd name="T49" fmla="*/ 6 h 68"/>
                <a:gd name="T50" fmla="*/ 59 w 66"/>
                <a:gd name="T51" fmla="*/ 9 h 68"/>
                <a:gd name="T52" fmla="*/ 62 w 66"/>
                <a:gd name="T53" fmla="*/ 12 h 68"/>
                <a:gd name="T54" fmla="*/ 65 w 66"/>
                <a:gd name="T55" fmla="*/ 15 h 68"/>
                <a:gd name="T56" fmla="*/ 65 w 66"/>
                <a:gd name="T57" fmla="*/ 17 h 68"/>
                <a:gd name="T58" fmla="*/ 65 w 66"/>
                <a:gd name="T59" fmla="*/ 19 h 68"/>
                <a:gd name="T60" fmla="*/ 62 w 66"/>
                <a:gd name="T61" fmla="*/ 23 h 68"/>
                <a:gd name="T62" fmla="*/ 61 w 66"/>
                <a:gd name="T63" fmla="*/ 24 h 68"/>
                <a:gd name="T64" fmla="*/ 61 w 66"/>
                <a:gd name="T65" fmla="*/ 28 h 68"/>
                <a:gd name="T66" fmla="*/ 65 w 66"/>
                <a:gd name="T67" fmla="*/ 3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6" h="68">
                  <a:moveTo>
                    <a:pt x="65" y="37"/>
                  </a:moveTo>
                  <a:cubicBezTo>
                    <a:pt x="65" y="38"/>
                    <a:pt x="65" y="39"/>
                    <a:pt x="65" y="39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8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1" y="68"/>
                    <a:pt x="49" y="67"/>
                    <a:pt x="48" y="66"/>
                  </a:cubicBezTo>
                  <a:cubicBezTo>
                    <a:pt x="42" y="61"/>
                    <a:pt x="31" y="50"/>
                    <a:pt x="30" y="50"/>
                  </a:cubicBezTo>
                  <a:cubicBezTo>
                    <a:pt x="28" y="49"/>
                    <a:pt x="22" y="36"/>
                    <a:pt x="19" y="31"/>
                  </a:cubicBezTo>
                  <a:cubicBezTo>
                    <a:pt x="18" y="30"/>
                    <a:pt x="17" y="30"/>
                    <a:pt x="16" y="30"/>
                  </a:cubicBezTo>
                  <a:cubicBezTo>
                    <a:pt x="13" y="31"/>
                    <a:pt x="10" y="32"/>
                    <a:pt x="7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4" y="27"/>
                    <a:pt x="3" y="24"/>
                    <a:pt x="5" y="21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7" y="12"/>
                    <a:pt x="18" y="11"/>
                    <a:pt x="18" y="11"/>
                  </a:cubicBezTo>
                  <a:cubicBezTo>
                    <a:pt x="20" y="8"/>
                    <a:pt x="24" y="1"/>
                    <a:pt x="24" y="0"/>
                  </a:cubicBezTo>
                  <a:cubicBezTo>
                    <a:pt x="24" y="0"/>
                    <a:pt x="28" y="1"/>
                    <a:pt x="31" y="3"/>
                  </a:cubicBezTo>
                  <a:cubicBezTo>
                    <a:pt x="32" y="3"/>
                    <a:pt x="33" y="3"/>
                    <a:pt x="34" y="2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8" y="0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4" y="7"/>
                    <a:pt x="56" y="7"/>
                    <a:pt x="58" y="6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1"/>
                    <a:pt x="60" y="12"/>
                    <a:pt x="62" y="12"/>
                  </a:cubicBezTo>
                  <a:cubicBezTo>
                    <a:pt x="63" y="12"/>
                    <a:pt x="65" y="13"/>
                    <a:pt x="65" y="15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6" y="17"/>
                    <a:pt x="65" y="18"/>
                    <a:pt x="65" y="19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0" y="25"/>
                    <a:pt x="60" y="27"/>
                    <a:pt x="61" y="28"/>
                  </a:cubicBezTo>
                  <a:lnTo>
                    <a:pt x="65" y="3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2">
              <a:extLst>
                <a:ext uri="{FF2B5EF4-FFF2-40B4-BE49-F238E27FC236}">
                  <a16:creationId xmlns:a16="http://schemas.microsoft.com/office/drawing/2014/main" id="{9B16FDCE-3DC0-418B-9AE4-873B5B7828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2863" y="3286126"/>
              <a:ext cx="314325" cy="244475"/>
            </a:xfrm>
            <a:custGeom>
              <a:avLst/>
              <a:gdLst>
                <a:gd name="T0" fmla="*/ 98 w 105"/>
                <a:gd name="T1" fmla="*/ 68 h 82"/>
                <a:gd name="T2" fmla="*/ 100 w 105"/>
                <a:gd name="T3" fmla="*/ 68 h 82"/>
                <a:gd name="T4" fmla="*/ 103 w 105"/>
                <a:gd name="T5" fmla="*/ 67 h 82"/>
                <a:gd name="T6" fmla="*/ 105 w 105"/>
                <a:gd name="T7" fmla="*/ 64 h 82"/>
                <a:gd name="T8" fmla="*/ 101 w 105"/>
                <a:gd name="T9" fmla="*/ 55 h 82"/>
                <a:gd name="T10" fmla="*/ 100 w 105"/>
                <a:gd name="T11" fmla="*/ 53 h 82"/>
                <a:gd name="T12" fmla="*/ 100 w 105"/>
                <a:gd name="T13" fmla="*/ 41 h 82"/>
                <a:gd name="T14" fmla="*/ 98 w 105"/>
                <a:gd name="T15" fmla="*/ 37 h 82"/>
                <a:gd name="T16" fmla="*/ 95 w 105"/>
                <a:gd name="T17" fmla="*/ 36 h 82"/>
                <a:gd name="T18" fmla="*/ 93 w 105"/>
                <a:gd name="T19" fmla="*/ 32 h 82"/>
                <a:gd name="T20" fmla="*/ 95 w 105"/>
                <a:gd name="T21" fmla="*/ 29 h 82"/>
                <a:gd name="T22" fmla="*/ 98 w 105"/>
                <a:gd name="T23" fmla="*/ 27 h 82"/>
                <a:gd name="T24" fmla="*/ 100 w 105"/>
                <a:gd name="T25" fmla="*/ 22 h 82"/>
                <a:gd name="T26" fmla="*/ 91 w 105"/>
                <a:gd name="T27" fmla="*/ 1 h 82"/>
                <a:gd name="T28" fmla="*/ 89 w 105"/>
                <a:gd name="T29" fmla="*/ 0 h 82"/>
                <a:gd name="T30" fmla="*/ 86 w 105"/>
                <a:gd name="T31" fmla="*/ 3 h 82"/>
                <a:gd name="T32" fmla="*/ 70 w 105"/>
                <a:gd name="T33" fmla="*/ 3 h 82"/>
                <a:gd name="T34" fmla="*/ 70 w 105"/>
                <a:gd name="T35" fmla="*/ 14 h 82"/>
                <a:gd name="T36" fmla="*/ 59 w 105"/>
                <a:gd name="T37" fmla="*/ 14 h 82"/>
                <a:gd name="T38" fmla="*/ 53 w 105"/>
                <a:gd name="T39" fmla="*/ 8 h 82"/>
                <a:gd name="T40" fmla="*/ 40 w 105"/>
                <a:gd name="T41" fmla="*/ 8 h 82"/>
                <a:gd name="T42" fmla="*/ 7 w 105"/>
                <a:gd name="T43" fmla="*/ 23 h 82"/>
                <a:gd name="T44" fmla="*/ 6 w 105"/>
                <a:gd name="T45" fmla="*/ 23 h 82"/>
                <a:gd name="T46" fmla="*/ 4 w 105"/>
                <a:gd name="T47" fmla="*/ 26 h 82"/>
                <a:gd name="T48" fmla="*/ 1 w 105"/>
                <a:gd name="T49" fmla="*/ 35 h 82"/>
                <a:gd name="T50" fmla="*/ 4 w 105"/>
                <a:gd name="T51" fmla="*/ 47 h 82"/>
                <a:gd name="T52" fmla="*/ 4 w 105"/>
                <a:gd name="T53" fmla="*/ 53 h 82"/>
                <a:gd name="T54" fmla="*/ 44 w 105"/>
                <a:gd name="T55" fmla="*/ 71 h 82"/>
                <a:gd name="T56" fmla="*/ 46 w 105"/>
                <a:gd name="T57" fmla="*/ 74 h 82"/>
                <a:gd name="T58" fmla="*/ 50 w 105"/>
                <a:gd name="T59" fmla="*/ 73 h 82"/>
                <a:gd name="T60" fmla="*/ 51 w 105"/>
                <a:gd name="T61" fmla="*/ 73 h 82"/>
                <a:gd name="T62" fmla="*/ 53 w 105"/>
                <a:gd name="T63" fmla="*/ 73 h 82"/>
                <a:gd name="T64" fmla="*/ 56 w 105"/>
                <a:gd name="T65" fmla="*/ 74 h 82"/>
                <a:gd name="T66" fmla="*/ 61 w 105"/>
                <a:gd name="T67" fmla="*/ 78 h 82"/>
                <a:gd name="T68" fmla="*/ 67 w 105"/>
                <a:gd name="T69" fmla="*/ 78 h 82"/>
                <a:gd name="T70" fmla="*/ 70 w 105"/>
                <a:gd name="T71" fmla="*/ 77 h 82"/>
                <a:gd name="T72" fmla="*/ 82 w 105"/>
                <a:gd name="T73" fmla="*/ 77 h 82"/>
                <a:gd name="T74" fmla="*/ 85 w 105"/>
                <a:gd name="T75" fmla="*/ 78 h 82"/>
                <a:gd name="T76" fmla="*/ 88 w 105"/>
                <a:gd name="T77" fmla="*/ 82 h 82"/>
                <a:gd name="T78" fmla="*/ 95 w 105"/>
                <a:gd name="T79" fmla="*/ 70 h 82"/>
                <a:gd name="T80" fmla="*/ 98 w 105"/>
                <a:gd name="T81" fmla="*/ 6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5" h="82">
                  <a:moveTo>
                    <a:pt x="98" y="68"/>
                  </a:moveTo>
                  <a:cubicBezTo>
                    <a:pt x="100" y="68"/>
                    <a:pt x="100" y="68"/>
                    <a:pt x="100" y="68"/>
                  </a:cubicBezTo>
                  <a:cubicBezTo>
                    <a:pt x="101" y="68"/>
                    <a:pt x="102" y="67"/>
                    <a:pt x="103" y="67"/>
                  </a:cubicBezTo>
                  <a:cubicBezTo>
                    <a:pt x="105" y="64"/>
                    <a:pt x="105" y="64"/>
                    <a:pt x="105" y="64"/>
                  </a:cubicBezTo>
                  <a:cubicBezTo>
                    <a:pt x="101" y="55"/>
                    <a:pt x="101" y="55"/>
                    <a:pt x="101" y="55"/>
                  </a:cubicBezTo>
                  <a:cubicBezTo>
                    <a:pt x="100" y="55"/>
                    <a:pt x="100" y="54"/>
                    <a:pt x="100" y="53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39"/>
                    <a:pt x="99" y="38"/>
                    <a:pt x="98" y="37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4" y="35"/>
                    <a:pt x="93" y="34"/>
                    <a:pt x="93" y="32"/>
                  </a:cubicBezTo>
                  <a:cubicBezTo>
                    <a:pt x="93" y="31"/>
                    <a:pt x="94" y="29"/>
                    <a:pt x="95" y="2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0" y="26"/>
                    <a:pt x="101" y="24"/>
                    <a:pt x="100" y="22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0" y="1"/>
                    <a:pt x="90" y="0"/>
                    <a:pt x="89" y="0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4"/>
                    <a:pt x="5" y="25"/>
                    <a:pt x="4" y="26"/>
                  </a:cubicBezTo>
                  <a:cubicBezTo>
                    <a:pt x="1" y="28"/>
                    <a:pt x="0" y="32"/>
                    <a:pt x="1" y="35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5" y="49"/>
                    <a:pt x="4" y="52"/>
                    <a:pt x="4" y="53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2"/>
                    <a:pt x="46" y="73"/>
                    <a:pt x="46" y="74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1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4" y="73"/>
                    <a:pt x="55" y="73"/>
                    <a:pt x="56" y="74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2" y="80"/>
                    <a:pt x="65" y="80"/>
                    <a:pt x="67" y="78"/>
                  </a:cubicBezTo>
                  <a:cubicBezTo>
                    <a:pt x="68" y="77"/>
                    <a:pt x="69" y="77"/>
                    <a:pt x="70" y="77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83" y="77"/>
                    <a:pt x="84" y="77"/>
                    <a:pt x="85" y="78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6" y="69"/>
                    <a:pt x="97" y="68"/>
                    <a:pt x="98" y="6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3">
              <a:extLst>
                <a:ext uri="{FF2B5EF4-FFF2-40B4-BE49-F238E27FC236}">
                  <a16:creationId xmlns:a16="http://schemas.microsoft.com/office/drawing/2014/main" id="{DDE641FF-4B72-42F6-A103-3E9452291E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950" y="3563938"/>
              <a:ext cx="215900" cy="128588"/>
            </a:xfrm>
            <a:custGeom>
              <a:avLst/>
              <a:gdLst>
                <a:gd name="T0" fmla="*/ 7 w 72"/>
                <a:gd name="T1" fmla="*/ 33 h 43"/>
                <a:gd name="T2" fmla="*/ 11 w 72"/>
                <a:gd name="T3" fmla="*/ 36 h 43"/>
                <a:gd name="T4" fmla="*/ 24 w 72"/>
                <a:gd name="T5" fmla="*/ 42 h 43"/>
                <a:gd name="T6" fmla="*/ 32 w 72"/>
                <a:gd name="T7" fmla="*/ 42 h 43"/>
                <a:gd name="T8" fmla="*/ 39 w 72"/>
                <a:gd name="T9" fmla="*/ 38 h 43"/>
                <a:gd name="T10" fmla="*/ 46 w 72"/>
                <a:gd name="T11" fmla="*/ 38 h 43"/>
                <a:gd name="T12" fmla="*/ 56 w 72"/>
                <a:gd name="T13" fmla="*/ 34 h 43"/>
                <a:gd name="T14" fmla="*/ 70 w 72"/>
                <a:gd name="T15" fmla="*/ 15 h 43"/>
                <a:gd name="T16" fmla="*/ 68 w 72"/>
                <a:gd name="T17" fmla="*/ 3 h 43"/>
                <a:gd name="T18" fmla="*/ 65 w 72"/>
                <a:gd name="T19" fmla="*/ 0 h 43"/>
                <a:gd name="T20" fmla="*/ 63 w 72"/>
                <a:gd name="T21" fmla="*/ 1 h 43"/>
                <a:gd name="T22" fmla="*/ 49 w 72"/>
                <a:gd name="T23" fmla="*/ 1 h 43"/>
                <a:gd name="T24" fmla="*/ 47 w 72"/>
                <a:gd name="T25" fmla="*/ 1 h 43"/>
                <a:gd name="T26" fmla="*/ 31 w 72"/>
                <a:gd name="T27" fmla="*/ 10 h 43"/>
                <a:gd name="T28" fmla="*/ 29 w 72"/>
                <a:gd name="T29" fmla="*/ 11 h 43"/>
                <a:gd name="T30" fmla="*/ 7 w 72"/>
                <a:gd name="T31" fmla="*/ 11 h 43"/>
                <a:gd name="T32" fmla="*/ 6 w 72"/>
                <a:gd name="T33" fmla="*/ 14 h 43"/>
                <a:gd name="T34" fmla="*/ 1 w 72"/>
                <a:gd name="T35" fmla="*/ 22 h 43"/>
                <a:gd name="T36" fmla="*/ 0 w 72"/>
                <a:gd name="T37" fmla="*/ 25 h 43"/>
                <a:gd name="T38" fmla="*/ 7 w 72"/>
                <a:gd name="T39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43">
                  <a:moveTo>
                    <a:pt x="7" y="33"/>
                  </a:moveTo>
                  <a:cubicBezTo>
                    <a:pt x="8" y="34"/>
                    <a:pt x="9" y="35"/>
                    <a:pt x="11" y="36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7" y="43"/>
                    <a:pt x="30" y="43"/>
                    <a:pt x="32" y="42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41" y="37"/>
                    <a:pt x="44" y="37"/>
                    <a:pt x="46" y="38"/>
                  </a:cubicBezTo>
                  <a:cubicBezTo>
                    <a:pt x="49" y="39"/>
                    <a:pt x="53" y="37"/>
                    <a:pt x="56" y="34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2" y="12"/>
                    <a:pt x="72" y="6"/>
                    <a:pt x="68" y="3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4" y="1"/>
                    <a:pt x="64" y="1"/>
                    <a:pt x="63" y="1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1"/>
                    <a:pt x="48" y="1"/>
                    <a:pt x="47" y="1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0" y="11"/>
                    <a:pt x="29" y="11"/>
                    <a:pt x="29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2"/>
                    <a:pt x="6" y="13"/>
                    <a:pt x="6" y="14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0" y="24"/>
                    <a:pt x="0" y="25"/>
                  </a:cubicBezTo>
                  <a:lnTo>
                    <a:pt x="7" y="3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4">
              <a:extLst>
                <a:ext uri="{FF2B5EF4-FFF2-40B4-BE49-F238E27FC236}">
                  <a16:creationId xmlns:a16="http://schemas.microsoft.com/office/drawing/2014/main" id="{4C9E5A7E-2942-4318-B81A-10B358D97F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600" y="3503613"/>
              <a:ext cx="215900" cy="92075"/>
            </a:xfrm>
            <a:custGeom>
              <a:avLst/>
              <a:gdLst>
                <a:gd name="T0" fmla="*/ 33 w 72"/>
                <a:gd name="T1" fmla="*/ 30 h 31"/>
                <a:gd name="T2" fmla="*/ 49 w 72"/>
                <a:gd name="T3" fmla="*/ 21 h 31"/>
                <a:gd name="T4" fmla="*/ 51 w 72"/>
                <a:gd name="T5" fmla="*/ 21 h 31"/>
                <a:gd name="T6" fmla="*/ 65 w 72"/>
                <a:gd name="T7" fmla="*/ 21 h 31"/>
                <a:gd name="T8" fmla="*/ 68 w 72"/>
                <a:gd name="T9" fmla="*/ 19 h 31"/>
                <a:gd name="T10" fmla="*/ 70 w 72"/>
                <a:gd name="T11" fmla="*/ 17 h 31"/>
                <a:gd name="T12" fmla="*/ 70 w 72"/>
                <a:gd name="T13" fmla="*/ 11 h 31"/>
                <a:gd name="T14" fmla="*/ 65 w 72"/>
                <a:gd name="T15" fmla="*/ 5 h 31"/>
                <a:gd name="T16" fmla="*/ 62 w 72"/>
                <a:gd name="T17" fmla="*/ 4 h 31"/>
                <a:gd name="T18" fmla="*/ 50 w 72"/>
                <a:gd name="T19" fmla="*/ 4 h 31"/>
                <a:gd name="T20" fmla="*/ 47 w 72"/>
                <a:gd name="T21" fmla="*/ 5 h 31"/>
                <a:gd name="T22" fmla="*/ 41 w 72"/>
                <a:gd name="T23" fmla="*/ 5 h 31"/>
                <a:gd name="T24" fmla="*/ 36 w 72"/>
                <a:gd name="T25" fmla="*/ 1 h 31"/>
                <a:gd name="T26" fmla="*/ 33 w 72"/>
                <a:gd name="T27" fmla="*/ 0 h 31"/>
                <a:gd name="T28" fmla="*/ 31 w 72"/>
                <a:gd name="T29" fmla="*/ 0 h 31"/>
                <a:gd name="T30" fmla="*/ 30 w 72"/>
                <a:gd name="T31" fmla="*/ 0 h 31"/>
                <a:gd name="T32" fmla="*/ 26 w 72"/>
                <a:gd name="T33" fmla="*/ 1 h 31"/>
                <a:gd name="T34" fmla="*/ 27 w 72"/>
                <a:gd name="T35" fmla="*/ 2 h 31"/>
                <a:gd name="T36" fmla="*/ 27 w 72"/>
                <a:gd name="T37" fmla="*/ 2 h 31"/>
                <a:gd name="T38" fmla="*/ 27 w 72"/>
                <a:gd name="T39" fmla="*/ 3 h 31"/>
                <a:gd name="T40" fmla="*/ 27 w 72"/>
                <a:gd name="T41" fmla="*/ 4 h 31"/>
                <a:gd name="T42" fmla="*/ 26 w 72"/>
                <a:gd name="T43" fmla="*/ 4 h 31"/>
                <a:gd name="T44" fmla="*/ 26 w 72"/>
                <a:gd name="T45" fmla="*/ 5 h 31"/>
                <a:gd name="T46" fmla="*/ 25 w 72"/>
                <a:gd name="T47" fmla="*/ 6 h 31"/>
                <a:gd name="T48" fmla="*/ 18 w 72"/>
                <a:gd name="T49" fmla="*/ 13 h 31"/>
                <a:gd name="T50" fmla="*/ 15 w 72"/>
                <a:gd name="T51" fmla="*/ 14 h 31"/>
                <a:gd name="T52" fmla="*/ 1 w 72"/>
                <a:gd name="T53" fmla="*/ 14 h 31"/>
                <a:gd name="T54" fmla="*/ 0 w 72"/>
                <a:gd name="T55" fmla="*/ 15 h 31"/>
                <a:gd name="T56" fmla="*/ 0 w 72"/>
                <a:gd name="T57" fmla="*/ 15 h 31"/>
                <a:gd name="T58" fmla="*/ 6 w 72"/>
                <a:gd name="T59" fmla="*/ 20 h 31"/>
                <a:gd name="T60" fmla="*/ 8 w 72"/>
                <a:gd name="T61" fmla="*/ 28 h 31"/>
                <a:gd name="T62" fmla="*/ 9 w 72"/>
                <a:gd name="T63" fmla="*/ 31 h 31"/>
                <a:gd name="T64" fmla="*/ 31 w 72"/>
                <a:gd name="T65" fmla="*/ 31 h 31"/>
                <a:gd name="T66" fmla="*/ 33 w 72"/>
                <a:gd name="T67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2" h="31">
                  <a:moveTo>
                    <a:pt x="33" y="30"/>
                  </a:move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1" y="21"/>
                    <a:pt x="51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6" y="21"/>
                    <a:pt x="67" y="20"/>
                    <a:pt x="68" y="19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2" y="15"/>
                    <a:pt x="72" y="13"/>
                    <a:pt x="70" y="11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4" y="4"/>
                    <a:pt x="63" y="4"/>
                    <a:pt x="62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9" y="4"/>
                    <a:pt x="48" y="4"/>
                    <a:pt x="47" y="5"/>
                  </a:cubicBezTo>
                  <a:cubicBezTo>
                    <a:pt x="45" y="7"/>
                    <a:pt x="42" y="7"/>
                    <a:pt x="41" y="5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5" y="0"/>
                    <a:pt x="34" y="0"/>
                    <a:pt x="3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1"/>
                    <a:pt x="27" y="1"/>
                    <a:pt x="27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2"/>
                    <a:pt x="27" y="3"/>
                    <a:pt x="27" y="3"/>
                  </a:cubicBezTo>
                  <a:cubicBezTo>
                    <a:pt x="27" y="3"/>
                    <a:pt x="27" y="3"/>
                    <a:pt x="27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6" y="6"/>
                    <a:pt x="25" y="6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7" y="14"/>
                    <a:pt x="16" y="14"/>
                    <a:pt x="15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0" y="14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3" y="15"/>
                    <a:pt x="5" y="18"/>
                    <a:pt x="6" y="20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9" y="29"/>
                    <a:pt x="9" y="30"/>
                    <a:pt x="9" y="31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1" y="31"/>
                    <a:pt x="32" y="31"/>
                    <a:pt x="33" y="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5">
              <a:extLst>
                <a:ext uri="{FF2B5EF4-FFF2-40B4-BE49-F238E27FC236}">
                  <a16:creationId xmlns:a16="http://schemas.microsoft.com/office/drawing/2014/main" id="{9158B677-6683-4F19-838F-756027516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6163" y="3595688"/>
              <a:ext cx="161925" cy="128588"/>
            </a:xfrm>
            <a:custGeom>
              <a:avLst/>
              <a:gdLst>
                <a:gd name="T0" fmla="*/ 47 w 54"/>
                <a:gd name="T1" fmla="*/ 24 h 43"/>
                <a:gd name="T2" fmla="*/ 52 w 54"/>
                <a:gd name="T3" fmla="*/ 21 h 43"/>
                <a:gd name="T4" fmla="*/ 54 w 54"/>
                <a:gd name="T5" fmla="*/ 17 h 43"/>
                <a:gd name="T6" fmla="*/ 51 w 54"/>
                <a:gd name="T7" fmla="*/ 13 h 43"/>
                <a:gd name="T8" fmla="*/ 49 w 54"/>
                <a:gd name="T9" fmla="*/ 13 h 43"/>
                <a:gd name="T10" fmla="*/ 45 w 54"/>
                <a:gd name="T11" fmla="*/ 8 h 43"/>
                <a:gd name="T12" fmla="*/ 45 w 54"/>
                <a:gd name="T13" fmla="*/ 7 h 43"/>
                <a:gd name="T14" fmla="*/ 45 w 54"/>
                <a:gd name="T15" fmla="*/ 7 h 43"/>
                <a:gd name="T16" fmla="*/ 41 w 54"/>
                <a:gd name="T17" fmla="*/ 6 h 43"/>
                <a:gd name="T18" fmla="*/ 31 w 54"/>
                <a:gd name="T19" fmla="*/ 1 h 43"/>
                <a:gd name="T20" fmla="*/ 27 w 54"/>
                <a:gd name="T21" fmla="*/ 0 h 43"/>
                <a:gd name="T22" fmla="*/ 19 w 54"/>
                <a:gd name="T23" fmla="*/ 0 h 43"/>
                <a:gd name="T24" fmla="*/ 1 w 54"/>
                <a:gd name="T25" fmla="*/ 29 h 43"/>
                <a:gd name="T26" fmla="*/ 4 w 54"/>
                <a:gd name="T27" fmla="*/ 34 h 43"/>
                <a:gd name="T28" fmla="*/ 5 w 54"/>
                <a:gd name="T29" fmla="*/ 34 h 43"/>
                <a:gd name="T30" fmla="*/ 8 w 54"/>
                <a:gd name="T31" fmla="*/ 37 h 43"/>
                <a:gd name="T32" fmla="*/ 8 w 54"/>
                <a:gd name="T33" fmla="*/ 43 h 43"/>
                <a:gd name="T34" fmla="*/ 9 w 54"/>
                <a:gd name="T35" fmla="*/ 43 h 43"/>
                <a:gd name="T36" fmla="*/ 15 w 54"/>
                <a:gd name="T37" fmla="*/ 43 h 43"/>
                <a:gd name="T38" fmla="*/ 19 w 54"/>
                <a:gd name="T39" fmla="*/ 39 h 43"/>
                <a:gd name="T40" fmla="*/ 23 w 54"/>
                <a:gd name="T41" fmla="*/ 35 h 43"/>
                <a:gd name="T42" fmla="*/ 37 w 54"/>
                <a:gd name="T43" fmla="*/ 35 h 43"/>
                <a:gd name="T44" fmla="*/ 44 w 54"/>
                <a:gd name="T45" fmla="*/ 32 h 43"/>
                <a:gd name="T46" fmla="*/ 44 w 54"/>
                <a:gd name="T47" fmla="*/ 32 h 43"/>
                <a:gd name="T48" fmla="*/ 44 w 54"/>
                <a:gd name="T49" fmla="*/ 29 h 43"/>
                <a:gd name="T50" fmla="*/ 47 w 54"/>
                <a:gd name="T51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43">
                  <a:moveTo>
                    <a:pt x="47" y="24"/>
                  </a:moveTo>
                  <a:cubicBezTo>
                    <a:pt x="52" y="21"/>
                    <a:pt x="52" y="21"/>
                    <a:pt x="52" y="21"/>
                  </a:cubicBezTo>
                  <a:cubicBezTo>
                    <a:pt x="54" y="20"/>
                    <a:pt x="54" y="18"/>
                    <a:pt x="54" y="17"/>
                  </a:cubicBezTo>
                  <a:cubicBezTo>
                    <a:pt x="54" y="15"/>
                    <a:pt x="53" y="13"/>
                    <a:pt x="51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7" y="13"/>
                    <a:pt x="45" y="11"/>
                    <a:pt x="45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3" y="7"/>
                    <a:pt x="42" y="6"/>
                    <a:pt x="41" y="6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0" y="0"/>
                    <a:pt x="28" y="0"/>
                    <a:pt x="27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0" y="31"/>
                    <a:pt x="1" y="34"/>
                    <a:pt x="4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7" y="34"/>
                    <a:pt x="8" y="36"/>
                    <a:pt x="8" y="37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7" y="43"/>
                    <a:pt x="19" y="41"/>
                    <a:pt x="19" y="39"/>
                  </a:cubicBezTo>
                  <a:cubicBezTo>
                    <a:pt x="19" y="37"/>
                    <a:pt x="21" y="35"/>
                    <a:pt x="23" y="35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40" y="35"/>
                    <a:pt x="42" y="34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7"/>
                    <a:pt x="45" y="25"/>
                    <a:pt x="47" y="2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6">
              <a:extLst>
                <a:ext uri="{FF2B5EF4-FFF2-40B4-BE49-F238E27FC236}">
                  <a16:creationId xmlns:a16="http://schemas.microsoft.com/office/drawing/2014/main" id="{0A94C8C7-8AB4-4E36-9A8B-D411B600A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0" y="3365501"/>
              <a:ext cx="119063" cy="114300"/>
            </a:xfrm>
            <a:custGeom>
              <a:avLst/>
              <a:gdLst>
                <a:gd name="T0" fmla="*/ 24 w 40"/>
                <a:gd name="T1" fmla="*/ 31 h 38"/>
                <a:gd name="T2" fmla="*/ 32 w 40"/>
                <a:gd name="T3" fmla="*/ 17 h 38"/>
                <a:gd name="T4" fmla="*/ 40 w 40"/>
                <a:gd name="T5" fmla="*/ 4 h 38"/>
                <a:gd name="T6" fmla="*/ 40 w 40"/>
                <a:gd name="T7" fmla="*/ 2 h 38"/>
                <a:gd name="T8" fmla="*/ 39 w 40"/>
                <a:gd name="T9" fmla="*/ 0 h 38"/>
                <a:gd name="T10" fmla="*/ 24 w 40"/>
                <a:gd name="T11" fmla="*/ 1 h 38"/>
                <a:gd name="T12" fmla="*/ 22 w 40"/>
                <a:gd name="T13" fmla="*/ 1 h 38"/>
                <a:gd name="T14" fmla="*/ 17 w 40"/>
                <a:gd name="T15" fmla="*/ 5 h 38"/>
                <a:gd name="T16" fmla="*/ 16 w 40"/>
                <a:gd name="T17" fmla="*/ 9 h 38"/>
                <a:gd name="T18" fmla="*/ 18 w 40"/>
                <a:gd name="T19" fmla="*/ 13 h 38"/>
                <a:gd name="T20" fmla="*/ 16 w 40"/>
                <a:gd name="T21" fmla="*/ 17 h 38"/>
                <a:gd name="T22" fmla="*/ 11 w 40"/>
                <a:gd name="T23" fmla="*/ 15 h 38"/>
                <a:gd name="T24" fmla="*/ 11 w 40"/>
                <a:gd name="T25" fmla="*/ 15 h 38"/>
                <a:gd name="T26" fmla="*/ 6 w 40"/>
                <a:gd name="T27" fmla="*/ 13 h 38"/>
                <a:gd name="T28" fmla="*/ 4 w 40"/>
                <a:gd name="T29" fmla="*/ 15 h 38"/>
                <a:gd name="T30" fmla="*/ 2 w 40"/>
                <a:gd name="T31" fmla="*/ 17 h 38"/>
                <a:gd name="T32" fmla="*/ 0 w 40"/>
                <a:gd name="T33" fmla="*/ 26 h 38"/>
                <a:gd name="T34" fmla="*/ 9 w 40"/>
                <a:gd name="T35" fmla="*/ 26 h 38"/>
                <a:gd name="T36" fmla="*/ 23 w 40"/>
                <a:gd name="T37" fmla="*/ 36 h 38"/>
                <a:gd name="T38" fmla="*/ 24 w 40"/>
                <a:gd name="T39" fmla="*/ 37 h 38"/>
                <a:gd name="T40" fmla="*/ 24 w 40"/>
                <a:gd name="T41" fmla="*/ 38 h 38"/>
                <a:gd name="T42" fmla="*/ 24 w 40"/>
                <a:gd name="T43" fmla="*/ 38 h 38"/>
                <a:gd name="T44" fmla="*/ 24 w 40"/>
                <a:gd name="T45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38">
                  <a:moveTo>
                    <a:pt x="24" y="31"/>
                  </a:moveTo>
                  <a:cubicBezTo>
                    <a:pt x="24" y="25"/>
                    <a:pt x="27" y="20"/>
                    <a:pt x="32" y="17"/>
                  </a:cubicBezTo>
                  <a:cubicBezTo>
                    <a:pt x="37" y="14"/>
                    <a:pt x="40" y="9"/>
                    <a:pt x="40" y="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2"/>
                    <a:pt x="40" y="1"/>
                    <a:pt x="39" y="0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4" y="1"/>
                    <a:pt x="23" y="1"/>
                    <a:pt x="22" y="1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6"/>
                    <a:pt x="16" y="8"/>
                    <a:pt x="16" y="9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5"/>
                    <a:pt x="18" y="16"/>
                    <a:pt x="16" y="17"/>
                  </a:cubicBezTo>
                  <a:cubicBezTo>
                    <a:pt x="15" y="19"/>
                    <a:pt x="12" y="18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3"/>
                    <a:pt x="8" y="12"/>
                    <a:pt x="6" y="13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3" y="16"/>
                    <a:pt x="2" y="1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15" y="26"/>
                    <a:pt x="21" y="30"/>
                    <a:pt x="23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8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lnTo>
                    <a:pt x="24" y="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7">
              <a:extLst>
                <a:ext uri="{FF2B5EF4-FFF2-40B4-BE49-F238E27FC236}">
                  <a16:creationId xmlns:a16="http://schemas.microsoft.com/office/drawing/2014/main" id="{3382EC44-1851-47EE-B41D-96080788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7575" y="3443288"/>
              <a:ext cx="128588" cy="107950"/>
            </a:xfrm>
            <a:custGeom>
              <a:avLst/>
              <a:gdLst>
                <a:gd name="T0" fmla="*/ 39 w 43"/>
                <a:gd name="T1" fmla="*/ 28 h 36"/>
                <a:gd name="T2" fmla="*/ 42 w 43"/>
                <a:gd name="T3" fmla="*/ 22 h 36"/>
                <a:gd name="T4" fmla="*/ 42 w 43"/>
                <a:gd name="T5" fmla="*/ 11 h 36"/>
                <a:gd name="T6" fmla="*/ 41 w 43"/>
                <a:gd name="T7" fmla="*/ 10 h 36"/>
                <a:gd name="T8" fmla="*/ 27 w 43"/>
                <a:gd name="T9" fmla="*/ 0 h 36"/>
                <a:gd name="T10" fmla="*/ 18 w 43"/>
                <a:gd name="T11" fmla="*/ 0 h 36"/>
                <a:gd name="T12" fmla="*/ 18 w 43"/>
                <a:gd name="T13" fmla="*/ 1 h 36"/>
                <a:gd name="T14" fmla="*/ 17 w 43"/>
                <a:gd name="T15" fmla="*/ 3 h 36"/>
                <a:gd name="T16" fmla="*/ 4 w 43"/>
                <a:gd name="T17" fmla="*/ 14 h 36"/>
                <a:gd name="T18" fmla="*/ 0 w 43"/>
                <a:gd name="T19" fmla="*/ 15 h 36"/>
                <a:gd name="T20" fmla="*/ 26 w 43"/>
                <a:gd name="T21" fmla="*/ 35 h 36"/>
                <a:gd name="T22" fmla="*/ 28 w 43"/>
                <a:gd name="T23" fmla="*/ 36 h 36"/>
                <a:gd name="T24" fmla="*/ 32 w 43"/>
                <a:gd name="T25" fmla="*/ 36 h 36"/>
                <a:gd name="T26" fmla="*/ 39 w 43"/>
                <a:gd name="T2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" h="36">
                  <a:moveTo>
                    <a:pt x="39" y="28"/>
                  </a:moveTo>
                  <a:cubicBezTo>
                    <a:pt x="42" y="22"/>
                    <a:pt x="42" y="22"/>
                    <a:pt x="42" y="22"/>
                  </a:cubicBezTo>
                  <a:cubicBezTo>
                    <a:pt x="43" y="19"/>
                    <a:pt x="43" y="14"/>
                    <a:pt x="42" y="11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9" y="4"/>
                    <a:pt x="33" y="0"/>
                    <a:pt x="2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6"/>
                    <a:pt x="27" y="36"/>
                    <a:pt x="28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5" y="34"/>
                    <a:pt x="38" y="31"/>
                    <a:pt x="39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8">
              <a:extLst>
                <a:ext uri="{FF2B5EF4-FFF2-40B4-BE49-F238E27FC236}">
                  <a16:creationId xmlns:a16="http://schemas.microsoft.com/office/drawing/2014/main" id="{754F55B3-D951-4B2B-B6C9-BEB11C0BD9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5" y="3662363"/>
              <a:ext cx="409575" cy="396875"/>
            </a:xfrm>
            <a:custGeom>
              <a:avLst/>
              <a:gdLst>
                <a:gd name="T0" fmla="*/ 70 w 137"/>
                <a:gd name="T1" fmla="*/ 9 h 133"/>
                <a:gd name="T2" fmla="*/ 64 w 137"/>
                <a:gd name="T3" fmla="*/ 5 h 133"/>
                <a:gd name="T4" fmla="*/ 51 w 137"/>
                <a:gd name="T5" fmla="*/ 2 h 133"/>
                <a:gd name="T6" fmla="*/ 44 w 137"/>
                <a:gd name="T7" fmla="*/ 6 h 133"/>
                <a:gd name="T8" fmla="*/ 36 w 137"/>
                <a:gd name="T9" fmla="*/ 10 h 133"/>
                <a:gd name="T10" fmla="*/ 15 w 137"/>
                <a:gd name="T11" fmla="*/ 13 h 133"/>
                <a:gd name="T12" fmla="*/ 7 w 137"/>
                <a:gd name="T13" fmla="*/ 21 h 133"/>
                <a:gd name="T14" fmla="*/ 0 w 137"/>
                <a:gd name="T15" fmla="*/ 21 h 133"/>
                <a:gd name="T16" fmla="*/ 4 w 137"/>
                <a:gd name="T17" fmla="*/ 41 h 133"/>
                <a:gd name="T18" fmla="*/ 7 w 137"/>
                <a:gd name="T19" fmla="*/ 51 h 133"/>
                <a:gd name="T20" fmla="*/ 26 w 137"/>
                <a:gd name="T21" fmla="*/ 43 h 133"/>
                <a:gd name="T22" fmla="*/ 40 w 137"/>
                <a:gd name="T23" fmla="*/ 55 h 133"/>
                <a:gd name="T24" fmla="*/ 50 w 137"/>
                <a:gd name="T25" fmla="*/ 68 h 133"/>
                <a:gd name="T26" fmla="*/ 64 w 137"/>
                <a:gd name="T27" fmla="*/ 79 h 133"/>
                <a:gd name="T28" fmla="*/ 81 w 137"/>
                <a:gd name="T29" fmla="*/ 87 h 133"/>
                <a:gd name="T30" fmla="*/ 94 w 137"/>
                <a:gd name="T31" fmla="*/ 99 h 133"/>
                <a:gd name="T32" fmla="*/ 108 w 137"/>
                <a:gd name="T33" fmla="*/ 111 h 133"/>
                <a:gd name="T34" fmla="*/ 109 w 137"/>
                <a:gd name="T35" fmla="*/ 114 h 133"/>
                <a:gd name="T36" fmla="*/ 108 w 137"/>
                <a:gd name="T37" fmla="*/ 133 h 133"/>
                <a:gd name="T38" fmla="*/ 117 w 137"/>
                <a:gd name="T39" fmla="*/ 123 h 133"/>
                <a:gd name="T40" fmla="*/ 121 w 137"/>
                <a:gd name="T41" fmla="*/ 115 h 133"/>
                <a:gd name="T42" fmla="*/ 116 w 137"/>
                <a:gd name="T43" fmla="*/ 105 h 133"/>
                <a:gd name="T44" fmla="*/ 120 w 137"/>
                <a:gd name="T45" fmla="*/ 100 h 133"/>
                <a:gd name="T46" fmla="*/ 130 w 137"/>
                <a:gd name="T47" fmla="*/ 106 h 133"/>
                <a:gd name="T48" fmla="*/ 137 w 137"/>
                <a:gd name="T49" fmla="*/ 106 h 133"/>
                <a:gd name="T50" fmla="*/ 133 w 137"/>
                <a:gd name="T51" fmla="*/ 97 h 133"/>
                <a:gd name="T52" fmla="*/ 117 w 137"/>
                <a:gd name="T53" fmla="*/ 88 h 133"/>
                <a:gd name="T54" fmla="*/ 109 w 137"/>
                <a:gd name="T55" fmla="*/ 84 h 133"/>
                <a:gd name="T56" fmla="*/ 102 w 137"/>
                <a:gd name="T57" fmla="*/ 78 h 133"/>
                <a:gd name="T58" fmla="*/ 91 w 137"/>
                <a:gd name="T59" fmla="*/ 74 h 133"/>
                <a:gd name="T60" fmla="*/ 82 w 137"/>
                <a:gd name="T61" fmla="*/ 56 h 133"/>
                <a:gd name="T62" fmla="*/ 63 w 137"/>
                <a:gd name="T63" fmla="*/ 41 h 133"/>
                <a:gd name="T64" fmla="*/ 68 w 137"/>
                <a:gd name="T65" fmla="*/ 22 h 133"/>
                <a:gd name="T66" fmla="*/ 76 w 137"/>
                <a:gd name="T67" fmla="*/ 22 h 133"/>
                <a:gd name="T68" fmla="*/ 76 w 137"/>
                <a:gd name="T69" fmla="*/ 2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" h="133">
                  <a:moveTo>
                    <a:pt x="76" y="20"/>
                  </a:moveTo>
                  <a:cubicBezTo>
                    <a:pt x="78" y="15"/>
                    <a:pt x="75" y="10"/>
                    <a:pt x="70" y="9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5" y="7"/>
                    <a:pt x="64" y="6"/>
                    <a:pt x="64" y="5"/>
                  </a:cubicBezTo>
                  <a:cubicBezTo>
                    <a:pt x="63" y="3"/>
                    <a:pt x="61" y="2"/>
                    <a:pt x="59" y="2"/>
                  </a:cubicBezTo>
                  <a:cubicBezTo>
                    <a:pt x="59" y="2"/>
                    <a:pt x="52" y="0"/>
                    <a:pt x="51" y="2"/>
                  </a:cubicBezTo>
                  <a:cubicBezTo>
                    <a:pt x="50" y="3"/>
                    <a:pt x="50" y="6"/>
                    <a:pt x="50" y="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2" y="6"/>
                    <a:pt x="39" y="7"/>
                    <a:pt x="38" y="8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4" y="12"/>
                    <a:pt x="32" y="13"/>
                    <a:pt x="29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3" y="13"/>
                    <a:pt x="11" y="15"/>
                    <a:pt x="11" y="17"/>
                  </a:cubicBezTo>
                  <a:cubicBezTo>
                    <a:pt x="11" y="19"/>
                    <a:pt x="9" y="21"/>
                    <a:pt x="7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0" y="21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0"/>
                    <a:pt x="2" y="41"/>
                    <a:pt x="4" y="41"/>
                  </a:cubicBezTo>
                  <a:cubicBezTo>
                    <a:pt x="5" y="41"/>
                    <a:pt x="7" y="42"/>
                    <a:pt x="7" y="44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7" y="44"/>
                    <a:pt x="22" y="42"/>
                    <a:pt x="26" y="43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35" y="46"/>
                    <a:pt x="39" y="50"/>
                    <a:pt x="40" y="55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3" y="62"/>
                    <a:pt x="46" y="66"/>
                    <a:pt x="50" y="68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7" y="83"/>
                    <a:pt x="72" y="86"/>
                    <a:pt x="77" y="87"/>
                  </a:cubicBezTo>
                  <a:cubicBezTo>
                    <a:pt x="79" y="87"/>
                    <a:pt x="81" y="87"/>
                    <a:pt x="81" y="87"/>
                  </a:cubicBezTo>
                  <a:cubicBezTo>
                    <a:pt x="82" y="87"/>
                    <a:pt x="85" y="92"/>
                    <a:pt x="88" y="95"/>
                  </a:cubicBezTo>
                  <a:cubicBezTo>
                    <a:pt x="89" y="97"/>
                    <a:pt x="92" y="98"/>
                    <a:pt x="94" y="99"/>
                  </a:cubicBezTo>
                  <a:cubicBezTo>
                    <a:pt x="97" y="100"/>
                    <a:pt x="97" y="100"/>
                    <a:pt x="97" y="100"/>
                  </a:cubicBezTo>
                  <a:cubicBezTo>
                    <a:pt x="102" y="102"/>
                    <a:pt x="106" y="106"/>
                    <a:pt x="108" y="111"/>
                  </a:cubicBezTo>
                  <a:cubicBezTo>
                    <a:pt x="108" y="111"/>
                    <a:pt x="108" y="111"/>
                    <a:pt x="108" y="111"/>
                  </a:cubicBezTo>
                  <a:cubicBezTo>
                    <a:pt x="109" y="112"/>
                    <a:pt x="109" y="113"/>
                    <a:pt x="109" y="114"/>
                  </a:cubicBezTo>
                  <a:cubicBezTo>
                    <a:pt x="109" y="114"/>
                    <a:pt x="105" y="127"/>
                    <a:pt x="106" y="131"/>
                  </a:cubicBezTo>
                  <a:cubicBezTo>
                    <a:pt x="106" y="132"/>
                    <a:pt x="107" y="133"/>
                    <a:pt x="108" y="133"/>
                  </a:cubicBezTo>
                  <a:cubicBezTo>
                    <a:pt x="111" y="133"/>
                    <a:pt x="116" y="124"/>
                    <a:pt x="116" y="124"/>
                  </a:cubicBezTo>
                  <a:cubicBezTo>
                    <a:pt x="116" y="124"/>
                    <a:pt x="117" y="124"/>
                    <a:pt x="117" y="123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22" y="120"/>
                    <a:pt x="122" y="117"/>
                    <a:pt x="121" y="115"/>
                  </a:cubicBezTo>
                  <a:cubicBezTo>
                    <a:pt x="117" y="110"/>
                    <a:pt x="117" y="110"/>
                    <a:pt x="117" y="110"/>
                  </a:cubicBezTo>
                  <a:cubicBezTo>
                    <a:pt x="116" y="109"/>
                    <a:pt x="116" y="107"/>
                    <a:pt x="116" y="105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17" y="102"/>
                    <a:pt x="119" y="100"/>
                    <a:pt x="120" y="100"/>
                  </a:cubicBezTo>
                  <a:cubicBezTo>
                    <a:pt x="122" y="100"/>
                    <a:pt x="124" y="100"/>
                    <a:pt x="125" y="101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31" y="107"/>
                    <a:pt x="133" y="108"/>
                    <a:pt x="135" y="107"/>
                  </a:cubicBezTo>
                  <a:cubicBezTo>
                    <a:pt x="137" y="106"/>
                    <a:pt x="137" y="106"/>
                    <a:pt x="137" y="106"/>
                  </a:cubicBezTo>
                  <a:cubicBezTo>
                    <a:pt x="135" y="100"/>
                    <a:pt x="135" y="100"/>
                    <a:pt x="135" y="100"/>
                  </a:cubicBezTo>
                  <a:cubicBezTo>
                    <a:pt x="135" y="98"/>
                    <a:pt x="134" y="97"/>
                    <a:pt x="133" y="97"/>
                  </a:cubicBezTo>
                  <a:cubicBezTo>
                    <a:pt x="118" y="88"/>
                    <a:pt x="118" y="88"/>
                    <a:pt x="118" y="8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14" y="88"/>
                    <a:pt x="112" y="87"/>
                    <a:pt x="110" y="85"/>
                  </a:cubicBezTo>
                  <a:cubicBezTo>
                    <a:pt x="109" y="84"/>
                    <a:pt x="109" y="84"/>
                    <a:pt x="109" y="84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09" y="79"/>
                    <a:pt x="105" y="78"/>
                    <a:pt x="102" y="78"/>
                  </a:cubicBezTo>
                  <a:cubicBezTo>
                    <a:pt x="102" y="78"/>
                    <a:pt x="102" y="78"/>
                    <a:pt x="102" y="78"/>
                  </a:cubicBezTo>
                  <a:cubicBezTo>
                    <a:pt x="98" y="78"/>
                    <a:pt x="94" y="77"/>
                    <a:pt x="91" y="74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5" y="45"/>
                    <a:pt x="64" y="43"/>
                    <a:pt x="63" y="41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0" y="29"/>
                    <a:pt x="63" y="23"/>
                    <a:pt x="68" y="2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6" y="22"/>
                    <a:pt x="76" y="22"/>
                  </a:cubicBezTo>
                  <a:lnTo>
                    <a:pt x="76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9">
              <a:extLst>
                <a:ext uri="{FF2B5EF4-FFF2-40B4-BE49-F238E27FC236}">
                  <a16:creationId xmlns:a16="http://schemas.microsoft.com/office/drawing/2014/main" id="{783AEDF5-D6E0-4B86-A277-6D08E96429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3489326"/>
              <a:ext cx="466725" cy="384175"/>
            </a:xfrm>
            <a:custGeom>
              <a:avLst/>
              <a:gdLst>
                <a:gd name="T0" fmla="*/ 147 w 156"/>
                <a:gd name="T1" fmla="*/ 99 h 129"/>
                <a:gd name="T2" fmla="*/ 143 w 156"/>
                <a:gd name="T3" fmla="*/ 96 h 129"/>
                <a:gd name="T4" fmla="*/ 143 w 156"/>
                <a:gd name="T5" fmla="*/ 73 h 129"/>
                <a:gd name="T6" fmla="*/ 140 w 156"/>
                <a:gd name="T7" fmla="*/ 70 h 129"/>
                <a:gd name="T8" fmla="*/ 139 w 156"/>
                <a:gd name="T9" fmla="*/ 70 h 129"/>
                <a:gd name="T10" fmla="*/ 136 w 156"/>
                <a:gd name="T11" fmla="*/ 65 h 129"/>
                <a:gd name="T12" fmla="*/ 155 w 156"/>
                <a:gd name="T13" fmla="*/ 35 h 129"/>
                <a:gd name="T14" fmla="*/ 156 w 156"/>
                <a:gd name="T15" fmla="*/ 33 h 129"/>
                <a:gd name="T16" fmla="*/ 156 w 156"/>
                <a:gd name="T17" fmla="*/ 30 h 129"/>
                <a:gd name="T18" fmla="*/ 152 w 156"/>
                <a:gd name="T19" fmla="*/ 27 h 129"/>
                <a:gd name="T20" fmla="*/ 143 w 156"/>
                <a:gd name="T21" fmla="*/ 27 h 129"/>
                <a:gd name="T22" fmla="*/ 140 w 156"/>
                <a:gd name="T23" fmla="*/ 26 h 129"/>
                <a:gd name="T24" fmla="*/ 136 w 156"/>
                <a:gd name="T25" fmla="*/ 22 h 129"/>
                <a:gd name="T26" fmla="*/ 134 w 156"/>
                <a:gd name="T27" fmla="*/ 21 h 129"/>
                <a:gd name="T28" fmla="*/ 120 w 156"/>
                <a:gd name="T29" fmla="*/ 21 h 129"/>
                <a:gd name="T30" fmla="*/ 118 w 156"/>
                <a:gd name="T31" fmla="*/ 20 h 129"/>
                <a:gd name="T32" fmla="*/ 92 w 156"/>
                <a:gd name="T33" fmla="*/ 0 h 129"/>
                <a:gd name="T34" fmla="*/ 83 w 156"/>
                <a:gd name="T35" fmla="*/ 4 h 129"/>
                <a:gd name="T36" fmla="*/ 82 w 156"/>
                <a:gd name="T37" fmla="*/ 13 h 129"/>
                <a:gd name="T38" fmla="*/ 61 w 156"/>
                <a:gd name="T39" fmla="*/ 25 h 129"/>
                <a:gd name="T40" fmla="*/ 57 w 156"/>
                <a:gd name="T41" fmla="*/ 26 h 129"/>
                <a:gd name="T42" fmla="*/ 44 w 156"/>
                <a:gd name="T43" fmla="*/ 21 h 129"/>
                <a:gd name="T44" fmla="*/ 39 w 156"/>
                <a:gd name="T45" fmla="*/ 22 h 129"/>
                <a:gd name="T46" fmla="*/ 42 w 156"/>
                <a:gd name="T47" fmla="*/ 28 h 129"/>
                <a:gd name="T48" fmla="*/ 40 w 156"/>
                <a:gd name="T49" fmla="*/ 34 h 129"/>
                <a:gd name="T50" fmla="*/ 35 w 156"/>
                <a:gd name="T51" fmla="*/ 36 h 129"/>
                <a:gd name="T52" fmla="*/ 33 w 156"/>
                <a:gd name="T53" fmla="*/ 37 h 129"/>
                <a:gd name="T54" fmla="*/ 33 w 156"/>
                <a:gd name="T55" fmla="*/ 37 h 129"/>
                <a:gd name="T56" fmla="*/ 26 w 156"/>
                <a:gd name="T57" fmla="*/ 38 h 129"/>
                <a:gd name="T58" fmla="*/ 26 w 156"/>
                <a:gd name="T59" fmla="*/ 37 h 129"/>
                <a:gd name="T60" fmla="*/ 23 w 156"/>
                <a:gd name="T61" fmla="*/ 36 h 129"/>
                <a:gd name="T62" fmla="*/ 6 w 156"/>
                <a:gd name="T63" fmla="*/ 36 h 129"/>
                <a:gd name="T64" fmla="*/ 3 w 156"/>
                <a:gd name="T65" fmla="*/ 37 h 129"/>
                <a:gd name="T66" fmla="*/ 1 w 156"/>
                <a:gd name="T67" fmla="*/ 39 h 129"/>
                <a:gd name="T68" fmla="*/ 1 w 156"/>
                <a:gd name="T69" fmla="*/ 44 h 129"/>
                <a:gd name="T70" fmla="*/ 3 w 156"/>
                <a:gd name="T71" fmla="*/ 48 h 129"/>
                <a:gd name="T72" fmla="*/ 6 w 156"/>
                <a:gd name="T73" fmla="*/ 50 h 129"/>
                <a:gd name="T74" fmla="*/ 22 w 156"/>
                <a:gd name="T75" fmla="*/ 50 h 129"/>
                <a:gd name="T76" fmla="*/ 25 w 156"/>
                <a:gd name="T77" fmla="*/ 51 h 129"/>
                <a:gd name="T78" fmla="*/ 41 w 156"/>
                <a:gd name="T79" fmla="*/ 71 h 129"/>
                <a:gd name="T80" fmla="*/ 41 w 156"/>
                <a:gd name="T81" fmla="*/ 71 h 129"/>
                <a:gd name="T82" fmla="*/ 47 w 156"/>
                <a:gd name="T83" fmla="*/ 80 h 129"/>
                <a:gd name="T84" fmla="*/ 45 w 156"/>
                <a:gd name="T85" fmla="*/ 86 h 129"/>
                <a:gd name="T86" fmla="*/ 42 w 156"/>
                <a:gd name="T87" fmla="*/ 90 h 129"/>
                <a:gd name="T88" fmla="*/ 42 w 156"/>
                <a:gd name="T89" fmla="*/ 110 h 129"/>
                <a:gd name="T90" fmla="*/ 39 w 156"/>
                <a:gd name="T91" fmla="*/ 114 h 129"/>
                <a:gd name="T92" fmla="*/ 64 w 156"/>
                <a:gd name="T93" fmla="*/ 123 h 129"/>
                <a:gd name="T94" fmla="*/ 71 w 156"/>
                <a:gd name="T95" fmla="*/ 122 h 129"/>
                <a:gd name="T96" fmla="*/ 78 w 156"/>
                <a:gd name="T97" fmla="*/ 120 h 129"/>
                <a:gd name="T98" fmla="*/ 99 w 156"/>
                <a:gd name="T99" fmla="*/ 129 h 129"/>
                <a:gd name="T100" fmla="*/ 100 w 156"/>
                <a:gd name="T101" fmla="*/ 128 h 129"/>
                <a:gd name="T102" fmla="*/ 99 w 156"/>
                <a:gd name="T103" fmla="*/ 124 h 129"/>
                <a:gd name="T104" fmla="*/ 103 w 156"/>
                <a:gd name="T105" fmla="*/ 115 h 129"/>
                <a:gd name="T106" fmla="*/ 104 w 156"/>
                <a:gd name="T107" fmla="*/ 114 h 129"/>
                <a:gd name="T108" fmla="*/ 109 w 156"/>
                <a:gd name="T109" fmla="*/ 113 h 129"/>
                <a:gd name="T110" fmla="*/ 128 w 156"/>
                <a:gd name="T111" fmla="*/ 117 h 129"/>
                <a:gd name="T112" fmla="*/ 128 w 156"/>
                <a:gd name="T113" fmla="*/ 117 h 129"/>
                <a:gd name="T114" fmla="*/ 133 w 156"/>
                <a:gd name="T115" fmla="*/ 118 h 129"/>
                <a:gd name="T116" fmla="*/ 139 w 156"/>
                <a:gd name="T117" fmla="*/ 116 h 129"/>
                <a:gd name="T118" fmla="*/ 145 w 156"/>
                <a:gd name="T119" fmla="*/ 110 h 129"/>
                <a:gd name="T120" fmla="*/ 150 w 156"/>
                <a:gd name="T121" fmla="*/ 109 h 129"/>
                <a:gd name="T122" fmla="*/ 150 w 156"/>
                <a:gd name="T123" fmla="*/ 102 h 129"/>
                <a:gd name="T124" fmla="*/ 147 w 156"/>
                <a:gd name="T125" fmla="*/ 9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6" h="129">
                  <a:moveTo>
                    <a:pt x="147" y="99"/>
                  </a:moveTo>
                  <a:cubicBezTo>
                    <a:pt x="145" y="99"/>
                    <a:pt x="143" y="98"/>
                    <a:pt x="143" y="96"/>
                  </a:cubicBezTo>
                  <a:cubicBezTo>
                    <a:pt x="143" y="73"/>
                    <a:pt x="143" y="73"/>
                    <a:pt x="143" y="73"/>
                  </a:cubicBezTo>
                  <a:cubicBezTo>
                    <a:pt x="143" y="72"/>
                    <a:pt x="142" y="70"/>
                    <a:pt x="140" y="7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6" y="70"/>
                    <a:pt x="135" y="67"/>
                    <a:pt x="136" y="65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5" y="34"/>
                    <a:pt x="156" y="34"/>
                    <a:pt x="156" y="33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28"/>
                    <a:pt x="154" y="27"/>
                    <a:pt x="152" y="27"/>
                  </a:cubicBezTo>
                  <a:cubicBezTo>
                    <a:pt x="143" y="27"/>
                    <a:pt x="143" y="27"/>
                    <a:pt x="143" y="27"/>
                  </a:cubicBezTo>
                  <a:cubicBezTo>
                    <a:pt x="142" y="27"/>
                    <a:pt x="141" y="27"/>
                    <a:pt x="140" y="26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5" y="21"/>
                    <a:pt x="135" y="21"/>
                    <a:pt x="134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19" y="21"/>
                    <a:pt x="118" y="21"/>
                    <a:pt x="118" y="2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0" y="26"/>
                    <a:pt x="58" y="26"/>
                    <a:pt x="57" y="26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3" y="31"/>
                    <a:pt x="42" y="34"/>
                    <a:pt x="40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4" y="36"/>
                    <a:pt x="34" y="36"/>
                    <a:pt x="33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1" y="40"/>
                    <a:pt x="28" y="40"/>
                    <a:pt x="26" y="38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5" y="36"/>
                    <a:pt x="24" y="36"/>
                    <a:pt x="23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5" y="36"/>
                    <a:pt x="4" y="36"/>
                    <a:pt x="3" y="37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41"/>
                    <a:pt x="0" y="43"/>
                    <a:pt x="1" y="44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4" y="49"/>
                    <a:pt x="5" y="50"/>
                    <a:pt x="6" y="50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3" y="50"/>
                    <a:pt x="24" y="50"/>
                    <a:pt x="25" y="5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8" y="82"/>
                    <a:pt x="47" y="85"/>
                    <a:pt x="45" y="86"/>
                  </a:cubicBezTo>
                  <a:cubicBezTo>
                    <a:pt x="43" y="86"/>
                    <a:pt x="42" y="88"/>
                    <a:pt x="42" y="90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2"/>
                    <a:pt x="40" y="113"/>
                    <a:pt x="39" y="114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6" y="124"/>
                    <a:pt x="69" y="124"/>
                    <a:pt x="71" y="122"/>
                  </a:cubicBezTo>
                  <a:cubicBezTo>
                    <a:pt x="72" y="120"/>
                    <a:pt x="75" y="119"/>
                    <a:pt x="78" y="120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0" y="126"/>
                    <a:pt x="100" y="125"/>
                    <a:pt x="99" y="124"/>
                  </a:cubicBezTo>
                  <a:cubicBezTo>
                    <a:pt x="98" y="120"/>
                    <a:pt x="100" y="116"/>
                    <a:pt x="103" y="115"/>
                  </a:cubicBezTo>
                  <a:cubicBezTo>
                    <a:pt x="104" y="114"/>
                    <a:pt x="104" y="114"/>
                    <a:pt x="104" y="114"/>
                  </a:cubicBezTo>
                  <a:cubicBezTo>
                    <a:pt x="106" y="113"/>
                    <a:pt x="107" y="113"/>
                    <a:pt x="109" y="113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35" y="118"/>
                    <a:pt x="137" y="117"/>
                    <a:pt x="139" y="116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50" y="109"/>
                    <a:pt x="150" y="109"/>
                    <a:pt x="150" y="109"/>
                  </a:cubicBezTo>
                  <a:cubicBezTo>
                    <a:pt x="150" y="102"/>
                    <a:pt x="150" y="102"/>
                    <a:pt x="150" y="102"/>
                  </a:cubicBezTo>
                  <a:cubicBezTo>
                    <a:pt x="150" y="100"/>
                    <a:pt x="148" y="99"/>
                    <a:pt x="147" y="99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40">
              <a:extLst>
                <a:ext uri="{FF2B5EF4-FFF2-40B4-BE49-F238E27FC236}">
                  <a16:creationId xmlns:a16="http://schemas.microsoft.com/office/drawing/2014/main" id="{B53684F6-E121-40BA-ADD1-D54570926D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5775" y="3892551"/>
              <a:ext cx="117475" cy="193675"/>
            </a:xfrm>
            <a:custGeom>
              <a:avLst/>
              <a:gdLst>
                <a:gd name="T0" fmla="*/ 27 w 39"/>
                <a:gd name="T1" fmla="*/ 44 h 65"/>
                <a:gd name="T2" fmla="*/ 25 w 39"/>
                <a:gd name="T3" fmla="*/ 41 h 65"/>
                <a:gd name="T4" fmla="*/ 27 w 39"/>
                <a:gd name="T5" fmla="*/ 39 h 65"/>
                <a:gd name="T6" fmla="*/ 28 w 39"/>
                <a:gd name="T7" fmla="*/ 36 h 65"/>
                <a:gd name="T8" fmla="*/ 31 w 39"/>
                <a:gd name="T9" fmla="*/ 17 h 65"/>
                <a:gd name="T10" fmla="*/ 34 w 39"/>
                <a:gd name="T11" fmla="*/ 12 h 65"/>
                <a:gd name="T12" fmla="*/ 35 w 39"/>
                <a:gd name="T13" fmla="*/ 12 h 65"/>
                <a:gd name="T14" fmla="*/ 37 w 39"/>
                <a:gd name="T15" fmla="*/ 10 h 65"/>
                <a:gd name="T16" fmla="*/ 38 w 39"/>
                <a:gd name="T17" fmla="*/ 9 h 65"/>
                <a:gd name="T18" fmla="*/ 37 w 39"/>
                <a:gd name="T19" fmla="*/ 2 h 65"/>
                <a:gd name="T20" fmla="*/ 32 w 39"/>
                <a:gd name="T21" fmla="*/ 0 h 65"/>
                <a:gd name="T22" fmla="*/ 16 w 39"/>
                <a:gd name="T23" fmla="*/ 3 h 65"/>
                <a:gd name="T24" fmla="*/ 9 w 39"/>
                <a:gd name="T25" fmla="*/ 1 h 65"/>
                <a:gd name="T26" fmla="*/ 9 w 39"/>
                <a:gd name="T27" fmla="*/ 2 h 65"/>
                <a:gd name="T28" fmla="*/ 9 w 39"/>
                <a:gd name="T29" fmla="*/ 22 h 65"/>
                <a:gd name="T30" fmla="*/ 8 w 39"/>
                <a:gd name="T31" fmla="*/ 24 h 65"/>
                <a:gd name="T32" fmla="*/ 4 w 39"/>
                <a:gd name="T33" fmla="*/ 32 h 65"/>
                <a:gd name="T34" fmla="*/ 4 w 39"/>
                <a:gd name="T35" fmla="*/ 32 h 65"/>
                <a:gd name="T36" fmla="*/ 1 w 39"/>
                <a:gd name="T37" fmla="*/ 37 h 65"/>
                <a:gd name="T38" fmla="*/ 2 w 39"/>
                <a:gd name="T39" fmla="*/ 43 h 65"/>
                <a:gd name="T40" fmla="*/ 4 w 39"/>
                <a:gd name="T41" fmla="*/ 46 h 65"/>
                <a:gd name="T42" fmla="*/ 5 w 39"/>
                <a:gd name="T43" fmla="*/ 49 h 65"/>
                <a:gd name="T44" fmla="*/ 6 w 39"/>
                <a:gd name="T45" fmla="*/ 60 h 65"/>
                <a:gd name="T46" fmla="*/ 11 w 39"/>
                <a:gd name="T47" fmla="*/ 65 h 65"/>
                <a:gd name="T48" fmla="*/ 14 w 39"/>
                <a:gd name="T49" fmla="*/ 65 h 65"/>
                <a:gd name="T50" fmla="*/ 15 w 39"/>
                <a:gd name="T51" fmla="*/ 65 h 65"/>
                <a:gd name="T52" fmla="*/ 26 w 39"/>
                <a:gd name="T53" fmla="*/ 65 h 65"/>
                <a:gd name="T54" fmla="*/ 26 w 39"/>
                <a:gd name="T55" fmla="*/ 65 h 65"/>
                <a:gd name="T56" fmla="*/ 28 w 39"/>
                <a:gd name="T57" fmla="*/ 47 h 65"/>
                <a:gd name="T58" fmla="*/ 27 w 39"/>
                <a:gd name="T59" fmla="*/ 4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9" h="65">
                  <a:moveTo>
                    <a:pt x="27" y="44"/>
                  </a:moveTo>
                  <a:cubicBezTo>
                    <a:pt x="25" y="41"/>
                    <a:pt x="25" y="41"/>
                    <a:pt x="25" y="41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8" y="38"/>
                    <a:pt x="28" y="37"/>
                    <a:pt x="28" y="36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5"/>
                    <a:pt x="32" y="13"/>
                    <a:pt x="34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6" y="12"/>
                    <a:pt x="36" y="11"/>
                    <a:pt x="37" y="10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9" y="7"/>
                    <a:pt x="39" y="4"/>
                    <a:pt x="37" y="2"/>
                  </a:cubicBezTo>
                  <a:cubicBezTo>
                    <a:pt x="36" y="1"/>
                    <a:pt x="34" y="0"/>
                    <a:pt x="32" y="0"/>
                  </a:cubicBezTo>
                  <a:cubicBezTo>
                    <a:pt x="26" y="1"/>
                    <a:pt x="17" y="3"/>
                    <a:pt x="16" y="3"/>
                  </a:cubicBezTo>
                  <a:cubicBezTo>
                    <a:pt x="15" y="3"/>
                    <a:pt x="12" y="2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3"/>
                    <a:pt x="8" y="24"/>
                    <a:pt x="8" y="24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0" y="38"/>
                    <a:pt x="0" y="41"/>
                    <a:pt x="2" y="43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8"/>
                    <a:pt x="5" y="49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2"/>
                    <a:pt x="8" y="64"/>
                    <a:pt x="11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5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5"/>
                    <a:pt x="27" y="4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41">
              <a:extLst>
                <a:ext uri="{FF2B5EF4-FFF2-40B4-BE49-F238E27FC236}">
                  <a16:creationId xmlns:a16="http://schemas.microsoft.com/office/drawing/2014/main" id="{4299BF5D-ECE1-40C2-AA40-C3C46ED47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1263" y="3267076"/>
              <a:ext cx="41275" cy="47625"/>
            </a:xfrm>
            <a:custGeom>
              <a:avLst/>
              <a:gdLst>
                <a:gd name="T0" fmla="*/ 2 w 14"/>
                <a:gd name="T1" fmla="*/ 10 h 16"/>
                <a:gd name="T2" fmla="*/ 6 w 14"/>
                <a:gd name="T3" fmla="*/ 14 h 16"/>
                <a:gd name="T4" fmla="*/ 11 w 14"/>
                <a:gd name="T5" fmla="*/ 15 h 16"/>
                <a:gd name="T6" fmla="*/ 11 w 14"/>
                <a:gd name="T7" fmla="*/ 6 h 16"/>
                <a:gd name="T8" fmla="*/ 14 w 14"/>
                <a:gd name="T9" fmla="*/ 5 h 16"/>
                <a:gd name="T10" fmla="*/ 14 w 14"/>
                <a:gd name="T11" fmla="*/ 0 h 16"/>
                <a:gd name="T12" fmla="*/ 11 w 14"/>
                <a:gd name="T13" fmla="*/ 1 h 16"/>
                <a:gd name="T14" fmla="*/ 8 w 14"/>
                <a:gd name="T15" fmla="*/ 2 h 16"/>
                <a:gd name="T16" fmla="*/ 4 w 14"/>
                <a:gd name="T17" fmla="*/ 0 h 16"/>
                <a:gd name="T18" fmla="*/ 0 w 14"/>
                <a:gd name="T19" fmla="*/ 2 h 16"/>
                <a:gd name="T20" fmla="*/ 1 w 14"/>
                <a:gd name="T21" fmla="*/ 6 h 16"/>
                <a:gd name="T22" fmla="*/ 2 w 14"/>
                <a:gd name="T23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6">
                  <a:moveTo>
                    <a:pt x="2" y="10"/>
                  </a:moveTo>
                  <a:cubicBezTo>
                    <a:pt x="3" y="11"/>
                    <a:pt x="5" y="14"/>
                    <a:pt x="6" y="14"/>
                  </a:cubicBezTo>
                  <a:cubicBezTo>
                    <a:pt x="6" y="15"/>
                    <a:pt x="10" y="16"/>
                    <a:pt x="11" y="15"/>
                  </a:cubicBezTo>
                  <a:cubicBezTo>
                    <a:pt x="12" y="13"/>
                    <a:pt x="11" y="6"/>
                    <a:pt x="11" y="6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9"/>
                    <a:pt x="2" y="1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42">
              <a:extLst>
                <a:ext uri="{FF2B5EF4-FFF2-40B4-BE49-F238E27FC236}">
                  <a16:creationId xmlns:a16="http://schemas.microsoft.com/office/drawing/2014/main" id="{1203E794-16E0-4948-9284-9378A3300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5" y="3279776"/>
              <a:ext cx="26988" cy="26988"/>
            </a:xfrm>
            <a:custGeom>
              <a:avLst/>
              <a:gdLst>
                <a:gd name="T0" fmla="*/ 6 w 9"/>
                <a:gd name="T1" fmla="*/ 9 h 9"/>
                <a:gd name="T2" fmla="*/ 9 w 9"/>
                <a:gd name="T3" fmla="*/ 4 h 9"/>
                <a:gd name="T4" fmla="*/ 5 w 9"/>
                <a:gd name="T5" fmla="*/ 0 h 9"/>
                <a:gd name="T6" fmla="*/ 1 w 9"/>
                <a:gd name="T7" fmla="*/ 2 h 9"/>
                <a:gd name="T8" fmla="*/ 1 w 9"/>
                <a:gd name="T9" fmla="*/ 2 h 9"/>
                <a:gd name="T10" fmla="*/ 1 w 9"/>
                <a:gd name="T11" fmla="*/ 6 h 9"/>
                <a:gd name="T12" fmla="*/ 1 w 9"/>
                <a:gd name="T13" fmla="*/ 7 h 9"/>
                <a:gd name="T14" fmla="*/ 4 w 9"/>
                <a:gd name="T15" fmla="*/ 9 h 9"/>
                <a:gd name="T16" fmla="*/ 6 w 9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6" y="9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8" y="2"/>
                    <a:pt x="7" y="1"/>
                    <a:pt x="5" y="0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5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8"/>
                    <a:pt x="3" y="9"/>
                    <a:pt x="4" y="9"/>
                  </a:cubicBezTo>
                  <a:lnTo>
                    <a:pt x="6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43">
              <a:extLst>
                <a:ext uri="{FF2B5EF4-FFF2-40B4-BE49-F238E27FC236}">
                  <a16:creationId xmlns:a16="http://schemas.microsoft.com/office/drawing/2014/main" id="{BE577B3F-3BE4-4310-ADBA-4505CA3F0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1188" y="3108326"/>
              <a:ext cx="269875" cy="431800"/>
            </a:xfrm>
            <a:custGeom>
              <a:avLst/>
              <a:gdLst>
                <a:gd name="T0" fmla="*/ 84 w 90"/>
                <a:gd name="T1" fmla="*/ 98 h 144"/>
                <a:gd name="T2" fmla="*/ 78 w 90"/>
                <a:gd name="T3" fmla="*/ 99 h 144"/>
                <a:gd name="T4" fmla="*/ 72 w 90"/>
                <a:gd name="T5" fmla="*/ 95 h 144"/>
                <a:gd name="T6" fmla="*/ 67 w 90"/>
                <a:gd name="T7" fmla="*/ 80 h 144"/>
                <a:gd name="T8" fmla="*/ 53 w 90"/>
                <a:gd name="T9" fmla="*/ 66 h 144"/>
                <a:gd name="T10" fmla="*/ 50 w 90"/>
                <a:gd name="T11" fmla="*/ 55 h 144"/>
                <a:gd name="T12" fmla="*/ 41 w 90"/>
                <a:gd name="T13" fmla="*/ 50 h 144"/>
                <a:gd name="T14" fmla="*/ 28 w 90"/>
                <a:gd name="T15" fmla="*/ 50 h 144"/>
                <a:gd name="T16" fmla="*/ 31 w 90"/>
                <a:gd name="T17" fmla="*/ 42 h 144"/>
                <a:gd name="T18" fmla="*/ 43 w 90"/>
                <a:gd name="T19" fmla="*/ 29 h 144"/>
                <a:gd name="T20" fmla="*/ 28 w 90"/>
                <a:gd name="T21" fmla="*/ 20 h 144"/>
                <a:gd name="T22" fmla="*/ 30 w 90"/>
                <a:gd name="T23" fmla="*/ 6 h 144"/>
                <a:gd name="T24" fmla="*/ 15 w 90"/>
                <a:gd name="T25" fmla="*/ 0 h 144"/>
                <a:gd name="T26" fmla="*/ 9 w 90"/>
                <a:gd name="T27" fmla="*/ 12 h 144"/>
                <a:gd name="T28" fmla="*/ 4 w 90"/>
                <a:gd name="T29" fmla="*/ 15 h 144"/>
                <a:gd name="T30" fmla="*/ 0 w 90"/>
                <a:gd name="T31" fmla="*/ 27 h 144"/>
                <a:gd name="T32" fmla="*/ 5 w 90"/>
                <a:gd name="T33" fmla="*/ 34 h 144"/>
                <a:gd name="T34" fmla="*/ 5 w 90"/>
                <a:gd name="T35" fmla="*/ 38 h 144"/>
                <a:gd name="T36" fmla="*/ 6 w 90"/>
                <a:gd name="T37" fmla="*/ 47 h 144"/>
                <a:gd name="T38" fmla="*/ 12 w 90"/>
                <a:gd name="T39" fmla="*/ 49 h 144"/>
                <a:gd name="T40" fmla="*/ 13 w 90"/>
                <a:gd name="T41" fmla="*/ 58 h 144"/>
                <a:gd name="T42" fmla="*/ 12 w 90"/>
                <a:gd name="T43" fmla="*/ 64 h 144"/>
                <a:gd name="T44" fmla="*/ 18 w 90"/>
                <a:gd name="T45" fmla="*/ 68 h 144"/>
                <a:gd name="T46" fmla="*/ 25 w 90"/>
                <a:gd name="T47" fmla="*/ 67 h 144"/>
                <a:gd name="T48" fmla="*/ 32 w 90"/>
                <a:gd name="T49" fmla="*/ 66 h 144"/>
                <a:gd name="T50" fmla="*/ 31 w 90"/>
                <a:gd name="T51" fmla="*/ 72 h 144"/>
                <a:gd name="T52" fmla="*/ 36 w 90"/>
                <a:gd name="T53" fmla="*/ 80 h 144"/>
                <a:gd name="T54" fmla="*/ 34 w 90"/>
                <a:gd name="T55" fmla="*/ 85 h 144"/>
                <a:gd name="T56" fmla="*/ 30 w 90"/>
                <a:gd name="T57" fmla="*/ 90 h 144"/>
                <a:gd name="T58" fmla="*/ 18 w 90"/>
                <a:gd name="T59" fmla="*/ 93 h 144"/>
                <a:gd name="T60" fmla="*/ 21 w 90"/>
                <a:gd name="T61" fmla="*/ 96 h 144"/>
                <a:gd name="T62" fmla="*/ 23 w 90"/>
                <a:gd name="T63" fmla="*/ 102 h 144"/>
                <a:gd name="T64" fmla="*/ 13 w 90"/>
                <a:gd name="T65" fmla="*/ 108 h 144"/>
                <a:gd name="T66" fmla="*/ 13 w 90"/>
                <a:gd name="T67" fmla="*/ 117 h 144"/>
                <a:gd name="T68" fmla="*/ 21 w 90"/>
                <a:gd name="T69" fmla="*/ 116 h 144"/>
                <a:gd name="T70" fmla="*/ 25 w 90"/>
                <a:gd name="T71" fmla="*/ 118 h 144"/>
                <a:gd name="T72" fmla="*/ 38 w 90"/>
                <a:gd name="T73" fmla="*/ 118 h 144"/>
                <a:gd name="T74" fmla="*/ 44 w 90"/>
                <a:gd name="T75" fmla="*/ 116 h 144"/>
                <a:gd name="T76" fmla="*/ 38 w 90"/>
                <a:gd name="T77" fmla="*/ 121 h 144"/>
                <a:gd name="T78" fmla="*/ 26 w 90"/>
                <a:gd name="T79" fmla="*/ 123 h 144"/>
                <a:gd name="T80" fmla="*/ 6 w 90"/>
                <a:gd name="T81" fmla="*/ 139 h 144"/>
                <a:gd name="T82" fmla="*/ 16 w 90"/>
                <a:gd name="T83" fmla="*/ 138 h 144"/>
                <a:gd name="T84" fmla="*/ 23 w 90"/>
                <a:gd name="T85" fmla="*/ 138 h 144"/>
                <a:gd name="T86" fmla="*/ 28 w 90"/>
                <a:gd name="T87" fmla="*/ 132 h 144"/>
                <a:gd name="T88" fmla="*/ 73 w 90"/>
                <a:gd name="T89" fmla="*/ 131 h 144"/>
                <a:gd name="T90" fmla="*/ 82 w 90"/>
                <a:gd name="T91" fmla="*/ 123 h 144"/>
                <a:gd name="T92" fmla="*/ 86 w 90"/>
                <a:gd name="T93" fmla="*/ 113 h 144"/>
                <a:gd name="T94" fmla="*/ 90 w 90"/>
                <a:gd name="T95" fmla="*/ 104 h 144"/>
                <a:gd name="T96" fmla="*/ 87 w 90"/>
                <a:gd name="T97" fmla="*/ 9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0" h="144">
                  <a:moveTo>
                    <a:pt x="87" y="99"/>
                  </a:moveTo>
                  <a:cubicBezTo>
                    <a:pt x="87" y="98"/>
                    <a:pt x="86" y="97"/>
                    <a:pt x="84" y="98"/>
                  </a:cubicBezTo>
                  <a:cubicBezTo>
                    <a:pt x="79" y="99"/>
                    <a:pt x="79" y="99"/>
                    <a:pt x="79" y="99"/>
                  </a:cubicBezTo>
                  <a:cubicBezTo>
                    <a:pt x="79" y="99"/>
                    <a:pt x="79" y="99"/>
                    <a:pt x="78" y="99"/>
                  </a:cubicBezTo>
                  <a:cubicBezTo>
                    <a:pt x="74" y="98"/>
                    <a:pt x="74" y="98"/>
                    <a:pt x="74" y="98"/>
                  </a:cubicBezTo>
                  <a:cubicBezTo>
                    <a:pt x="73" y="97"/>
                    <a:pt x="72" y="96"/>
                    <a:pt x="72" y="95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7" y="81"/>
                    <a:pt x="67" y="80"/>
                    <a:pt x="67" y="80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4" y="68"/>
                    <a:pt x="53" y="67"/>
                    <a:pt x="53" y="66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6"/>
                    <a:pt x="50" y="55"/>
                    <a:pt x="50" y="55"/>
                  </a:cubicBezTo>
                  <a:cubicBezTo>
                    <a:pt x="43" y="51"/>
                    <a:pt x="43" y="51"/>
                    <a:pt x="43" y="51"/>
                  </a:cubicBezTo>
                  <a:cubicBezTo>
                    <a:pt x="42" y="50"/>
                    <a:pt x="41" y="50"/>
                    <a:pt x="41" y="50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3"/>
                    <a:pt x="30" y="42"/>
                    <a:pt x="31" y="42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0"/>
                    <a:pt x="43" y="30"/>
                    <a:pt x="43" y="29"/>
                  </a:cubicBezTo>
                  <a:cubicBezTo>
                    <a:pt x="44" y="25"/>
                    <a:pt x="40" y="20"/>
                    <a:pt x="36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6" y="20"/>
                    <a:pt x="24" y="17"/>
                    <a:pt x="25" y="15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1" y="4"/>
                    <a:pt x="30" y="1"/>
                    <a:pt x="27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0"/>
                    <a:pt x="11" y="1"/>
                    <a:pt x="11" y="3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4"/>
                    <a:pt x="7" y="15"/>
                    <a:pt x="6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2" y="15"/>
                    <a:pt x="1" y="16"/>
                    <a:pt x="1" y="1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0" y="29"/>
                    <a:pt x="1" y="30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6" y="35"/>
                    <a:pt x="6" y="37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1" y="40"/>
                    <a:pt x="1" y="44"/>
                    <a:pt x="3" y="47"/>
                  </a:cubicBezTo>
                  <a:cubicBezTo>
                    <a:pt x="4" y="48"/>
                    <a:pt x="5" y="48"/>
                    <a:pt x="6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0" y="46"/>
                    <a:pt x="12" y="47"/>
                    <a:pt x="12" y="49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6"/>
                    <a:pt x="14" y="57"/>
                    <a:pt x="13" y="58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1" y="60"/>
                    <a:pt x="11" y="62"/>
                    <a:pt x="12" y="64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8"/>
                    <a:pt x="17" y="68"/>
                    <a:pt x="18" y="68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3" y="69"/>
                    <a:pt x="24" y="68"/>
                    <a:pt x="25" y="67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9" y="69"/>
                    <a:pt x="29" y="71"/>
                    <a:pt x="31" y="72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8"/>
                    <a:pt x="36" y="80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4"/>
                    <a:pt x="34" y="84"/>
                    <a:pt x="34" y="85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8"/>
                    <a:pt x="32" y="90"/>
                    <a:pt x="30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19" y="90"/>
                    <a:pt x="18" y="91"/>
                    <a:pt x="18" y="93"/>
                  </a:cubicBezTo>
                  <a:cubicBezTo>
                    <a:pt x="18" y="95"/>
                    <a:pt x="19" y="96"/>
                    <a:pt x="20" y="96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23" y="97"/>
                    <a:pt x="25" y="99"/>
                    <a:pt x="24" y="101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103"/>
                    <a:pt x="23" y="103"/>
                    <a:pt x="22" y="104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9" y="109"/>
                    <a:pt x="8" y="114"/>
                    <a:pt x="11" y="117"/>
                  </a:cubicBezTo>
                  <a:cubicBezTo>
                    <a:pt x="11" y="117"/>
                    <a:pt x="12" y="117"/>
                    <a:pt x="13" y="117"/>
                  </a:cubicBezTo>
                  <a:cubicBezTo>
                    <a:pt x="18" y="115"/>
                    <a:pt x="18" y="115"/>
                    <a:pt x="18" y="115"/>
                  </a:cubicBezTo>
                  <a:cubicBezTo>
                    <a:pt x="19" y="115"/>
                    <a:pt x="21" y="115"/>
                    <a:pt x="21" y="116"/>
                  </a:cubicBezTo>
                  <a:cubicBezTo>
                    <a:pt x="23" y="117"/>
                    <a:pt x="23" y="117"/>
                    <a:pt x="23" y="117"/>
                  </a:cubicBezTo>
                  <a:cubicBezTo>
                    <a:pt x="24" y="118"/>
                    <a:pt x="25" y="118"/>
                    <a:pt x="25" y="118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6" y="119"/>
                    <a:pt x="37" y="118"/>
                    <a:pt x="38" y="118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6"/>
                    <a:pt x="44" y="116"/>
                    <a:pt x="44" y="116"/>
                  </a:cubicBezTo>
                  <a:cubicBezTo>
                    <a:pt x="44" y="117"/>
                    <a:pt x="43" y="118"/>
                    <a:pt x="42" y="119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2"/>
                    <a:pt x="37" y="122"/>
                    <a:pt x="37" y="122"/>
                  </a:cubicBezTo>
                  <a:cubicBezTo>
                    <a:pt x="26" y="123"/>
                    <a:pt x="26" y="123"/>
                    <a:pt x="26" y="123"/>
                  </a:cubicBezTo>
                  <a:cubicBezTo>
                    <a:pt x="25" y="123"/>
                    <a:pt x="25" y="123"/>
                    <a:pt x="24" y="123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7" y="143"/>
                    <a:pt x="12" y="144"/>
                    <a:pt x="14" y="140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7" y="138"/>
                    <a:pt x="17" y="138"/>
                    <a:pt x="18" y="138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5" y="139"/>
                    <a:pt x="27" y="137"/>
                    <a:pt x="27" y="135"/>
                  </a:cubicBezTo>
                  <a:cubicBezTo>
                    <a:pt x="27" y="133"/>
                    <a:pt x="27" y="132"/>
                    <a:pt x="28" y="132"/>
                  </a:cubicBezTo>
                  <a:cubicBezTo>
                    <a:pt x="30" y="132"/>
                    <a:pt x="67" y="131"/>
                    <a:pt x="72" y="131"/>
                  </a:cubicBezTo>
                  <a:cubicBezTo>
                    <a:pt x="72" y="131"/>
                    <a:pt x="73" y="131"/>
                    <a:pt x="73" y="131"/>
                  </a:cubicBezTo>
                  <a:cubicBezTo>
                    <a:pt x="75" y="130"/>
                    <a:pt x="81" y="128"/>
                    <a:pt x="82" y="127"/>
                  </a:cubicBezTo>
                  <a:cubicBezTo>
                    <a:pt x="83" y="127"/>
                    <a:pt x="82" y="123"/>
                    <a:pt x="82" y="123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86" y="113"/>
                    <a:pt x="86" y="113"/>
                    <a:pt x="86" y="113"/>
                  </a:cubicBezTo>
                  <a:cubicBezTo>
                    <a:pt x="86" y="113"/>
                    <a:pt x="87" y="112"/>
                    <a:pt x="87" y="111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0" y="103"/>
                    <a:pt x="90" y="101"/>
                    <a:pt x="89" y="100"/>
                  </a:cubicBezTo>
                  <a:lnTo>
                    <a:pt x="87" y="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44">
              <a:extLst>
                <a:ext uri="{FF2B5EF4-FFF2-40B4-BE49-F238E27FC236}">
                  <a16:creationId xmlns:a16="http://schemas.microsoft.com/office/drawing/2014/main" id="{C459EFEB-7181-43A9-8AE8-432660EBC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138" y="3324226"/>
              <a:ext cx="144463" cy="141288"/>
            </a:xfrm>
            <a:custGeom>
              <a:avLst/>
              <a:gdLst>
                <a:gd name="T0" fmla="*/ 39 w 48"/>
                <a:gd name="T1" fmla="*/ 3 h 47"/>
                <a:gd name="T2" fmla="*/ 34 w 48"/>
                <a:gd name="T3" fmla="*/ 2 h 47"/>
                <a:gd name="T4" fmla="*/ 34 w 48"/>
                <a:gd name="T5" fmla="*/ 2 h 47"/>
                <a:gd name="T6" fmla="*/ 27 w 48"/>
                <a:gd name="T7" fmla="*/ 1 h 47"/>
                <a:gd name="T8" fmla="*/ 27 w 48"/>
                <a:gd name="T9" fmla="*/ 0 h 47"/>
                <a:gd name="T10" fmla="*/ 25 w 48"/>
                <a:gd name="T11" fmla="*/ 2 h 47"/>
                <a:gd name="T12" fmla="*/ 14 w 48"/>
                <a:gd name="T13" fmla="*/ 5 h 47"/>
                <a:gd name="T14" fmla="*/ 10 w 48"/>
                <a:gd name="T15" fmla="*/ 4 h 47"/>
                <a:gd name="T16" fmla="*/ 4 w 48"/>
                <a:gd name="T17" fmla="*/ 6 h 47"/>
                <a:gd name="T18" fmla="*/ 1 w 48"/>
                <a:gd name="T19" fmla="*/ 11 h 47"/>
                <a:gd name="T20" fmla="*/ 1 w 48"/>
                <a:gd name="T21" fmla="*/ 15 h 47"/>
                <a:gd name="T22" fmla="*/ 2 w 48"/>
                <a:gd name="T23" fmla="*/ 16 h 47"/>
                <a:gd name="T24" fmla="*/ 7 w 48"/>
                <a:gd name="T25" fmla="*/ 17 h 47"/>
                <a:gd name="T26" fmla="*/ 10 w 48"/>
                <a:gd name="T27" fmla="*/ 16 h 47"/>
                <a:gd name="T28" fmla="*/ 12 w 48"/>
                <a:gd name="T29" fmla="*/ 22 h 47"/>
                <a:gd name="T30" fmla="*/ 9 w 48"/>
                <a:gd name="T31" fmla="*/ 23 h 47"/>
                <a:gd name="T32" fmla="*/ 7 w 48"/>
                <a:gd name="T33" fmla="*/ 25 h 47"/>
                <a:gd name="T34" fmla="*/ 1 w 48"/>
                <a:gd name="T35" fmla="*/ 35 h 47"/>
                <a:gd name="T36" fmla="*/ 1 w 48"/>
                <a:gd name="T37" fmla="*/ 39 h 47"/>
                <a:gd name="T38" fmla="*/ 5 w 48"/>
                <a:gd name="T39" fmla="*/ 44 h 47"/>
                <a:gd name="T40" fmla="*/ 8 w 48"/>
                <a:gd name="T41" fmla="*/ 46 h 47"/>
                <a:gd name="T42" fmla="*/ 12 w 48"/>
                <a:gd name="T43" fmla="*/ 47 h 47"/>
                <a:gd name="T44" fmla="*/ 15 w 48"/>
                <a:gd name="T45" fmla="*/ 46 h 47"/>
                <a:gd name="T46" fmla="*/ 26 w 48"/>
                <a:gd name="T47" fmla="*/ 39 h 47"/>
                <a:gd name="T48" fmla="*/ 27 w 48"/>
                <a:gd name="T49" fmla="*/ 39 h 47"/>
                <a:gd name="T50" fmla="*/ 43 w 48"/>
                <a:gd name="T51" fmla="*/ 35 h 47"/>
                <a:gd name="T52" fmla="*/ 47 w 48"/>
                <a:gd name="T53" fmla="*/ 31 h 47"/>
                <a:gd name="T54" fmla="*/ 48 w 48"/>
                <a:gd name="T55" fmla="*/ 19 h 47"/>
                <a:gd name="T56" fmla="*/ 47 w 48"/>
                <a:gd name="T57" fmla="*/ 16 h 47"/>
                <a:gd name="T58" fmla="*/ 44 w 48"/>
                <a:gd name="T59" fmla="*/ 13 h 47"/>
                <a:gd name="T60" fmla="*/ 44 w 48"/>
                <a:gd name="T61" fmla="*/ 8 h 47"/>
                <a:gd name="T62" fmla="*/ 39 w 48"/>
                <a:gd name="T63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7">
                  <a:moveTo>
                    <a:pt x="39" y="3"/>
                  </a:moveTo>
                  <a:cubicBezTo>
                    <a:pt x="38" y="2"/>
                    <a:pt x="36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1" y="3"/>
                    <a:pt x="29" y="2"/>
                    <a:pt x="27" y="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6" y="1"/>
                    <a:pt x="26" y="1"/>
                    <a:pt x="25" y="2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2" y="5"/>
                    <a:pt x="11" y="5"/>
                    <a:pt x="10" y="4"/>
                  </a:cubicBezTo>
                  <a:cubicBezTo>
                    <a:pt x="8" y="3"/>
                    <a:pt x="5" y="3"/>
                    <a:pt x="4" y="6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2"/>
                    <a:pt x="0" y="14"/>
                    <a:pt x="1" y="1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8"/>
                    <a:pt x="5" y="18"/>
                    <a:pt x="7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4"/>
                    <a:pt x="7" y="24"/>
                    <a:pt x="7" y="2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6"/>
                    <a:pt x="1" y="38"/>
                    <a:pt x="1" y="39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5"/>
                    <a:pt x="6" y="46"/>
                    <a:pt x="8" y="46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3" y="47"/>
                    <a:pt x="14" y="47"/>
                    <a:pt x="15" y="46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5" y="35"/>
                    <a:pt x="47" y="33"/>
                    <a:pt x="47" y="31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8" y="18"/>
                    <a:pt x="48" y="17"/>
                    <a:pt x="47" y="16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3" y="11"/>
                    <a:pt x="43" y="10"/>
                    <a:pt x="44" y="8"/>
                  </a:cubicBezTo>
                  <a:lnTo>
                    <a:pt x="39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45">
              <a:extLst>
                <a:ext uri="{FF2B5EF4-FFF2-40B4-BE49-F238E27FC236}">
                  <a16:creationId xmlns:a16="http://schemas.microsoft.com/office/drawing/2014/main" id="{9D684062-A021-451F-A543-1ADC4CC94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6100" y="3287713"/>
              <a:ext cx="77788" cy="60325"/>
            </a:xfrm>
            <a:custGeom>
              <a:avLst/>
              <a:gdLst>
                <a:gd name="T0" fmla="*/ 7 w 26"/>
                <a:gd name="T1" fmla="*/ 14 h 20"/>
                <a:gd name="T2" fmla="*/ 7 w 26"/>
                <a:gd name="T3" fmla="*/ 14 h 20"/>
                <a:gd name="T4" fmla="*/ 12 w 26"/>
                <a:gd name="T5" fmla="*/ 15 h 20"/>
                <a:gd name="T6" fmla="*/ 17 w 26"/>
                <a:gd name="T7" fmla="*/ 20 h 20"/>
                <a:gd name="T8" fmla="*/ 20 w 26"/>
                <a:gd name="T9" fmla="*/ 18 h 20"/>
                <a:gd name="T10" fmla="*/ 21 w 26"/>
                <a:gd name="T11" fmla="*/ 18 h 20"/>
                <a:gd name="T12" fmla="*/ 25 w 26"/>
                <a:gd name="T13" fmla="*/ 15 h 20"/>
                <a:gd name="T14" fmla="*/ 26 w 26"/>
                <a:gd name="T15" fmla="*/ 12 h 20"/>
                <a:gd name="T16" fmla="*/ 25 w 26"/>
                <a:gd name="T17" fmla="*/ 8 h 20"/>
                <a:gd name="T18" fmla="*/ 19 w 26"/>
                <a:gd name="T19" fmla="*/ 2 h 20"/>
                <a:gd name="T20" fmla="*/ 16 w 26"/>
                <a:gd name="T21" fmla="*/ 1 h 20"/>
                <a:gd name="T22" fmla="*/ 10 w 26"/>
                <a:gd name="T23" fmla="*/ 0 h 20"/>
                <a:gd name="T24" fmla="*/ 6 w 26"/>
                <a:gd name="T25" fmla="*/ 2 h 20"/>
                <a:gd name="T26" fmla="*/ 0 w 26"/>
                <a:gd name="T27" fmla="*/ 12 h 20"/>
                <a:gd name="T28" fmla="*/ 0 w 26"/>
                <a:gd name="T29" fmla="*/ 12 h 20"/>
                <a:gd name="T30" fmla="*/ 0 w 26"/>
                <a:gd name="T31" fmla="*/ 13 h 20"/>
                <a:gd name="T32" fmla="*/ 7 w 26"/>
                <a:gd name="T33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20">
                  <a:moveTo>
                    <a:pt x="7" y="14"/>
                  </a:moveTo>
                  <a:cubicBezTo>
                    <a:pt x="7" y="14"/>
                    <a:pt x="7" y="14"/>
                    <a:pt x="7" y="14"/>
                  </a:cubicBezTo>
                  <a:cubicBezTo>
                    <a:pt x="9" y="14"/>
                    <a:pt x="11" y="14"/>
                    <a:pt x="12" y="15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19"/>
                    <a:pt x="18" y="18"/>
                    <a:pt x="20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3" y="18"/>
                    <a:pt x="24" y="17"/>
                    <a:pt x="25" y="15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1"/>
                    <a:pt x="26" y="9"/>
                    <a:pt x="25" y="8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7" y="1"/>
                    <a:pt x="16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6" y="1"/>
                    <a:pt x="6" y="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4"/>
                    <a:pt x="4" y="15"/>
                    <a:pt x="7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46">
              <a:extLst>
                <a:ext uri="{FF2B5EF4-FFF2-40B4-BE49-F238E27FC236}">
                  <a16:creationId xmlns:a16="http://schemas.microsoft.com/office/drawing/2014/main" id="{CFF71D26-588B-4538-9A59-2C88E6D44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3663" y="3713163"/>
              <a:ext cx="128588" cy="128588"/>
            </a:xfrm>
            <a:custGeom>
              <a:avLst/>
              <a:gdLst>
                <a:gd name="T0" fmla="*/ 43 w 43"/>
                <a:gd name="T1" fmla="*/ 25 h 43"/>
                <a:gd name="T2" fmla="*/ 33 w 43"/>
                <a:gd name="T3" fmla="*/ 43 h 43"/>
                <a:gd name="T4" fmla="*/ 33 w 43"/>
                <a:gd name="T5" fmla="*/ 43 h 43"/>
                <a:gd name="T6" fmla="*/ 4 w 43"/>
                <a:gd name="T7" fmla="*/ 19 h 43"/>
                <a:gd name="T8" fmla="*/ 7 w 43"/>
                <a:gd name="T9" fmla="*/ 14 h 43"/>
                <a:gd name="T10" fmla="*/ 0 w 43"/>
                <a:gd name="T11" fmla="*/ 9 h 43"/>
                <a:gd name="T12" fmla="*/ 2 w 43"/>
                <a:gd name="T13" fmla="*/ 4 h 43"/>
                <a:gd name="T14" fmla="*/ 7 w 43"/>
                <a:gd name="T15" fmla="*/ 4 h 43"/>
                <a:gd name="T16" fmla="*/ 11 w 43"/>
                <a:gd name="T17" fmla="*/ 0 h 43"/>
                <a:gd name="T18" fmla="*/ 31 w 43"/>
                <a:gd name="T19" fmla="*/ 3 h 43"/>
                <a:gd name="T20" fmla="*/ 40 w 43"/>
                <a:gd name="T21" fmla="*/ 9 h 43"/>
                <a:gd name="T22" fmla="*/ 39 w 43"/>
                <a:gd name="T23" fmla="*/ 10 h 43"/>
                <a:gd name="T24" fmla="*/ 39 w 43"/>
                <a:gd name="T25" fmla="*/ 14 h 43"/>
                <a:gd name="T26" fmla="*/ 43 w 43"/>
                <a:gd name="T27" fmla="*/ 23 h 43"/>
                <a:gd name="T28" fmla="*/ 43 w 43"/>
                <a:gd name="T29" fmla="*/ 2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43">
                  <a:moveTo>
                    <a:pt x="43" y="25"/>
                  </a:move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8" y="11"/>
                    <a:pt x="38" y="13"/>
                    <a:pt x="39" y="14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4"/>
                    <a:pt x="43" y="25"/>
                    <a:pt x="43" y="2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47">
              <a:extLst>
                <a:ext uri="{FF2B5EF4-FFF2-40B4-BE49-F238E27FC236}">
                  <a16:creationId xmlns:a16="http://schemas.microsoft.com/office/drawing/2014/main" id="{2689FCF3-98D1-4FF1-A0DB-9FBDEDEFE6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6200" y="2636838"/>
              <a:ext cx="338138" cy="182563"/>
            </a:xfrm>
            <a:custGeom>
              <a:avLst/>
              <a:gdLst>
                <a:gd name="T0" fmla="*/ 101 w 113"/>
                <a:gd name="T1" fmla="*/ 45 h 61"/>
                <a:gd name="T2" fmla="*/ 108 w 113"/>
                <a:gd name="T3" fmla="*/ 37 h 61"/>
                <a:gd name="T4" fmla="*/ 109 w 113"/>
                <a:gd name="T5" fmla="*/ 17 h 61"/>
                <a:gd name="T6" fmla="*/ 101 w 113"/>
                <a:gd name="T7" fmla="*/ 6 h 61"/>
                <a:gd name="T8" fmla="*/ 89 w 113"/>
                <a:gd name="T9" fmla="*/ 0 h 61"/>
                <a:gd name="T10" fmla="*/ 69 w 113"/>
                <a:gd name="T11" fmla="*/ 2 h 61"/>
                <a:gd name="T12" fmla="*/ 61 w 113"/>
                <a:gd name="T13" fmla="*/ 6 h 61"/>
                <a:gd name="T14" fmla="*/ 54 w 113"/>
                <a:gd name="T15" fmla="*/ 11 h 61"/>
                <a:gd name="T16" fmla="*/ 48 w 113"/>
                <a:gd name="T17" fmla="*/ 11 h 61"/>
                <a:gd name="T18" fmla="*/ 41 w 113"/>
                <a:gd name="T19" fmla="*/ 10 h 61"/>
                <a:gd name="T20" fmla="*/ 35 w 113"/>
                <a:gd name="T21" fmla="*/ 15 h 61"/>
                <a:gd name="T22" fmla="*/ 28 w 113"/>
                <a:gd name="T23" fmla="*/ 15 h 61"/>
                <a:gd name="T24" fmla="*/ 24 w 113"/>
                <a:gd name="T25" fmla="*/ 10 h 61"/>
                <a:gd name="T26" fmla="*/ 5 w 113"/>
                <a:gd name="T27" fmla="*/ 11 h 61"/>
                <a:gd name="T28" fmla="*/ 3 w 113"/>
                <a:gd name="T29" fmla="*/ 13 h 61"/>
                <a:gd name="T30" fmla="*/ 3 w 113"/>
                <a:gd name="T31" fmla="*/ 25 h 61"/>
                <a:gd name="T32" fmla="*/ 11 w 113"/>
                <a:gd name="T33" fmla="*/ 38 h 61"/>
                <a:gd name="T34" fmla="*/ 20 w 113"/>
                <a:gd name="T35" fmla="*/ 42 h 61"/>
                <a:gd name="T36" fmla="*/ 22 w 113"/>
                <a:gd name="T37" fmla="*/ 42 h 61"/>
                <a:gd name="T38" fmla="*/ 40 w 113"/>
                <a:gd name="T39" fmla="*/ 55 h 61"/>
                <a:gd name="T40" fmla="*/ 58 w 113"/>
                <a:gd name="T41" fmla="*/ 61 h 61"/>
                <a:gd name="T42" fmla="*/ 64 w 113"/>
                <a:gd name="T43" fmla="*/ 61 h 61"/>
                <a:gd name="T44" fmla="*/ 66 w 113"/>
                <a:gd name="T45" fmla="*/ 61 h 61"/>
                <a:gd name="T46" fmla="*/ 99 w 113"/>
                <a:gd name="T47" fmla="*/ 46 h 61"/>
                <a:gd name="T48" fmla="*/ 101 w 113"/>
                <a:gd name="T49" fmla="*/ 4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3" h="61">
                  <a:moveTo>
                    <a:pt x="101" y="45"/>
                  </a:moveTo>
                  <a:cubicBezTo>
                    <a:pt x="108" y="37"/>
                    <a:pt x="108" y="37"/>
                    <a:pt x="108" y="37"/>
                  </a:cubicBezTo>
                  <a:cubicBezTo>
                    <a:pt x="113" y="31"/>
                    <a:pt x="113" y="23"/>
                    <a:pt x="109" y="17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98" y="2"/>
                    <a:pt x="93" y="0"/>
                    <a:pt x="89" y="0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6" y="3"/>
                    <a:pt x="63" y="4"/>
                    <a:pt x="61" y="6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2" y="13"/>
                    <a:pt x="49" y="13"/>
                    <a:pt x="48" y="11"/>
                  </a:cubicBezTo>
                  <a:cubicBezTo>
                    <a:pt x="46" y="9"/>
                    <a:pt x="43" y="8"/>
                    <a:pt x="41" y="10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3" y="17"/>
                    <a:pt x="30" y="17"/>
                    <a:pt x="28" y="15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18" y="4"/>
                    <a:pt x="9" y="4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17"/>
                    <a:pt x="0" y="21"/>
                    <a:pt x="3" y="25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3" y="41"/>
                    <a:pt x="17" y="42"/>
                    <a:pt x="20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2" y="43"/>
                    <a:pt x="33" y="50"/>
                    <a:pt x="40" y="55"/>
                  </a:cubicBezTo>
                  <a:cubicBezTo>
                    <a:pt x="45" y="59"/>
                    <a:pt x="52" y="61"/>
                    <a:pt x="58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1"/>
                    <a:pt x="66" y="61"/>
                    <a:pt x="66" y="61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100" y="46"/>
                    <a:pt x="100" y="45"/>
                    <a:pt x="101" y="4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48">
              <a:extLst>
                <a:ext uri="{FF2B5EF4-FFF2-40B4-BE49-F238E27FC236}">
                  <a16:creationId xmlns:a16="http://schemas.microsoft.com/office/drawing/2014/main" id="{73376DD6-5BF3-46D0-A2BD-C257E19EB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1475" y="4157663"/>
              <a:ext cx="117475" cy="36513"/>
            </a:xfrm>
            <a:custGeom>
              <a:avLst/>
              <a:gdLst>
                <a:gd name="T0" fmla="*/ 38 w 39"/>
                <a:gd name="T1" fmla="*/ 6 h 12"/>
                <a:gd name="T2" fmla="*/ 38 w 39"/>
                <a:gd name="T3" fmla="*/ 6 h 12"/>
                <a:gd name="T4" fmla="*/ 34 w 39"/>
                <a:gd name="T5" fmla="*/ 3 h 12"/>
                <a:gd name="T6" fmla="*/ 22 w 39"/>
                <a:gd name="T7" fmla="*/ 1 h 12"/>
                <a:gd name="T8" fmla="*/ 21 w 39"/>
                <a:gd name="T9" fmla="*/ 1 h 12"/>
                <a:gd name="T10" fmla="*/ 11 w 39"/>
                <a:gd name="T11" fmla="*/ 0 h 12"/>
                <a:gd name="T12" fmla="*/ 0 w 39"/>
                <a:gd name="T13" fmla="*/ 6 h 12"/>
                <a:gd name="T14" fmla="*/ 17 w 39"/>
                <a:gd name="T15" fmla="*/ 6 h 12"/>
                <a:gd name="T16" fmla="*/ 17 w 39"/>
                <a:gd name="T17" fmla="*/ 8 h 12"/>
                <a:gd name="T18" fmla="*/ 22 w 39"/>
                <a:gd name="T19" fmla="*/ 7 h 12"/>
                <a:gd name="T20" fmla="*/ 25 w 39"/>
                <a:gd name="T21" fmla="*/ 7 h 12"/>
                <a:gd name="T22" fmla="*/ 34 w 39"/>
                <a:gd name="T23" fmla="*/ 11 h 12"/>
                <a:gd name="T24" fmla="*/ 38 w 39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12">
                  <a:moveTo>
                    <a:pt x="38" y="6"/>
                  </a:moveTo>
                  <a:cubicBezTo>
                    <a:pt x="38" y="6"/>
                    <a:pt x="38" y="6"/>
                    <a:pt x="38" y="6"/>
                  </a:cubicBezTo>
                  <a:cubicBezTo>
                    <a:pt x="37" y="4"/>
                    <a:pt x="36" y="3"/>
                    <a:pt x="34" y="3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0" y="0"/>
                    <a:pt x="0" y="6"/>
                  </a:cubicBezTo>
                  <a:cubicBezTo>
                    <a:pt x="0" y="7"/>
                    <a:pt x="17" y="6"/>
                    <a:pt x="17" y="6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3" y="7"/>
                    <a:pt x="24" y="7"/>
                    <a:pt x="25" y="7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6" y="12"/>
                    <a:pt x="39" y="9"/>
                    <a:pt x="38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52">
              <a:extLst>
                <a:ext uri="{FF2B5EF4-FFF2-40B4-BE49-F238E27FC236}">
                  <a16:creationId xmlns:a16="http://schemas.microsoft.com/office/drawing/2014/main" id="{249CC1F4-F3E2-41FE-84F9-0F7112B4DD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4170363"/>
              <a:ext cx="76200" cy="50800"/>
            </a:xfrm>
            <a:custGeom>
              <a:avLst/>
              <a:gdLst>
                <a:gd name="T0" fmla="*/ 25 w 25"/>
                <a:gd name="T1" fmla="*/ 1 h 17"/>
                <a:gd name="T2" fmla="*/ 25 w 25"/>
                <a:gd name="T3" fmla="*/ 1 h 17"/>
                <a:gd name="T4" fmla="*/ 25 w 25"/>
                <a:gd name="T5" fmla="*/ 2 h 17"/>
                <a:gd name="T6" fmla="*/ 19 w 25"/>
                <a:gd name="T7" fmla="*/ 7 h 17"/>
                <a:gd name="T8" fmla="*/ 19 w 25"/>
                <a:gd name="T9" fmla="*/ 8 h 17"/>
                <a:gd name="T10" fmla="*/ 18 w 25"/>
                <a:gd name="T11" fmla="*/ 10 h 17"/>
                <a:gd name="T12" fmla="*/ 17 w 25"/>
                <a:gd name="T13" fmla="*/ 10 h 17"/>
                <a:gd name="T14" fmla="*/ 12 w 25"/>
                <a:gd name="T15" fmla="*/ 15 h 17"/>
                <a:gd name="T16" fmla="*/ 12 w 25"/>
                <a:gd name="T17" fmla="*/ 15 h 17"/>
                <a:gd name="T18" fmla="*/ 3 w 25"/>
                <a:gd name="T19" fmla="*/ 17 h 17"/>
                <a:gd name="T20" fmla="*/ 2 w 25"/>
                <a:gd name="T21" fmla="*/ 16 h 17"/>
                <a:gd name="T22" fmla="*/ 0 w 25"/>
                <a:gd name="T23" fmla="*/ 10 h 17"/>
                <a:gd name="T24" fmla="*/ 1 w 25"/>
                <a:gd name="T25" fmla="*/ 8 h 17"/>
                <a:gd name="T26" fmla="*/ 7 w 25"/>
                <a:gd name="T27" fmla="*/ 7 h 17"/>
                <a:gd name="T28" fmla="*/ 8 w 25"/>
                <a:gd name="T29" fmla="*/ 6 h 17"/>
                <a:gd name="T30" fmla="*/ 8 w 25"/>
                <a:gd name="T31" fmla="*/ 4 h 17"/>
                <a:gd name="T32" fmla="*/ 9 w 25"/>
                <a:gd name="T33" fmla="*/ 3 h 17"/>
                <a:gd name="T34" fmla="*/ 14 w 25"/>
                <a:gd name="T35" fmla="*/ 3 h 17"/>
                <a:gd name="T36" fmla="*/ 16 w 25"/>
                <a:gd name="T37" fmla="*/ 2 h 17"/>
                <a:gd name="T38" fmla="*/ 17 w 25"/>
                <a:gd name="T39" fmla="*/ 1 h 17"/>
                <a:gd name="T40" fmla="*/ 24 w 25"/>
                <a:gd name="T41" fmla="*/ 0 h 17"/>
                <a:gd name="T42" fmla="*/ 25 w 25"/>
                <a:gd name="T43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17">
                  <a:moveTo>
                    <a:pt x="25" y="1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5" y="1"/>
                    <a:pt x="25" y="2"/>
                    <a:pt x="25" y="2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8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7" y="1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2" y="16"/>
                    <a:pt x="2" y="1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8" y="7"/>
                    <a:pt x="8" y="6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6" y="3"/>
                    <a:pt x="16" y="2"/>
                  </a:cubicBezTo>
                  <a:cubicBezTo>
                    <a:pt x="16" y="1"/>
                    <a:pt x="16" y="1"/>
                    <a:pt x="17" y="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5" y="0"/>
                    <a:pt x="25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242146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" name="Group 97">
            <a:extLst>
              <a:ext uri="{FF2B5EF4-FFF2-40B4-BE49-F238E27FC236}">
                <a16:creationId xmlns:a16="http://schemas.microsoft.com/office/drawing/2014/main" id="{8CD7DEE7-1AAC-4D6D-B193-234175707103}"/>
              </a:ext>
            </a:extLst>
          </p:cNvPr>
          <p:cNvGrpSpPr/>
          <p:nvPr/>
        </p:nvGrpSpPr>
        <p:grpSpPr>
          <a:xfrm>
            <a:off x="4797008" y="1308100"/>
            <a:ext cx="5742269" cy="4801325"/>
            <a:chOff x="2616200" y="2406651"/>
            <a:chExt cx="2170113" cy="1814512"/>
          </a:xfrm>
          <a:solidFill>
            <a:schemeClr val="bg1">
              <a:lumMod val="85000"/>
            </a:schemeClr>
          </a:solidFill>
        </p:grpSpPr>
        <p:sp>
          <p:nvSpPr>
            <p:cNvPr id="100" name="Freeform 5">
              <a:extLst>
                <a:ext uri="{FF2B5EF4-FFF2-40B4-BE49-F238E27FC236}">
                  <a16:creationId xmlns:a16="http://schemas.microsoft.com/office/drawing/2014/main" id="{0C03ED70-7994-4D42-91B5-CF38C0202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438" y="3563938"/>
              <a:ext cx="125413" cy="149225"/>
            </a:xfrm>
            <a:custGeom>
              <a:avLst/>
              <a:gdLst>
                <a:gd name="T0" fmla="*/ 28 w 42"/>
                <a:gd name="T1" fmla="*/ 46 h 50"/>
                <a:gd name="T2" fmla="*/ 31 w 42"/>
                <a:gd name="T3" fmla="*/ 45 h 50"/>
                <a:gd name="T4" fmla="*/ 34 w 42"/>
                <a:gd name="T5" fmla="*/ 40 h 50"/>
                <a:gd name="T6" fmla="*/ 37 w 42"/>
                <a:gd name="T7" fmla="*/ 34 h 50"/>
                <a:gd name="T8" fmla="*/ 39 w 42"/>
                <a:gd name="T9" fmla="*/ 34 h 50"/>
                <a:gd name="T10" fmla="*/ 42 w 42"/>
                <a:gd name="T11" fmla="*/ 29 h 50"/>
                <a:gd name="T12" fmla="*/ 41 w 42"/>
                <a:gd name="T13" fmla="*/ 21 h 50"/>
                <a:gd name="T14" fmla="*/ 37 w 42"/>
                <a:gd name="T15" fmla="*/ 17 h 50"/>
                <a:gd name="T16" fmla="*/ 35 w 42"/>
                <a:gd name="T17" fmla="*/ 17 h 50"/>
                <a:gd name="T18" fmla="*/ 31 w 42"/>
                <a:gd name="T19" fmla="*/ 14 h 50"/>
                <a:gd name="T20" fmla="*/ 27 w 42"/>
                <a:gd name="T21" fmla="*/ 3 h 50"/>
                <a:gd name="T22" fmla="*/ 23 w 42"/>
                <a:gd name="T23" fmla="*/ 0 h 50"/>
                <a:gd name="T24" fmla="*/ 5 w 42"/>
                <a:gd name="T25" fmla="*/ 0 h 50"/>
                <a:gd name="T26" fmla="*/ 0 w 42"/>
                <a:gd name="T27" fmla="*/ 5 h 50"/>
                <a:gd name="T28" fmla="*/ 0 w 42"/>
                <a:gd name="T29" fmla="*/ 8 h 50"/>
                <a:gd name="T30" fmla="*/ 1 w 42"/>
                <a:gd name="T31" fmla="*/ 8 h 50"/>
                <a:gd name="T32" fmla="*/ 8 w 42"/>
                <a:gd name="T33" fmla="*/ 12 h 50"/>
                <a:gd name="T34" fmla="*/ 8 w 42"/>
                <a:gd name="T35" fmla="*/ 14 h 50"/>
                <a:gd name="T36" fmla="*/ 13 w 42"/>
                <a:gd name="T37" fmla="*/ 19 h 50"/>
                <a:gd name="T38" fmla="*/ 16 w 42"/>
                <a:gd name="T39" fmla="*/ 20 h 50"/>
                <a:gd name="T40" fmla="*/ 20 w 42"/>
                <a:gd name="T41" fmla="*/ 23 h 50"/>
                <a:gd name="T42" fmla="*/ 28 w 42"/>
                <a:gd name="T43" fmla="*/ 40 h 50"/>
                <a:gd name="T44" fmla="*/ 28 w 42"/>
                <a:gd name="T45" fmla="*/ 42 h 50"/>
                <a:gd name="T46" fmla="*/ 28 w 42"/>
                <a:gd name="T47" fmla="*/ 50 h 50"/>
                <a:gd name="T48" fmla="*/ 28 w 42"/>
                <a:gd name="T49" fmla="*/ 50 h 50"/>
                <a:gd name="T50" fmla="*/ 28 w 42"/>
                <a:gd name="T51" fmla="*/ 50 h 50"/>
                <a:gd name="T52" fmla="*/ 28 w 42"/>
                <a:gd name="T53" fmla="*/ 4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2" h="50">
                  <a:moveTo>
                    <a:pt x="28" y="46"/>
                  </a:moveTo>
                  <a:cubicBezTo>
                    <a:pt x="31" y="45"/>
                    <a:pt x="31" y="45"/>
                    <a:pt x="31" y="45"/>
                  </a:cubicBezTo>
                  <a:cubicBezTo>
                    <a:pt x="34" y="45"/>
                    <a:pt x="35" y="42"/>
                    <a:pt x="34" y="40"/>
                  </a:cubicBezTo>
                  <a:cubicBezTo>
                    <a:pt x="33" y="38"/>
                    <a:pt x="35" y="35"/>
                    <a:pt x="37" y="34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41" y="33"/>
                    <a:pt x="42" y="31"/>
                    <a:pt x="42" y="29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18"/>
                    <a:pt x="39" y="17"/>
                    <a:pt x="37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3" y="17"/>
                    <a:pt x="32" y="16"/>
                    <a:pt x="31" y="14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1"/>
                    <a:pt x="24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4" y="8"/>
                    <a:pt x="7" y="10"/>
                    <a:pt x="8" y="12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7"/>
                    <a:pt x="10" y="18"/>
                    <a:pt x="13" y="19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8" y="20"/>
                    <a:pt x="19" y="21"/>
                    <a:pt x="20" y="23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1"/>
                    <a:pt x="28" y="41"/>
                    <a:pt x="28" y="4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lnTo>
                    <a:pt x="28" y="4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6">
              <a:extLst>
                <a:ext uri="{FF2B5EF4-FFF2-40B4-BE49-F238E27FC236}">
                  <a16:creationId xmlns:a16="http://schemas.microsoft.com/office/drawing/2014/main" id="{761FFAF1-BE08-4DF9-96BF-FF199EB9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3650" y="4048126"/>
              <a:ext cx="96838" cy="61913"/>
            </a:xfrm>
            <a:custGeom>
              <a:avLst/>
              <a:gdLst>
                <a:gd name="T0" fmla="*/ 29 w 32"/>
                <a:gd name="T1" fmla="*/ 1 h 21"/>
                <a:gd name="T2" fmla="*/ 17 w 32"/>
                <a:gd name="T3" fmla="*/ 4 h 21"/>
                <a:gd name="T4" fmla="*/ 3 w 32"/>
                <a:gd name="T5" fmla="*/ 1 h 21"/>
                <a:gd name="T6" fmla="*/ 0 w 32"/>
                <a:gd name="T7" fmla="*/ 5 h 21"/>
                <a:gd name="T8" fmla="*/ 3 w 32"/>
                <a:gd name="T9" fmla="*/ 9 h 21"/>
                <a:gd name="T10" fmla="*/ 15 w 32"/>
                <a:gd name="T11" fmla="*/ 13 h 21"/>
                <a:gd name="T12" fmla="*/ 25 w 32"/>
                <a:gd name="T13" fmla="*/ 20 h 21"/>
                <a:gd name="T14" fmla="*/ 30 w 32"/>
                <a:gd name="T15" fmla="*/ 15 h 21"/>
                <a:gd name="T16" fmla="*/ 29 w 32"/>
                <a:gd name="T17" fmla="*/ 8 h 21"/>
                <a:gd name="T18" fmla="*/ 32 w 32"/>
                <a:gd name="T19" fmla="*/ 5 h 21"/>
                <a:gd name="T20" fmla="*/ 29 w 32"/>
                <a:gd name="T21" fmla="*/ 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21">
                  <a:moveTo>
                    <a:pt x="29" y="1"/>
                  </a:moveTo>
                  <a:cubicBezTo>
                    <a:pt x="26" y="1"/>
                    <a:pt x="23" y="4"/>
                    <a:pt x="17" y="4"/>
                  </a:cubicBezTo>
                  <a:cubicBezTo>
                    <a:pt x="10" y="4"/>
                    <a:pt x="6" y="0"/>
                    <a:pt x="3" y="1"/>
                  </a:cubicBezTo>
                  <a:cubicBezTo>
                    <a:pt x="1" y="2"/>
                    <a:pt x="0" y="2"/>
                    <a:pt x="0" y="5"/>
                  </a:cubicBezTo>
                  <a:cubicBezTo>
                    <a:pt x="0" y="7"/>
                    <a:pt x="0" y="9"/>
                    <a:pt x="3" y="9"/>
                  </a:cubicBezTo>
                  <a:cubicBezTo>
                    <a:pt x="6" y="10"/>
                    <a:pt x="13" y="11"/>
                    <a:pt x="15" y="13"/>
                  </a:cubicBezTo>
                  <a:cubicBezTo>
                    <a:pt x="17" y="15"/>
                    <a:pt x="22" y="20"/>
                    <a:pt x="25" y="20"/>
                  </a:cubicBezTo>
                  <a:cubicBezTo>
                    <a:pt x="29" y="21"/>
                    <a:pt x="30" y="19"/>
                    <a:pt x="30" y="15"/>
                  </a:cubicBezTo>
                  <a:cubicBezTo>
                    <a:pt x="30" y="11"/>
                    <a:pt x="26" y="9"/>
                    <a:pt x="29" y="8"/>
                  </a:cubicBezTo>
                  <a:cubicBezTo>
                    <a:pt x="29" y="8"/>
                    <a:pt x="32" y="7"/>
                    <a:pt x="32" y="5"/>
                  </a:cubicBezTo>
                  <a:cubicBezTo>
                    <a:pt x="32" y="3"/>
                    <a:pt x="32" y="0"/>
                    <a:pt x="29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7">
              <a:extLst>
                <a:ext uri="{FF2B5EF4-FFF2-40B4-BE49-F238E27FC236}">
                  <a16:creationId xmlns:a16="http://schemas.microsoft.com/office/drawing/2014/main" id="{73F6C6D3-5BCB-4227-B1E0-C3AC88816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800" y="4133851"/>
              <a:ext cx="20638" cy="20638"/>
            </a:xfrm>
            <a:custGeom>
              <a:avLst/>
              <a:gdLst>
                <a:gd name="T0" fmla="*/ 6 w 7"/>
                <a:gd name="T1" fmla="*/ 5 h 7"/>
                <a:gd name="T2" fmla="*/ 2 w 7"/>
                <a:gd name="T3" fmla="*/ 1 h 7"/>
                <a:gd name="T4" fmla="*/ 1 w 7"/>
                <a:gd name="T5" fmla="*/ 5 h 7"/>
                <a:gd name="T6" fmla="*/ 5 w 7"/>
                <a:gd name="T7" fmla="*/ 7 h 7"/>
                <a:gd name="T8" fmla="*/ 6 w 7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5"/>
                  </a:moveTo>
                  <a:cubicBezTo>
                    <a:pt x="6" y="5"/>
                    <a:pt x="4" y="0"/>
                    <a:pt x="2" y="1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2" y="6"/>
                    <a:pt x="4" y="7"/>
                    <a:pt x="5" y="7"/>
                  </a:cubicBezTo>
                  <a:cubicBezTo>
                    <a:pt x="6" y="6"/>
                    <a:pt x="7" y="6"/>
                    <a:pt x="6" y="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8">
              <a:extLst>
                <a:ext uri="{FF2B5EF4-FFF2-40B4-BE49-F238E27FC236}">
                  <a16:creationId xmlns:a16="http://schemas.microsoft.com/office/drawing/2014/main" id="{C268AD90-ED64-490A-846A-ACD505285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2850" y="2528888"/>
              <a:ext cx="458788" cy="758825"/>
            </a:xfrm>
            <a:custGeom>
              <a:avLst/>
              <a:gdLst>
                <a:gd name="T0" fmla="*/ 81 w 153"/>
                <a:gd name="T1" fmla="*/ 124 h 254"/>
                <a:gd name="T2" fmla="*/ 110 w 153"/>
                <a:gd name="T3" fmla="*/ 106 h 254"/>
                <a:gd name="T4" fmla="*/ 126 w 153"/>
                <a:gd name="T5" fmla="*/ 70 h 254"/>
                <a:gd name="T6" fmla="*/ 150 w 153"/>
                <a:gd name="T7" fmla="*/ 62 h 254"/>
                <a:gd name="T8" fmla="*/ 152 w 153"/>
                <a:gd name="T9" fmla="*/ 53 h 254"/>
                <a:gd name="T10" fmla="*/ 153 w 153"/>
                <a:gd name="T11" fmla="*/ 43 h 254"/>
                <a:gd name="T12" fmla="*/ 148 w 153"/>
                <a:gd name="T13" fmla="*/ 21 h 254"/>
                <a:gd name="T14" fmla="*/ 131 w 153"/>
                <a:gd name="T15" fmla="*/ 12 h 254"/>
                <a:gd name="T16" fmla="*/ 119 w 153"/>
                <a:gd name="T17" fmla="*/ 1 h 254"/>
                <a:gd name="T18" fmla="*/ 115 w 153"/>
                <a:gd name="T19" fmla="*/ 12 h 254"/>
                <a:gd name="T20" fmla="*/ 106 w 153"/>
                <a:gd name="T21" fmla="*/ 8 h 254"/>
                <a:gd name="T22" fmla="*/ 99 w 153"/>
                <a:gd name="T23" fmla="*/ 4 h 254"/>
                <a:gd name="T24" fmla="*/ 95 w 153"/>
                <a:gd name="T25" fmla="*/ 12 h 254"/>
                <a:gd name="T26" fmla="*/ 85 w 153"/>
                <a:gd name="T27" fmla="*/ 16 h 254"/>
                <a:gd name="T28" fmla="*/ 70 w 153"/>
                <a:gd name="T29" fmla="*/ 29 h 254"/>
                <a:gd name="T30" fmla="*/ 69 w 153"/>
                <a:gd name="T31" fmla="*/ 41 h 254"/>
                <a:gd name="T32" fmla="*/ 55 w 153"/>
                <a:gd name="T33" fmla="*/ 56 h 254"/>
                <a:gd name="T34" fmla="*/ 49 w 153"/>
                <a:gd name="T35" fmla="*/ 57 h 254"/>
                <a:gd name="T36" fmla="*/ 48 w 153"/>
                <a:gd name="T37" fmla="*/ 69 h 254"/>
                <a:gd name="T38" fmla="*/ 45 w 153"/>
                <a:gd name="T39" fmla="*/ 89 h 254"/>
                <a:gd name="T40" fmla="*/ 46 w 153"/>
                <a:gd name="T41" fmla="*/ 94 h 254"/>
                <a:gd name="T42" fmla="*/ 29 w 153"/>
                <a:gd name="T43" fmla="*/ 104 h 254"/>
                <a:gd name="T44" fmla="*/ 16 w 153"/>
                <a:gd name="T45" fmla="*/ 139 h 254"/>
                <a:gd name="T46" fmla="*/ 22 w 153"/>
                <a:gd name="T47" fmla="*/ 146 h 254"/>
                <a:gd name="T48" fmla="*/ 23 w 153"/>
                <a:gd name="T49" fmla="*/ 151 h 254"/>
                <a:gd name="T50" fmla="*/ 15 w 153"/>
                <a:gd name="T51" fmla="*/ 155 h 254"/>
                <a:gd name="T52" fmla="*/ 20 w 153"/>
                <a:gd name="T53" fmla="*/ 160 h 254"/>
                <a:gd name="T54" fmla="*/ 24 w 153"/>
                <a:gd name="T55" fmla="*/ 167 h 254"/>
                <a:gd name="T56" fmla="*/ 17 w 153"/>
                <a:gd name="T57" fmla="*/ 175 h 254"/>
                <a:gd name="T58" fmla="*/ 13 w 153"/>
                <a:gd name="T59" fmla="*/ 193 h 254"/>
                <a:gd name="T60" fmla="*/ 0 w 153"/>
                <a:gd name="T61" fmla="*/ 197 h 254"/>
                <a:gd name="T62" fmla="*/ 8 w 153"/>
                <a:gd name="T63" fmla="*/ 219 h 254"/>
                <a:gd name="T64" fmla="*/ 33 w 153"/>
                <a:gd name="T65" fmla="*/ 252 h 254"/>
                <a:gd name="T66" fmla="*/ 40 w 153"/>
                <a:gd name="T67" fmla="*/ 249 h 254"/>
                <a:gd name="T68" fmla="*/ 62 w 153"/>
                <a:gd name="T69" fmla="*/ 231 h 254"/>
                <a:gd name="T70" fmla="*/ 66 w 153"/>
                <a:gd name="T71" fmla="*/ 211 h 254"/>
                <a:gd name="T72" fmla="*/ 81 w 153"/>
                <a:gd name="T73" fmla="*/ 191 h 254"/>
                <a:gd name="T74" fmla="*/ 85 w 153"/>
                <a:gd name="T75" fmla="*/ 170 h 254"/>
                <a:gd name="T76" fmla="*/ 76 w 153"/>
                <a:gd name="T77" fmla="*/ 161 h 254"/>
                <a:gd name="T78" fmla="*/ 77 w 153"/>
                <a:gd name="T79" fmla="*/ 13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" h="254">
                  <a:moveTo>
                    <a:pt x="77" y="131"/>
                  </a:moveTo>
                  <a:cubicBezTo>
                    <a:pt x="78" y="128"/>
                    <a:pt x="79" y="126"/>
                    <a:pt x="81" y="12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110" y="106"/>
                    <a:pt x="110" y="106"/>
                    <a:pt x="110" y="106"/>
                  </a:cubicBezTo>
                  <a:cubicBezTo>
                    <a:pt x="116" y="88"/>
                    <a:pt x="116" y="88"/>
                    <a:pt x="116" y="88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9" y="65"/>
                    <a:pt x="135" y="62"/>
                    <a:pt x="141" y="62"/>
                  </a:cubicBezTo>
                  <a:cubicBezTo>
                    <a:pt x="150" y="62"/>
                    <a:pt x="150" y="62"/>
                    <a:pt x="150" y="62"/>
                  </a:cubicBezTo>
                  <a:cubicBezTo>
                    <a:pt x="151" y="62"/>
                    <a:pt x="152" y="62"/>
                    <a:pt x="152" y="62"/>
                  </a:cubicBezTo>
                  <a:cubicBezTo>
                    <a:pt x="152" y="53"/>
                    <a:pt x="152" y="53"/>
                    <a:pt x="152" y="53"/>
                  </a:cubicBezTo>
                  <a:cubicBezTo>
                    <a:pt x="148" y="49"/>
                    <a:pt x="148" y="49"/>
                    <a:pt x="148" y="49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48" y="38"/>
                    <a:pt x="148" y="38"/>
                    <a:pt x="148" y="38"/>
                  </a:cubicBezTo>
                  <a:cubicBezTo>
                    <a:pt x="148" y="21"/>
                    <a:pt x="148" y="21"/>
                    <a:pt x="148" y="21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119" y="0"/>
                    <a:pt x="119" y="1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19" y="10"/>
                    <a:pt x="117" y="12"/>
                    <a:pt x="115" y="12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108" y="12"/>
                    <a:pt x="106" y="10"/>
                    <a:pt x="106" y="8"/>
                  </a:cubicBezTo>
                  <a:cubicBezTo>
                    <a:pt x="106" y="6"/>
                    <a:pt x="104" y="4"/>
                    <a:pt x="102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7" y="4"/>
                    <a:pt x="95" y="6"/>
                    <a:pt x="95" y="8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14"/>
                    <a:pt x="93" y="16"/>
                    <a:pt x="91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4" y="16"/>
                    <a:pt x="83" y="16"/>
                    <a:pt x="82" y="17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69" y="29"/>
                    <a:pt x="69" y="30"/>
                    <a:pt x="69" y="3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2"/>
                    <a:pt x="69" y="43"/>
                    <a:pt x="68" y="44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7"/>
                    <a:pt x="54" y="57"/>
                    <a:pt x="52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7"/>
                    <a:pt x="49" y="68"/>
                    <a:pt x="48" y="69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1" y="79"/>
                    <a:pt x="41" y="85"/>
                    <a:pt x="45" y="89"/>
                  </a:cubicBezTo>
                  <a:cubicBezTo>
                    <a:pt x="46" y="89"/>
                    <a:pt x="46" y="90"/>
                    <a:pt x="46" y="91"/>
                  </a:cubicBezTo>
                  <a:cubicBezTo>
                    <a:pt x="46" y="94"/>
                    <a:pt x="46" y="94"/>
                    <a:pt x="46" y="94"/>
                  </a:cubicBezTo>
                  <a:cubicBezTo>
                    <a:pt x="46" y="96"/>
                    <a:pt x="45" y="98"/>
                    <a:pt x="44" y="98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1" y="108"/>
                    <a:pt x="16" y="116"/>
                    <a:pt x="16" y="125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40"/>
                    <a:pt x="17" y="141"/>
                    <a:pt x="17" y="141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3" y="147"/>
                    <a:pt x="23" y="148"/>
                  </a:cubicBezTo>
                  <a:cubicBezTo>
                    <a:pt x="23" y="151"/>
                    <a:pt x="23" y="151"/>
                    <a:pt x="23" y="151"/>
                  </a:cubicBezTo>
                  <a:cubicBezTo>
                    <a:pt x="23" y="154"/>
                    <a:pt x="21" y="155"/>
                    <a:pt x="19" y="155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15" y="160"/>
                    <a:pt x="15" y="160"/>
                    <a:pt x="15" y="160"/>
                  </a:cubicBezTo>
                  <a:cubicBezTo>
                    <a:pt x="20" y="160"/>
                    <a:pt x="20" y="160"/>
                    <a:pt x="20" y="160"/>
                  </a:cubicBezTo>
                  <a:cubicBezTo>
                    <a:pt x="22" y="160"/>
                    <a:pt x="24" y="162"/>
                    <a:pt x="24" y="164"/>
                  </a:cubicBezTo>
                  <a:cubicBezTo>
                    <a:pt x="24" y="167"/>
                    <a:pt x="24" y="167"/>
                    <a:pt x="24" y="167"/>
                  </a:cubicBezTo>
                  <a:cubicBezTo>
                    <a:pt x="24" y="168"/>
                    <a:pt x="23" y="169"/>
                    <a:pt x="23" y="169"/>
                  </a:cubicBezTo>
                  <a:cubicBezTo>
                    <a:pt x="17" y="175"/>
                    <a:pt x="17" y="175"/>
                    <a:pt x="17" y="175"/>
                  </a:cubicBezTo>
                  <a:cubicBezTo>
                    <a:pt x="15" y="178"/>
                    <a:pt x="13" y="181"/>
                    <a:pt x="13" y="184"/>
                  </a:cubicBezTo>
                  <a:cubicBezTo>
                    <a:pt x="13" y="193"/>
                    <a:pt x="13" y="193"/>
                    <a:pt x="13" y="193"/>
                  </a:cubicBezTo>
                  <a:cubicBezTo>
                    <a:pt x="13" y="196"/>
                    <a:pt x="11" y="197"/>
                    <a:pt x="9" y="197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2" y="201"/>
                    <a:pt x="3" y="206"/>
                    <a:pt x="3" y="212"/>
                  </a:cubicBezTo>
                  <a:cubicBezTo>
                    <a:pt x="8" y="219"/>
                    <a:pt x="8" y="219"/>
                    <a:pt x="8" y="219"/>
                  </a:cubicBezTo>
                  <a:cubicBezTo>
                    <a:pt x="17" y="239"/>
                    <a:pt x="17" y="239"/>
                    <a:pt x="17" y="239"/>
                  </a:cubicBezTo>
                  <a:cubicBezTo>
                    <a:pt x="16" y="248"/>
                    <a:pt x="24" y="254"/>
                    <a:pt x="33" y="252"/>
                  </a:cubicBezTo>
                  <a:cubicBezTo>
                    <a:pt x="34" y="252"/>
                    <a:pt x="34" y="252"/>
                    <a:pt x="34" y="252"/>
                  </a:cubicBezTo>
                  <a:cubicBezTo>
                    <a:pt x="36" y="251"/>
                    <a:pt x="38" y="250"/>
                    <a:pt x="40" y="249"/>
                  </a:cubicBezTo>
                  <a:cubicBezTo>
                    <a:pt x="47" y="243"/>
                    <a:pt x="47" y="243"/>
                    <a:pt x="47" y="243"/>
                  </a:cubicBezTo>
                  <a:cubicBezTo>
                    <a:pt x="62" y="231"/>
                    <a:pt x="62" y="231"/>
                    <a:pt x="62" y="231"/>
                  </a:cubicBezTo>
                  <a:cubicBezTo>
                    <a:pt x="66" y="227"/>
                    <a:pt x="68" y="222"/>
                    <a:pt x="67" y="217"/>
                  </a:cubicBezTo>
                  <a:cubicBezTo>
                    <a:pt x="66" y="211"/>
                    <a:pt x="66" y="211"/>
                    <a:pt x="66" y="211"/>
                  </a:cubicBezTo>
                  <a:cubicBezTo>
                    <a:pt x="65" y="205"/>
                    <a:pt x="68" y="199"/>
                    <a:pt x="73" y="196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85" y="189"/>
                    <a:pt x="87" y="185"/>
                    <a:pt x="86" y="181"/>
                  </a:cubicBezTo>
                  <a:cubicBezTo>
                    <a:pt x="85" y="170"/>
                    <a:pt x="85" y="170"/>
                    <a:pt x="85" y="170"/>
                  </a:cubicBezTo>
                  <a:cubicBezTo>
                    <a:pt x="85" y="166"/>
                    <a:pt x="82" y="164"/>
                    <a:pt x="79" y="162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73" y="159"/>
                    <a:pt x="71" y="155"/>
                    <a:pt x="72" y="152"/>
                  </a:cubicBezTo>
                  <a:lnTo>
                    <a:pt x="77" y="1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9">
              <a:extLst>
                <a:ext uri="{FF2B5EF4-FFF2-40B4-BE49-F238E27FC236}">
                  <a16:creationId xmlns:a16="http://schemas.microsoft.com/office/drawing/2014/main" id="{CB98DB74-7FE8-4689-810B-B08A7671E8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513" y="2471738"/>
              <a:ext cx="374650" cy="565150"/>
            </a:xfrm>
            <a:custGeom>
              <a:avLst/>
              <a:gdLst>
                <a:gd name="T0" fmla="*/ 118 w 125"/>
                <a:gd name="T1" fmla="*/ 130 h 189"/>
                <a:gd name="T2" fmla="*/ 114 w 125"/>
                <a:gd name="T3" fmla="*/ 127 h 189"/>
                <a:gd name="T4" fmla="*/ 114 w 125"/>
                <a:gd name="T5" fmla="*/ 119 h 189"/>
                <a:gd name="T6" fmla="*/ 115 w 125"/>
                <a:gd name="T7" fmla="*/ 112 h 189"/>
                <a:gd name="T8" fmla="*/ 114 w 125"/>
                <a:gd name="T9" fmla="*/ 111 h 189"/>
                <a:gd name="T10" fmla="*/ 106 w 125"/>
                <a:gd name="T11" fmla="*/ 95 h 189"/>
                <a:gd name="T12" fmla="*/ 106 w 125"/>
                <a:gd name="T13" fmla="*/ 91 h 189"/>
                <a:gd name="T14" fmla="*/ 108 w 125"/>
                <a:gd name="T15" fmla="*/ 83 h 189"/>
                <a:gd name="T16" fmla="*/ 108 w 125"/>
                <a:gd name="T17" fmla="*/ 79 h 189"/>
                <a:gd name="T18" fmla="*/ 99 w 125"/>
                <a:gd name="T19" fmla="*/ 61 h 189"/>
                <a:gd name="T20" fmla="*/ 100 w 125"/>
                <a:gd name="T21" fmla="*/ 55 h 189"/>
                <a:gd name="T22" fmla="*/ 103 w 125"/>
                <a:gd name="T23" fmla="*/ 52 h 189"/>
                <a:gd name="T24" fmla="*/ 103 w 125"/>
                <a:gd name="T25" fmla="*/ 45 h 189"/>
                <a:gd name="T26" fmla="*/ 98 w 125"/>
                <a:gd name="T27" fmla="*/ 37 h 189"/>
                <a:gd name="T28" fmla="*/ 98 w 125"/>
                <a:gd name="T29" fmla="*/ 33 h 189"/>
                <a:gd name="T30" fmla="*/ 100 w 125"/>
                <a:gd name="T31" fmla="*/ 15 h 189"/>
                <a:gd name="T32" fmla="*/ 99 w 125"/>
                <a:gd name="T33" fmla="*/ 15 h 189"/>
                <a:gd name="T34" fmla="*/ 86 w 125"/>
                <a:gd name="T35" fmla="*/ 0 h 189"/>
                <a:gd name="T36" fmla="*/ 84 w 125"/>
                <a:gd name="T37" fmla="*/ 0 h 189"/>
                <a:gd name="T38" fmla="*/ 68 w 125"/>
                <a:gd name="T39" fmla="*/ 3 h 189"/>
                <a:gd name="T40" fmla="*/ 65 w 125"/>
                <a:gd name="T41" fmla="*/ 7 h 189"/>
                <a:gd name="T42" fmla="*/ 65 w 125"/>
                <a:gd name="T43" fmla="*/ 11 h 189"/>
                <a:gd name="T44" fmla="*/ 64 w 125"/>
                <a:gd name="T45" fmla="*/ 14 h 189"/>
                <a:gd name="T46" fmla="*/ 58 w 125"/>
                <a:gd name="T47" fmla="*/ 19 h 189"/>
                <a:gd name="T48" fmla="*/ 43 w 125"/>
                <a:gd name="T49" fmla="*/ 25 h 189"/>
                <a:gd name="T50" fmla="*/ 23 w 125"/>
                <a:gd name="T51" fmla="*/ 25 h 189"/>
                <a:gd name="T52" fmla="*/ 20 w 125"/>
                <a:gd name="T53" fmla="*/ 24 h 189"/>
                <a:gd name="T54" fmla="*/ 15 w 125"/>
                <a:gd name="T55" fmla="*/ 19 h 189"/>
                <a:gd name="T56" fmla="*/ 7 w 125"/>
                <a:gd name="T57" fmla="*/ 15 h 189"/>
                <a:gd name="T58" fmla="*/ 3 w 125"/>
                <a:gd name="T59" fmla="*/ 19 h 189"/>
                <a:gd name="T60" fmla="*/ 15 w 125"/>
                <a:gd name="T61" fmla="*/ 31 h 189"/>
                <a:gd name="T62" fmla="*/ 23 w 125"/>
                <a:gd name="T63" fmla="*/ 31 h 189"/>
                <a:gd name="T64" fmla="*/ 32 w 125"/>
                <a:gd name="T65" fmla="*/ 40 h 189"/>
                <a:gd name="T66" fmla="*/ 32 w 125"/>
                <a:gd name="T67" fmla="*/ 57 h 189"/>
                <a:gd name="T68" fmla="*/ 37 w 125"/>
                <a:gd name="T69" fmla="*/ 62 h 189"/>
                <a:gd name="T70" fmla="*/ 32 w 125"/>
                <a:gd name="T71" fmla="*/ 68 h 189"/>
                <a:gd name="T72" fmla="*/ 36 w 125"/>
                <a:gd name="T73" fmla="*/ 72 h 189"/>
                <a:gd name="T74" fmla="*/ 36 w 125"/>
                <a:gd name="T75" fmla="*/ 81 h 189"/>
                <a:gd name="T76" fmla="*/ 44 w 125"/>
                <a:gd name="T77" fmla="*/ 86 h 189"/>
                <a:gd name="T78" fmla="*/ 43 w 125"/>
                <a:gd name="T79" fmla="*/ 97 h 189"/>
                <a:gd name="T80" fmla="*/ 15 w 125"/>
                <a:gd name="T81" fmla="*/ 126 h 189"/>
                <a:gd name="T82" fmla="*/ 10 w 125"/>
                <a:gd name="T83" fmla="*/ 142 h 189"/>
                <a:gd name="T84" fmla="*/ 7 w 125"/>
                <a:gd name="T85" fmla="*/ 145 h 189"/>
                <a:gd name="T86" fmla="*/ 2 w 125"/>
                <a:gd name="T87" fmla="*/ 162 h 189"/>
                <a:gd name="T88" fmla="*/ 7 w 125"/>
                <a:gd name="T89" fmla="*/ 177 h 189"/>
                <a:gd name="T90" fmla="*/ 13 w 125"/>
                <a:gd name="T91" fmla="*/ 184 h 189"/>
                <a:gd name="T92" fmla="*/ 20 w 125"/>
                <a:gd name="T93" fmla="*/ 187 h 189"/>
                <a:gd name="T94" fmla="*/ 29 w 125"/>
                <a:gd name="T95" fmla="*/ 188 h 189"/>
                <a:gd name="T96" fmla="*/ 61 w 125"/>
                <a:gd name="T97" fmla="*/ 179 h 189"/>
                <a:gd name="T98" fmla="*/ 78 w 125"/>
                <a:gd name="T99" fmla="*/ 179 h 189"/>
                <a:gd name="T100" fmla="*/ 86 w 125"/>
                <a:gd name="T101" fmla="*/ 182 h 189"/>
                <a:gd name="T102" fmla="*/ 113 w 125"/>
                <a:gd name="T103" fmla="*/ 163 h 189"/>
                <a:gd name="T104" fmla="*/ 123 w 125"/>
                <a:gd name="T105" fmla="*/ 149 h 189"/>
                <a:gd name="T106" fmla="*/ 123 w 125"/>
                <a:gd name="T107" fmla="*/ 147 h 189"/>
                <a:gd name="T108" fmla="*/ 118 w 125"/>
                <a:gd name="T109" fmla="*/ 13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5" h="189">
                  <a:moveTo>
                    <a:pt x="118" y="130"/>
                  </a:moveTo>
                  <a:cubicBezTo>
                    <a:pt x="114" y="127"/>
                    <a:pt x="114" y="127"/>
                    <a:pt x="114" y="127"/>
                  </a:cubicBezTo>
                  <a:cubicBezTo>
                    <a:pt x="111" y="125"/>
                    <a:pt x="111" y="121"/>
                    <a:pt x="114" y="119"/>
                  </a:cubicBezTo>
                  <a:cubicBezTo>
                    <a:pt x="115" y="117"/>
                    <a:pt x="116" y="115"/>
                    <a:pt x="115" y="112"/>
                  </a:cubicBezTo>
                  <a:cubicBezTo>
                    <a:pt x="114" y="111"/>
                    <a:pt x="114" y="111"/>
                    <a:pt x="114" y="111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106" y="93"/>
                    <a:pt x="106" y="92"/>
                    <a:pt x="106" y="91"/>
                  </a:cubicBezTo>
                  <a:cubicBezTo>
                    <a:pt x="108" y="83"/>
                    <a:pt x="108" y="83"/>
                    <a:pt x="108" y="83"/>
                  </a:cubicBezTo>
                  <a:cubicBezTo>
                    <a:pt x="108" y="81"/>
                    <a:pt x="108" y="80"/>
                    <a:pt x="108" y="79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8" y="59"/>
                    <a:pt x="99" y="56"/>
                    <a:pt x="100" y="55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4" y="50"/>
                    <a:pt x="105" y="47"/>
                    <a:pt x="103" y="45"/>
                  </a:cubicBezTo>
                  <a:cubicBezTo>
                    <a:pt x="98" y="37"/>
                    <a:pt x="98" y="37"/>
                    <a:pt x="98" y="37"/>
                  </a:cubicBezTo>
                  <a:cubicBezTo>
                    <a:pt x="98" y="36"/>
                    <a:pt x="98" y="34"/>
                    <a:pt x="98" y="33"/>
                  </a:cubicBezTo>
                  <a:cubicBezTo>
                    <a:pt x="100" y="15"/>
                    <a:pt x="100" y="15"/>
                    <a:pt x="100" y="15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5" y="0"/>
                    <a:pt x="85" y="0"/>
                    <a:pt x="84" y="0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6" y="4"/>
                    <a:pt x="65" y="5"/>
                    <a:pt x="65" y="7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2"/>
                    <a:pt x="65" y="13"/>
                    <a:pt x="64" y="14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4" y="23"/>
                    <a:pt x="49" y="25"/>
                    <a:pt x="43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2" y="25"/>
                    <a:pt x="21" y="25"/>
                    <a:pt x="20" y="24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3" y="17"/>
                    <a:pt x="10" y="15"/>
                    <a:pt x="7" y="15"/>
                  </a:cubicBezTo>
                  <a:cubicBezTo>
                    <a:pt x="5" y="15"/>
                    <a:pt x="3" y="17"/>
                    <a:pt x="3" y="19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40" y="81"/>
                    <a:pt x="43" y="83"/>
                    <a:pt x="44" y="86"/>
                  </a:cubicBezTo>
                  <a:cubicBezTo>
                    <a:pt x="46" y="90"/>
                    <a:pt x="45" y="94"/>
                    <a:pt x="43" y="97"/>
                  </a:cubicBezTo>
                  <a:cubicBezTo>
                    <a:pt x="15" y="126"/>
                    <a:pt x="15" y="126"/>
                    <a:pt x="15" y="126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2" y="149"/>
                    <a:pt x="0" y="156"/>
                    <a:pt x="2" y="162"/>
                  </a:cubicBezTo>
                  <a:cubicBezTo>
                    <a:pt x="7" y="177"/>
                    <a:pt x="7" y="177"/>
                    <a:pt x="7" y="177"/>
                  </a:cubicBezTo>
                  <a:cubicBezTo>
                    <a:pt x="8" y="180"/>
                    <a:pt x="10" y="182"/>
                    <a:pt x="13" y="184"/>
                  </a:cubicBezTo>
                  <a:cubicBezTo>
                    <a:pt x="20" y="187"/>
                    <a:pt x="20" y="187"/>
                    <a:pt x="20" y="187"/>
                  </a:cubicBezTo>
                  <a:cubicBezTo>
                    <a:pt x="23" y="189"/>
                    <a:pt x="26" y="189"/>
                    <a:pt x="29" y="188"/>
                  </a:cubicBezTo>
                  <a:cubicBezTo>
                    <a:pt x="61" y="179"/>
                    <a:pt x="61" y="179"/>
                    <a:pt x="61" y="179"/>
                  </a:cubicBezTo>
                  <a:cubicBezTo>
                    <a:pt x="78" y="179"/>
                    <a:pt x="78" y="179"/>
                    <a:pt x="78" y="179"/>
                  </a:cubicBezTo>
                  <a:cubicBezTo>
                    <a:pt x="81" y="179"/>
                    <a:pt x="84" y="180"/>
                    <a:pt x="86" y="182"/>
                  </a:cubicBezTo>
                  <a:cubicBezTo>
                    <a:pt x="113" y="163"/>
                    <a:pt x="113" y="163"/>
                    <a:pt x="113" y="163"/>
                  </a:cubicBezTo>
                  <a:cubicBezTo>
                    <a:pt x="117" y="160"/>
                    <a:pt x="121" y="155"/>
                    <a:pt x="123" y="149"/>
                  </a:cubicBezTo>
                  <a:cubicBezTo>
                    <a:pt x="123" y="147"/>
                    <a:pt x="123" y="147"/>
                    <a:pt x="123" y="147"/>
                  </a:cubicBezTo>
                  <a:cubicBezTo>
                    <a:pt x="125" y="141"/>
                    <a:pt x="123" y="134"/>
                    <a:pt x="118" y="1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10">
              <a:extLst>
                <a:ext uri="{FF2B5EF4-FFF2-40B4-BE49-F238E27FC236}">
                  <a16:creationId xmlns:a16="http://schemas.microsoft.com/office/drawing/2014/main" id="{99FEBCD5-F1D1-4154-B260-D6458225AB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188" y="2406651"/>
              <a:ext cx="892175" cy="750888"/>
            </a:xfrm>
            <a:custGeom>
              <a:avLst/>
              <a:gdLst>
                <a:gd name="T0" fmla="*/ 277 w 298"/>
                <a:gd name="T1" fmla="*/ 6 h 251"/>
                <a:gd name="T2" fmla="*/ 256 w 298"/>
                <a:gd name="T3" fmla="*/ 13 h 251"/>
                <a:gd name="T4" fmla="*/ 247 w 298"/>
                <a:gd name="T5" fmla="*/ 16 h 251"/>
                <a:gd name="T6" fmla="*/ 241 w 298"/>
                <a:gd name="T7" fmla="*/ 1 h 251"/>
                <a:gd name="T8" fmla="*/ 226 w 298"/>
                <a:gd name="T9" fmla="*/ 6 h 251"/>
                <a:gd name="T10" fmla="*/ 217 w 298"/>
                <a:gd name="T11" fmla="*/ 23 h 251"/>
                <a:gd name="T12" fmla="*/ 209 w 298"/>
                <a:gd name="T13" fmla="*/ 15 h 251"/>
                <a:gd name="T14" fmla="*/ 198 w 298"/>
                <a:gd name="T15" fmla="*/ 13 h 251"/>
                <a:gd name="T16" fmla="*/ 189 w 298"/>
                <a:gd name="T17" fmla="*/ 23 h 251"/>
                <a:gd name="T18" fmla="*/ 178 w 298"/>
                <a:gd name="T19" fmla="*/ 18 h 251"/>
                <a:gd name="T20" fmla="*/ 168 w 298"/>
                <a:gd name="T21" fmla="*/ 24 h 251"/>
                <a:gd name="T22" fmla="*/ 154 w 298"/>
                <a:gd name="T23" fmla="*/ 34 h 251"/>
                <a:gd name="T24" fmla="*/ 144 w 298"/>
                <a:gd name="T25" fmla="*/ 35 h 251"/>
                <a:gd name="T26" fmla="*/ 148 w 298"/>
                <a:gd name="T27" fmla="*/ 43 h 251"/>
                <a:gd name="T28" fmla="*/ 143 w 298"/>
                <a:gd name="T29" fmla="*/ 49 h 251"/>
                <a:gd name="T30" fmla="*/ 118 w 298"/>
                <a:gd name="T31" fmla="*/ 50 h 251"/>
                <a:gd name="T32" fmla="*/ 120 w 298"/>
                <a:gd name="T33" fmla="*/ 60 h 251"/>
                <a:gd name="T34" fmla="*/ 126 w 298"/>
                <a:gd name="T35" fmla="*/ 66 h 251"/>
                <a:gd name="T36" fmla="*/ 84 w 298"/>
                <a:gd name="T37" fmla="*/ 118 h 251"/>
                <a:gd name="T38" fmla="*/ 69 w 298"/>
                <a:gd name="T39" fmla="*/ 125 h 251"/>
                <a:gd name="T40" fmla="*/ 53 w 298"/>
                <a:gd name="T41" fmla="*/ 139 h 251"/>
                <a:gd name="T42" fmla="*/ 60 w 298"/>
                <a:gd name="T43" fmla="*/ 143 h 251"/>
                <a:gd name="T44" fmla="*/ 75 w 298"/>
                <a:gd name="T45" fmla="*/ 149 h 251"/>
                <a:gd name="T46" fmla="*/ 44 w 298"/>
                <a:gd name="T47" fmla="*/ 155 h 251"/>
                <a:gd name="T48" fmla="*/ 3 w 298"/>
                <a:gd name="T49" fmla="*/ 208 h 251"/>
                <a:gd name="T50" fmla="*/ 14 w 298"/>
                <a:gd name="T51" fmla="*/ 211 h 251"/>
                <a:gd name="T52" fmla="*/ 6 w 298"/>
                <a:gd name="T53" fmla="*/ 223 h 251"/>
                <a:gd name="T54" fmla="*/ 13 w 298"/>
                <a:gd name="T55" fmla="*/ 242 h 251"/>
                <a:gd name="T56" fmla="*/ 35 w 298"/>
                <a:gd name="T57" fmla="*/ 249 h 251"/>
                <a:gd name="T58" fmla="*/ 74 w 298"/>
                <a:gd name="T59" fmla="*/ 238 h 251"/>
                <a:gd name="T60" fmla="*/ 87 w 298"/>
                <a:gd name="T61" fmla="*/ 234 h 251"/>
                <a:gd name="T62" fmla="*/ 91 w 298"/>
                <a:gd name="T63" fmla="*/ 216 h 251"/>
                <a:gd name="T64" fmla="*/ 98 w 298"/>
                <a:gd name="T65" fmla="*/ 208 h 251"/>
                <a:gd name="T66" fmla="*/ 94 w 298"/>
                <a:gd name="T67" fmla="*/ 201 h 251"/>
                <a:gd name="T68" fmla="*/ 89 w 298"/>
                <a:gd name="T69" fmla="*/ 196 h 251"/>
                <a:gd name="T70" fmla="*/ 97 w 298"/>
                <a:gd name="T71" fmla="*/ 192 h 251"/>
                <a:gd name="T72" fmla="*/ 96 w 298"/>
                <a:gd name="T73" fmla="*/ 187 h 251"/>
                <a:gd name="T74" fmla="*/ 90 w 298"/>
                <a:gd name="T75" fmla="*/ 180 h 251"/>
                <a:gd name="T76" fmla="*/ 103 w 298"/>
                <a:gd name="T77" fmla="*/ 145 h 251"/>
                <a:gd name="T78" fmla="*/ 120 w 298"/>
                <a:gd name="T79" fmla="*/ 135 h 251"/>
                <a:gd name="T80" fmla="*/ 119 w 298"/>
                <a:gd name="T81" fmla="*/ 130 h 251"/>
                <a:gd name="T82" fmla="*/ 122 w 298"/>
                <a:gd name="T83" fmla="*/ 110 h 251"/>
                <a:gd name="T84" fmla="*/ 123 w 298"/>
                <a:gd name="T85" fmla="*/ 98 h 251"/>
                <a:gd name="T86" fmla="*/ 129 w 298"/>
                <a:gd name="T87" fmla="*/ 97 h 251"/>
                <a:gd name="T88" fmla="*/ 143 w 298"/>
                <a:gd name="T89" fmla="*/ 82 h 251"/>
                <a:gd name="T90" fmla="*/ 144 w 298"/>
                <a:gd name="T91" fmla="*/ 70 h 251"/>
                <a:gd name="T92" fmla="*/ 159 w 298"/>
                <a:gd name="T93" fmla="*/ 57 h 251"/>
                <a:gd name="T94" fmla="*/ 169 w 298"/>
                <a:gd name="T95" fmla="*/ 53 h 251"/>
                <a:gd name="T96" fmla="*/ 173 w 298"/>
                <a:gd name="T97" fmla="*/ 45 h 251"/>
                <a:gd name="T98" fmla="*/ 180 w 298"/>
                <a:gd name="T99" fmla="*/ 49 h 251"/>
                <a:gd name="T100" fmla="*/ 189 w 298"/>
                <a:gd name="T101" fmla="*/ 53 h 251"/>
                <a:gd name="T102" fmla="*/ 193 w 298"/>
                <a:gd name="T103" fmla="*/ 42 h 251"/>
                <a:gd name="T104" fmla="*/ 205 w 298"/>
                <a:gd name="T105" fmla="*/ 41 h 251"/>
                <a:gd name="T106" fmla="*/ 213 w 298"/>
                <a:gd name="T107" fmla="*/ 47 h 251"/>
                <a:gd name="T108" fmla="*/ 248 w 298"/>
                <a:gd name="T109" fmla="*/ 41 h 251"/>
                <a:gd name="T110" fmla="*/ 255 w 298"/>
                <a:gd name="T111" fmla="*/ 33 h 251"/>
                <a:gd name="T112" fmla="*/ 258 w 298"/>
                <a:gd name="T113" fmla="*/ 25 h 251"/>
                <a:gd name="T114" fmla="*/ 276 w 298"/>
                <a:gd name="T115" fmla="*/ 22 h 251"/>
                <a:gd name="T116" fmla="*/ 290 w 298"/>
                <a:gd name="T117" fmla="*/ 21 h 251"/>
                <a:gd name="T118" fmla="*/ 297 w 298"/>
                <a:gd name="T119" fmla="*/ 16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8" h="251">
                  <a:moveTo>
                    <a:pt x="289" y="8"/>
                  </a:moveTo>
                  <a:cubicBezTo>
                    <a:pt x="285" y="8"/>
                    <a:pt x="281" y="8"/>
                    <a:pt x="277" y="6"/>
                  </a:cubicBezTo>
                  <a:cubicBezTo>
                    <a:pt x="272" y="2"/>
                    <a:pt x="265" y="3"/>
                    <a:pt x="261" y="7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4" y="15"/>
                    <a:pt x="252" y="16"/>
                    <a:pt x="250" y="16"/>
                  </a:cubicBezTo>
                  <a:cubicBezTo>
                    <a:pt x="247" y="16"/>
                    <a:pt x="247" y="16"/>
                    <a:pt x="247" y="16"/>
                  </a:cubicBezTo>
                  <a:cubicBezTo>
                    <a:pt x="243" y="16"/>
                    <a:pt x="241" y="11"/>
                    <a:pt x="243" y="8"/>
                  </a:cubicBezTo>
                  <a:cubicBezTo>
                    <a:pt x="246" y="5"/>
                    <a:pt x="244" y="1"/>
                    <a:pt x="241" y="1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2" y="0"/>
                    <a:pt x="227" y="2"/>
                    <a:pt x="226" y="6"/>
                  </a:cubicBezTo>
                  <a:cubicBezTo>
                    <a:pt x="222" y="17"/>
                    <a:pt x="222" y="17"/>
                    <a:pt x="222" y="17"/>
                  </a:cubicBezTo>
                  <a:cubicBezTo>
                    <a:pt x="222" y="20"/>
                    <a:pt x="220" y="22"/>
                    <a:pt x="217" y="23"/>
                  </a:cubicBezTo>
                  <a:cubicBezTo>
                    <a:pt x="213" y="24"/>
                    <a:pt x="210" y="21"/>
                    <a:pt x="209" y="17"/>
                  </a:cubicBezTo>
                  <a:cubicBezTo>
                    <a:pt x="209" y="15"/>
                    <a:pt x="209" y="15"/>
                    <a:pt x="209" y="15"/>
                  </a:cubicBezTo>
                  <a:cubicBezTo>
                    <a:pt x="208" y="12"/>
                    <a:pt x="205" y="9"/>
                    <a:pt x="202" y="9"/>
                  </a:cubicBezTo>
                  <a:cubicBezTo>
                    <a:pt x="200" y="9"/>
                    <a:pt x="198" y="11"/>
                    <a:pt x="198" y="13"/>
                  </a:cubicBezTo>
                  <a:cubicBezTo>
                    <a:pt x="197" y="19"/>
                    <a:pt x="197" y="19"/>
                    <a:pt x="197" y="19"/>
                  </a:cubicBezTo>
                  <a:cubicBezTo>
                    <a:pt x="197" y="23"/>
                    <a:pt x="193" y="25"/>
                    <a:pt x="189" y="23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5" y="17"/>
                    <a:pt x="181" y="16"/>
                    <a:pt x="178" y="18"/>
                  </a:cubicBezTo>
                  <a:cubicBezTo>
                    <a:pt x="173" y="20"/>
                    <a:pt x="173" y="20"/>
                    <a:pt x="173" y="20"/>
                  </a:cubicBezTo>
                  <a:cubicBezTo>
                    <a:pt x="171" y="21"/>
                    <a:pt x="169" y="22"/>
                    <a:pt x="168" y="24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1" y="33"/>
                    <a:pt x="157" y="35"/>
                    <a:pt x="154" y="34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47" y="32"/>
                    <a:pt x="145" y="33"/>
                    <a:pt x="144" y="35"/>
                  </a:cubicBezTo>
                  <a:cubicBezTo>
                    <a:pt x="143" y="38"/>
                    <a:pt x="143" y="41"/>
                    <a:pt x="146" y="42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8" y="44"/>
                    <a:pt x="149" y="45"/>
                    <a:pt x="149" y="45"/>
                  </a:cubicBezTo>
                  <a:cubicBezTo>
                    <a:pt x="148" y="48"/>
                    <a:pt x="145" y="50"/>
                    <a:pt x="143" y="49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2" y="46"/>
                    <a:pt x="120" y="47"/>
                    <a:pt x="118" y="50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6" y="55"/>
                    <a:pt x="117" y="58"/>
                    <a:pt x="120" y="60"/>
                  </a:cubicBezTo>
                  <a:cubicBezTo>
                    <a:pt x="125" y="62"/>
                    <a:pt x="125" y="62"/>
                    <a:pt x="125" y="62"/>
                  </a:cubicBezTo>
                  <a:cubicBezTo>
                    <a:pt x="126" y="63"/>
                    <a:pt x="127" y="65"/>
                    <a:pt x="126" y="66"/>
                  </a:cubicBezTo>
                  <a:cubicBezTo>
                    <a:pt x="98" y="95"/>
                    <a:pt x="98" y="95"/>
                    <a:pt x="98" y="95"/>
                  </a:cubicBezTo>
                  <a:cubicBezTo>
                    <a:pt x="84" y="118"/>
                    <a:pt x="84" y="118"/>
                    <a:pt x="84" y="118"/>
                  </a:cubicBezTo>
                  <a:cubicBezTo>
                    <a:pt x="82" y="120"/>
                    <a:pt x="80" y="122"/>
                    <a:pt x="78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7" y="125"/>
                    <a:pt x="65" y="126"/>
                    <a:pt x="64" y="127"/>
                  </a:cubicBezTo>
                  <a:cubicBezTo>
                    <a:pt x="53" y="139"/>
                    <a:pt x="53" y="139"/>
                    <a:pt x="53" y="139"/>
                  </a:cubicBezTo>
                  <a:cubicBezTo>
                    <a:pt x="52" y="140"/>
                    <a:pt x="52" y="142"/>
                    <a:pt x="53" y="143"/>
                  </a:cubicBezTo>
                  <a:cubicBezTo>
                    <a:pt x="55" y="145"/>
                    <a:pt x="58" y="145"/>
                    <a:pt x="60" y="143"/>
                  </a:cubicBezTo>
                  <a:cubicBezTo>
                    <a:pt x="74" y="132"/>
                    <a:pt x="74" y="132"/>
                    <a:pt x="74" y="132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60" y="156"/>
                    <a:pt x="60" y="156"/>
                    <a:pt x="60" y="156"/>
                  </a:cubicBezTo>
                  <a:cubicBezTo>
                    <a:pt x="44" y="155"/>
                    <a:pt x="44" y="155"/>
                    <a:pt x="44" y="155"/>
                  </a:cubicBezTo>
                  <a:cubicBezTo>
                    <a:pt x="16" y="173"/>
                    <a:pt x="16" y="173"/>
                    <a:pt x="16" y="173"/>
                  </a:cubicBezTo>
                  <a:cubicBezTo>
                    <a:pt x="5" y="181"/>
                    <a:pt x="0" y="195"/>
                    <a:pt x="3" y="208"/>
                  </a:cubicBezTo>
                  <a:cubicBezTo>
                    <a:pt x="12" y="209"/>
                    <a:pt x="12" y="209"/>
                    <a:pt x="12" y="209"/>
                  </a:cubicBezTo>
                  <a:cubicBezTo>
                    <a:pt x="13" y="209"/>
                    <a:pt x="14" y="210"/>
                    <a:pt x="14" y="211"/>
                  </a:cubicBezTo>
                  <a:cubicBezTo>
                    <a:pt x="16" y="214"/>
                    <a:pt x="13" y="217"/>
                    <a:pt x="10" y="217"/>
                  </a:cubicBezTo>
                  <a:cubicBezTo>
                    <a:pt x="7" y="217"/>
                    <a:pt x="5" y="220"/>
                    <a:pt x="6" y="223"/>
                  </a:cubicBezTo>
                  <a:cubicBezTo>
                    <a:pt x="9" y="236"/>
                    <a:pt x="9" y="236"/>
                    <a:pt x="9" y="236"/>
                  </a:cubicBezTo>
                  <a:cubicBezTo>
                    <a:pt x="9" y="238"/>
                    <a:pt x="11" y="240"/>
                    <a:pt x="13" y="242"/>
                  </a:cubicBezTo>
                  <a:cubicBezTo>
                    <a:pt x="23" y="248"/>
                    <a:pt x="23" y="248"/>
                    <a:pt x="23" y="248"/>
                  </a:cubicBezTo>
                  <a:cubicBezTo>
                    <a:pt x="26" y="250"/>
                    <a:pt x="31" y="251"/>
                    <a:pt x="35" y="249"/>
                  </a:cubicBezTo>
                  <a:cubicBezTo>
                    <a:pt x="44" y="244"/>
                    <a:pt x="44" y="244"/>
                    <a:pt x="44" y="244"/>
                  </a:cubicBezTo>
                  <a:cubicBezTo>
                    <a:pt x="55" y="236"/>
                    <a:pt x="68" y="224"/>
                    <a:pt x="74" y="238"/>
                  </a:cubicBezTo>
                  <a:cubicBezTo>
                    <a:pt x="83" y="238"/>
                    <a:pt x="83" y="238"/>
                    <a:pt x="83" y="238"/>
                  </a:cubicBezTo>
                  <a:cubicBezTo>
                    <a:pt x="85" y="238"/>
                    <a:pt x="87" y="237"/>
                    <a:pt x="87" y="234"/>
                  </a:cubicBezTo>
                  <a:cubicBezTo>
                    <a:pt x="87" y="225"/>
                    <a:pt x="87" y="225"/>
                    <a:pt x="87" y="225"/>
                  </a:cubicBezTo>
                  <a:cubicBezTo>
                    <a:pt x="87" y="222"/>
                    <a:pt x="89" y="219"/>
                    <a:pt x="91" y="216"/>
                  </a:cubicBezTo>
                  <a:cubicBezTo>
                    <a:pt x="97" y="210"/>
                    <a:pt x="97" y="210"/>
                    <a:pt x="97" y="210"/>
                  </a:cubicBezTo>
                  <a:cubicBezTo>
                    <a:pt x="97" y="210"/>
                    <a:pt x="98" y="209"/>
                    <a:pt x="98" y="208"/>
                  </a:cubicBezTo>
                  <a:cubicBezTo>
                    <a:pt x="98" y="205"/>
                    <a:pt x="98" y="205"/>
                    <a:pt x="98" y="205"/>
                  </a:cubicBezTo>
                  <a:cubicBezTo>
                    <a:pt x="98" y="203"/>
                    <a:pt x="96" y="201"/>
                    <a:pt x="94" y="201"/>
                  </a:cubicBezTo>
                  <a:cubicBezTo>
                    <a:pt x="89" y="201"/>
                    <a:pt x="89" y="201"/>
                    <a:pt x="89" y="201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93" y="196"/>
                    <a:pt x="93" y="196"/>
                    <a:pt x="93" y="196"/>
                  </a:cubicBezTo>
                  <a:cubicBezTo>
                    <a:pt x="95" y="196"/>
                    <a:pt x="97" y="195"/>
                    <a:pt x="97" y="192"/>
                  </a:cubicBezTo>
                  <a:cubicBezTo>
                    <a:pt x="97" y="189"/>
                    <a:pt x="97" y="189"/>
                    <a:pt x="97" y="189"/>
                  </a:cubicBezTo>
                  <a:cubicBezTo>
                    <a:pt x="97" y="188"/>
                    <a:pt x="96" y="187"/>
                    <a:pt x="96" y="187"/>
                  </a:cubicBezTo>
                  <a:cubicBezTo>
                    <a:pt x="91" y="182"/>
                    <a:pt x="91" y="182"/>
                    <a:pt x="91" y="182"/>
                  </a:cubicBezTo>
                  <a:cubicBezTo>
                    <a:pt x="91" y="182"/>
                    <a:pt x="90" y="181"/>
                    <a:pt x="90" y="180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7"/>
                    <a:pt x="95" y="149"/>
                    <a:pt x="103" y="145"/>
                  </a:cubicBezTo>
                  <a:cubicBezTo>
                    <a:pt x="118" y="139"/>
                    <a:pt x="118" y="139"/>
                    <a:pt x="118" y="139"/>
                  </a:cubicBezTo>
                  <a:cubicBezTo>
                    <a:pt x="119" y="139"/>
                    <a:pt x="120" y="137"/>
                    <a:pt x="120" y="135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0" y="131"/>
                    <a:pt x="120" y="130"/>
                    <a:pt x="119" y="130"/>
                  </a:cubicBezTo>
                  <a:cubicBezTo>
                    <a:pt x="115" y="126"/>
                    <a:pt x="115" y="120"/>
                    <a:pt x="118" y="115"/>
                  </a:cubicBezTo>
                  <a:cubicBezTo>
                    <a:pt x="122" y="110"/>
                    <a:pt x="122" y="110"/>
                    <a:pt x="122" y="110"/>
                  </a:cubicBezTo>
                  <a:cubicBezTo>
                    <a:pt x="123" y="109"/>
                    <a:pt x="123" y="108"/>
                    <a:pt x="123" y="107"/>
                  </a:cubicBezTo>
                  <a:cubicBezTo>
                    <a:pt x="123" y="98"/>
                    <a:pt x="123" y="98"/>
                    <a:pt x="123" y="98"/>
                  </a:cubicBezTo>
                  <a:cubicBezTo>
                    <a:pt x="126" y="98"/>
                    <a:pt x="126" y="98"/>
                    <a:pt x="126" y="98"/>
                  </a:cubicBezTo>
                  <a:cubicBezTo>
                    <a:pt x="128" y="98"/>
                    <a:pt x="129" y="98"/>
                    <a:pt x="129" y="97"/>
                  </a:cubicBezTo>
                  <a:cubicBezTo>
                    <a:pt x="142" y="85"/>
                    <a:pt x="142" y="85"/>
                    <a:pt x="142" y="85"/>
                  </a:cubicBezTo>
                  <a:cubicBezTo>
                    <a:pt x="143" y="84"/>
                    <a:pt x="143" y="83"/>
                    <a:pt x="143" y="82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43" y="71"/>
                    <a:pt x="143" y="70"/>
                    <a:pt x="144" y="70"/>
                  </a:cubicBezTo>
                  <a:cubicBezTo>
                    <a:pt x="156" y="58"/>
                    <a:pt x="156" y="58"/>
                    <a:pt x="156" y="58"/>
                  </a:cubicBezTo>
                  <a:cubicBezTo>
                    <a:pt x="157" y="57"/>
                    <a:pt x="158" y="57"/>
                    <a:pt x="159" y="57"/>
                  </a:cubicBezTo>
                  <a:cubicBezTo>
                    <a:pt x="165" y="57"/>
                    <a:pt x="165" y="57"/>
                    <a:pt x="165" y="57"/>
                  </a:cubicBezTo>
                  <a:cubicBezTo>
                    <a:pt x="167" y="57"/>
                    <a:pt x="169" y="55"/>
                    <a:pt x="169" y="53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9" y="47"/>
                    <a:pt x="171" y="45"/>
                    <a:pt x="173" y="45"/>
                  </a:cubicBezTo>
                  <a:cubicBezTo>
                    <a:pt x="176" y="45"/>
                    <a:pt x="176" y="45"/>
                    <a:pt x="176" y="45"/>
                  </a:cubicBezTo>
                  <a:cubicBezTo>
                    <a:pt x="178" y="45"/>
                    <a:pt x="180" y="47"/>
                    <a:pt x="180" y="49"/>
                  </a:cubicBezTo>
                  <a:cubicBezTo>
                    <a:pt x="180" y="51"/>
                    <a:pt x="182" y="53"/>
                    <a:pt x="184" y="53"/>
                  </a:cubicBezTo>
                  <a:cubicBezTo>
                    <a:pt x="189" y="53"/>
                    <a:pt x="189" y="53"/>
                    <a:pt x="189" y="53"/>
                  </a:cubicBezTo>
                  <a:cubicBezTo>
                    <a:pt x="191" y="53"/>
                    <a:pt x="193" y="51"/>
                    <a:pt x="193" y="49"/>
                  </a:cubicBezTo>
                  <a:cubicBezTo>
                    <a:pt x="193" y="42"/>
                    <a:pt x="193" y="42"/>
                    <a:pt x="193" y="42"/>
                  </a:cubicBezTo>
                  <a:cubicBezTo>
                    <a:pt x="193" y="39"/>
                    <a:pt x="195" y="37"/>
                    <a:pt x="197" y="37"/>
                  </a:cubicBezTo>
                  <a:cubicBezTo>
                    <a:pt x="200" y="37"/>
                    <a:pt x="203" y="39"/>
                    <a:pt x="205" y="41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1" y="47"/>
                    <a:pt x="212" y="47"/>
                    <a:pt x="213" y="47"/>
                  </a:cubicBezTo>
                  <a:cubicBezTo>
                    <a:pt x="233" y="47"/>
                    <a:pt x="233" y="47"/>
                    <a:pt x="233" y="47"/>
                  </a:cubicBezTo>
                  <a:cubicBezTo>
                    <a:pt x="239" y="47"/>
                    <a:pt x="244" y="45"/>
                    <a:pt x="248" y="41"/>
                  </a:cubicBezTo>
                  <a:cubicBezTo>
                    <a:pt x="254" y="36"/>
                    <a:pt x="254" y="36"/>
                    <a:pt x="254" y="36"/>
                  </a:cubicBezTo>
                  <a:cubicBezTo>
                    <a:pt x="255" y="35"/>
                    <a:pt x="255" y="34"/>
                    <a:pt x="255" y="33"/>
                  </a:cubicBezTo>
                  <a:cubicBezTo>
                    <a:pt x="255" y="29"/>
                    <a:pt x="255" y="29"/>
                    <a:pt x="255" y="29"/>
                  </a:cubicBezTo>
                  <a:cubicBezTo>
                    <a:pt x="255" y="27"/>
                    <a:pt x="256" y="26"/>
                    <a:pt x="258" y="25"/>
                  </a:cubicBezTo>
                  <a:cubicBezTo>
                    <a:pt x="274" y="22"/>
                    <a:pt x="274" y="22"/>
                    <a:pt x="274" y="22"/>
                  </a:cubicBezTo>
                  <a:cubicBezTo>
                    <a:pt x="275" y="22"/>
                    <a:pt x="275" y="22"/>
                    <a:pt x="276" y="22"/>
                  </a:cubicBezTo>
                  <a:cubicBezTo>
                    <a:pt x="276" y="21"/>
                    <a:pt x="276" y="21"/>
                    <a:pt x="276" y="21"/>
                  </a:cubicBezTo>
                  <a:cubicBezTo>
                    <a:pt x="290" y="21"/>
                    <a:pt x="290" y="21"/>
                    <a:pt x="290" y="21"/>
                  </a:cubicBezTo>
                  <a:cubicBezTo>
                    <a:pt x="293" y="22"/>
                    <a:pt x="296" y="19"/>
                    <a:pt x="297" y="16"/>
                  </a:cubicBezTo>
                  <a:cubicBezTo>
                    <a:pt x="297" y="16"/>
                    <a:pt x="297" y="16"/>
                    <a:pt x="297" y="16"/>
                  </a:cubicBezTo>
                  <a:cubicBezTo>
                    <a:pt x="298" y="11"/>
                    <a:pt x="294" y="7"/>
                    <a:pt x="289" y="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11">
              <a:extLst>
                <a:ext uri="{FF2B5EF4-FFF2-40B4-BE49-F238E27FC236}">
                  <a16:creationId xmlns:a16="http://schemas.microsoft.com/office/drawing/2014/main" id="{6C603A63-74C9-4C8D-956E-B2D8944605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3933826"/>
              <a:ext cx="50800" cy="84138"/>
            </a:xfrm>
            <a:custGeom>
              <a:avLst/>
              <a:gdLst>
                <a:gd name="T0" fmla="*/ 14 w 17"/>
                <a:gd name="T1" fmla="*/ 1 h 28"/>
                <a:gd name="T2" fmla="*/ 10 w 17"/>
                <a:gd name="T3" fmla="*/ 0 h 28"/>
                <a:gd name="T4" fmla="*/ 9 w 17"/>
                <a:gd name="T5" fmla="*/ 0 h 28"/>
                <a:gd name="T6" fmla="*/ 6 w 17"/>
                <a:gd name="T7" fmla="*/ 2 h 28"/>
                <a:gd name="T8" fmla="*/ 2 w 17"/>
                <a:gd name="T9" fmla="*/ 2 h 28"/>
                <a:gd name="T10" fmla="*/ 1 w 17"/>
                <a:gd name="T11" fmla="*/ 9 h 28"/>
                <a:gd name="T12" fmla="*/ 3 w 17"/>
                <a:gd name="T13" fmla="*/ 12 h 28"/>
                <a:gd name="T14" fmla="*/ 3 w 17"/>
                <a:gd name="T15" fmla="*/ 28 h 28"/>
                <a:gd name="T16" fmla="*/ 5 w 17"/>
                <a:gd name="T17" fmla="*/ 28 h 28"/>
                <a:gd name="T18" fmla="*/ 11 w 17"/>
                <a:gd name="T19" fmla="*/ 25 h 28"/>
                <a:gd name="T20" fmla="*/ 13 w 17"/>
                <a:gd name="T21" fmla="*/ 22 h 28"/>
                <a:gd name="T22" fmla="*/ 16 w 17"/>
                <a:gd name="T23" fmla="*/ 17 h 28"/>
                <a:gd name="T24" fmla="*/ 16 w 17"/>
                <a:gd name="T25" fmla="*/ 10 h 28"/>
                <a:gd name="T26" fmla="*/ 16 w 17"/>
                <a:gd name="T27" fmla="*/ 8 h 28"/>
                <a:gd name="T28" fmla="*/ 14 w 17"/>
                <a:gd name="T29" fmla="*/ 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28">
                  <a:moveTo>
                    <a:pt x="14" y="1"/>
                  </a:moveTo>
                  <a:cubicBezTo>
                    <a:pt x="13" y="0"/>
                    <a:pt x="12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3" y="1"/>
                    <a:pt x="2" y="2"/>
                  </a:cubicBezTo>
                  <a:cubicBezTo>
                    <a:pt x="0" y="3"/>
                    <a:pt x="1" y="9"/>
                    <a:pt x="1" y="9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7" y="28"/>
                    <a:pt x="9" y="27"/>
                    <a:pt x="11" y="25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5" y="21"/>
                    <a:pt x="16" y="19"/>
                    <a:pt x="16" y="17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5"/>
                    <a:pt x="16" y="2"/>
                    <a:pt x="14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2">
              <a:extLst>
                <a:ext uri="{FF2B5EF4-FFF2-40B4-BE49-F238E27FC236}">
                  <a16:creationId xmlns:a16="http://schemas.microsoft.com/office/drawing/2014/main" id="{03722D4B-F71D-44F0-98ED-83043A9873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063" y="3862388"/>
              <a:ext cx="30163" cy="47625"/>
            </a:xfrm>
            <a:custGeom>
              <a:avLst/>
              <a:gdLst>
                <a:gd name="T0" fmla="*/ 4 w 10"/>
                <a:gd name="T1" fmla="*/ 0 h 16"/>
                <a:gd name="T2" fmla="*/ 0 w 10"/>
                <a:gd name="T3" fmla="*/ 4 h 16"/>
                <a:gd name="T4" fmla="*/ 0 w 10"/>
                <a:gd name="T5" fmla="*/ 11 h 16"/>
                <a:gd name="T6" fmla="*/ 2 w 10"/>
                <a:gd name="T7" fmla="*/ 15 h 16"/>
                <a:gd name="T8" fmla="*/ 4 w 10"/>
                <a:gd name="T9" fmla="*/ 15 h 16"/>
                <a:gd name="T10" fmla="*/ 4 w 10"/>
                <a:gd name="T11" fmla="*/ 9 h 16"/>
                <a:gd name="T12" fmla="*/ 9 w 10"/>
                <a:gd name="T13" fmla="*/ 9 h 16"/>
                <a:gd name="T14" fmla="*/ 9 w 10"/>
                <a:gd name="T15" fmla="*/ 4 h 16"/>
                <a:gd name="T16" fmla="*/ 4 w 10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6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"/>
                    <a:pt x="0" y="14"/>
                    <a:pt x="2" y="15"/>
                  </a:cubicBezTo>
                  <a:cubicBezTo>
                    <a:pt x="2" y="15"/>
                    <a:pt x="3" y="16"/>
                    <a:pt x="4" y="15"/>
                  </a:cubicBezTo>
                  <a:cubicBezTo>
                    <a:pt x="5" y="14"/>
                    <a:pt x="4" y="9"/>
                    <a:pt x="4" y="9"/>
                  </a:cubicBezTo>
                  <a:cubicBezTo>
                    <a:pt x="4" y="9"/>
                    <a:pt x="8" y="10"/>
                    <a:pt x="9" y="9"/>
                  </a:cubicBezTo>
                  <a:cubicBezTo>
                    <a:pt x="10" y="8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3">
              <a:extLst>
                <a:ext uri="{FF2B5EF4-FFF2-40B4-BE49-F238E27FC236}">
                  <a16:creationId xmlns:a16="http://schemas.microsoft.com/office/drawing/2014/main" id="{1EB8DC98-67DA-49F4-8B47-427C6D348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300" y="3814763"/>
              <a:ext cx="442913" cy="315913"/>
            </a:xfrm>
            <a:custGeom>
              <a:avLst/>
              <a:gdLst>
                <a:gd name="T0" fmla="*/ 120 w 148"/>
                <a:gd name="T1" fmla="*/ 13 h 106"/>
                <a:gd name="T2" fmla="*/ 113 w 148"/>
                <a:gd name="T3" fmla="*/ 14 h 106"/>
                <a:gd name="T4" fmla="*/ 88 w 148"/>
                <a:gd name="T5" fmla="*/ 5 h 106"/>
                <a:gd name="T6" fmla="*/ 85 w 148"/>
                <a:gd name="T7" fmla="*/ 6 h 106"/>
                <a:gd name="T8" fmla="*/ 68 w 148"/>
                <a:gd name="T9" fmla="*/ 5 h 106"/>
                <a:gd name="T10" fmla="*/ 68 w 148"/>
                <a:gd name="T11" fmla="*/ 5 h 106"/>
                <a:gd name="T12" fmla="*/ 56 w 148"/>
                <a:gd name="T13" fmla="*/ 5 h 106"/>
                <a:gd name="T14" fmla="*/ 54 w 148"/>
                <a:gd name="T15" fmla="*/ 5 h 106"/>
                <a:gd name="T16" fmla="*/ 49 w 148"/>
                <a:gd name="T17" fmla="*/ 2 h 106"/>
                <a:gd name="T18" fmla="*/ 47 w 148"/>
                <a:gd name="T19" fmla="*/ 2 h 106"/>
                <a:gd name="T20" fmla="*/ 22 w 148"/>
                <a:gd name="T21" fmla="*/ 0 h 106"/>
                <a:gd name="T22" fmla="*/ 22 w 148"/>
                <a:gd name="T23" fmla="*/ 0 h 106"/>
                <a:gd name="T24" fmla="*/ 12 w 148"/>
                <a:gd name="T25" fmla="*/ 0 h 106"/>
                <a:gd name="T26" fmla="*/ 9 w 148"/>
                <a:gd name="T27" fmla="*/ 1 h 106"/>
                <a:gd name="T28" fmla="*/ 2 w 148"/>
                <a:gd name="T29" fmla="*/ 7 h 106"/>
                <a:gd name="T30" fmla="*/ 0 w 148"/>
                <a:gd name="T31" fmla="*/ 12 h 106"/>
                <a:gd name="T32" fmla="*/ 2 w 148"/>
                <a:gd name="T33" fmla="*/ 20 h 106"/>
                <a:gd name="T34" fmla="*/ 3 w 148"/>
                <a:gd name="T35" fmla="*/ 22 h 106"/>
                <a:gd name="T36" fmla="*/ 5 w 148"/>
                <a:gd name="T37" fmla="*/ 25 h 106"/>
                <a:gd name="T38" fmla="*/ 6 w 148"/>
                <a:gd name="T39" fmla="*/ 27 h 106"/>
                <a:gd name="T40" fmla="*/ 13 w 148"/>
                <a:gd name="T41" fmla="*/ 29 h 106"/>
                <a:gd name="T42" fmla="*/ 29 w 148"/>
                <a:gd name="T43" fmla="*/ 26 h 106"/>
                <a:gd name="T44" fmla="*/ 34 w 148"/>
                <a:gd name="T45" fmla="*/ 28 h 106"/>
                <a:gd name="T46" fmla="*/ 35 w 148"/>
                <a:gd name="T47" fmla="*/ 35 h 106"/>
                <a:gd name="T48" fmla="*/ 34 w 148"/>
                <a:gd name="T49" fmla="*/ 36 h 106"/>
                <a:gd name="T50" fmla="*/ 32 w 148"/>
                <a:gd name="T51" fmla="*/ 38 h 106"/>
                <a:gd name="T52" fmla="*/ 31 w 148"/>
                <a:gd name="T53" fmla="*/ 38 h 106"/>
                <a:gd name="T54" fmla="*/ 28 w 148"/>
                <a:gd name="T55" fmla="*/ 43 h 106"/>
                <a:gd name="T56" fmla="*/ 25 w 148"/>
                <a:gd name="T57" fmla="*/ 62 h 106"/>
                <a:gd name="T58" fmla="*/ 24 w 148"/>
                <a:gd name="T59" fmla="*/ 65 h 106"/>
                <a:gd name="T60" fmla="*/ 22 w 148"/>
                <a:gd name="T61" fmla="*/ 67 h 106"/>
                <a:gd name="T62" fmla="*/ 24 w 148"/>
                <a:gd name="T63" fmla="*/ 70 h 106"/>
                <a:gd name="T64" fmla="*/ 25 w 148"/>
                <a:gd name="T65" fmla="*/ 73 h 106"/>
                <a:gd name="T66" fmla="*/ 23 w 148"/>
                <a:gd name="T67" fmla="*/ 91 h 106"/>
                <a:gd name="T68" fmla="*/ 27 w 148"/>
                <a:gd name="T69" fmla="*/ 92 h 106"/>
                <a:gd name="T70" fmla="*/ 28 w 148"/>
                <a:gd name="T71" fmla="*/ 94 h 106"/>
                <a:gd name="T72" fmla="*/ 30 w 148"/>
                <a:gd name="T73" fmla="*/ 98 h 106"/>
                <a:gd name="T74" fmla="*/ 33 w 148"/>
                <a:gd name="T75" fmla="*/ 102 h 106"/>
                <a:gd name="T76" fmla="*/ 37 w 148"/>
                <a:gd name="T77" fmla="*/ 105 h 106"/>
                <a:gd name="T78" fmla="*/ 41 w 148"/>
                <a:gd name="T79" fmla="*/ 106 h 106"/>
                <a:gd name="T80" fmla="*/ 50 w 148"/>
                <a:gd name="T81" fmla="*/ 103 h 106"/>
                <a:gd name="T82" fmla="*/ 51 w 148"/>
                <a:gd name="T83" fmla="*/ 102 h 106"/>
                <a:gd name="T84" fmla="*/ 65 w 148"/>
                <a:gd name="T85" fmla="*/ 99 h 106"/>
                <a:gd name="T86" fmla="*/ 66 w 148"/>
                <a:gd name="T87" fmla="*/ 99 h 106"/>
                <a:gd name="T88" fmla="*/ 75 w 148"/>
                <a:gd name="T89" fmla="*/ 99 h 106"/>
                <a:gd name="T90" fmla="*/ 78 w 148"/>
                <a:gd name="T91" fmla="*/ 98 h 106"/>
                <a:gd name="T92" fmla="*/ 89 w 148"/>
                <a:gd name="T93" fmla="*/ 90 h 106"/>
                <a:gd name="T94" fmla="*/ 89 w 148"/>
                <a:gd name="T95" fmla="*/ 90 h 106"/>
                <a:gd name="T96" fmla="*/ 99 w 148"/>
                <a:gd name="T97" fmla="*/ 81 h 106"/>
                <a:gd name="T98" fmla="*/ 109 w 148"/>
                <a:gd name="T99" fmla="*/ 72 h 106"/>
                <a:gd name="T100" fmla="*/ 104 w 148"/>
                <a:gd name="T101" fmla="*/ 64 h 106"/>
                <a:gd name="T102" fmla="*/ 108 w 148"/>
                <a:gd name="T103" fmla="*/ 52 h 106"/>
                <a:gd name="T104" fmla="*/ 121 w 148"/>
                <a:gd name="T105" fmla="*/ 39 h 106"/>
                <a:gd name="T106" fmla="*/ 125 w 148"/>
                <a:gd name="T107" fmla="*/ 37 h 106"/>
                <a:gd name="T108" fmla="*/ 131 w 148"/>
                <a:gd name="T109" fmla="*/ 36 h 106"/>
                <a:gd name="T110" fmla="*/ 134 w 148"/>
                <a:gd name="T111" fmla="*/ 35 h 106"/>
                <a:gd name="T112" fmla="*/ 144 w 148"/>
                <a:gd name="T113" fmla="*/ 30 h 106"/>
                <a:gd name="T114" fmla="*/ 147 w 148"/>
                <a:gd name="T115" fmla="*/ 25 h 106"/>
                <a:gd name="T116" fmla="*/ 148 w 148"/>
                <a:gd name="T117" fmla="*/ 20 h 106"/>
                <a:gd name="T118" fmla="*/ 127 w 148"/>
                <a:gd name="T119" fmla="*/ 11 h 106"/>
                <a:gd name="T120" fmla="*/ 120 w 148"/>
                <a:gd name="T121" fmla="*/ 1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06">
                  <a:moveTo>
                    <a:pt x="120" y="13"/>
                  </a:moveTo>
                  <a:cubicBezTo>
                    <a:pt x="118" y="15"/>
                    <a:pt x="115" y="15"/>
                    <a:pt x="113" y="14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7" y="6"/>
                    <a:pt x="86" y="6"/>
                    <a:pt x="85" y="6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5" y="5"/>
                    <a:pt x="54" y="5"/>
                    <a:pt x="54" y="5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8" y="2"/>
                    <a:pt x="48" y="2"/>
                    <a:pt x="47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9" y="1"/>
                    <a:pt x="9" y="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8"/>
                    <a:pt x="0" y="10"/>
                    <a:pt x="0" y="1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1"/>
                    <a:pt x="2" y="21"/>
                    <a:pt x="3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6" y="26"/>
                    <a:pt x="6" y="26"/>
                    <a:pt x="6" y="27"/>
                  </a:cubicBezTo>
                  <a:cubicBezTo>
                    <a:pt x="9" y="28"/>
                    <a:pt x="12" y="29"/>
                    <a:pt x="13" y="29"/>
                  </a:cubicBezTo>
                  <a:cubicBezTo>
                    <a:pt x="14" y="29"/>
                    <a:pt x="23" y="27"/>
                    <a:pt x="29" y="26"/>
                  </a:cubicBezTo>
                  <a:cubicBezTo>
                    <a:pt x="31" y="26"/>
                    <a:pt x="33" y="27"/>
                    <a:pt x="34" y="28"/>
                  </a:cubicBezTo>
                  <a:cubicBezTo>
                    <a:pt x="36" y="30"/>
                    <a:pt x="36" y="33"/>
                    <a:pt x="35" y="35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3" y="37"/>
                    <a:pt x="33" y="38"/>
                    <a:pt x="32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8" y="41"/>
                    <a:pt x="28" y="43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5" y="63"/>
                    <a:pt x="25" y="64"/>
                    <a:pt x="24" y="65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5" y="71"/>
                    <a:pt x="25" y="72"/>
                    <a:pt x="25" y="73"/>
                  </a:cubicBezTo>
                  <a:cubicBezTo>
                    <a:pt x="23" y="91"/>
                    <a:pt x="23" y="91"/>
                    <a:pt x="23" y="91"/>
                  </a:cubicBezTo>
                  <a:cubicBezTo>
                    <a:pt x="24" y="91"/>
                    <a:pt x="26" y="92"/>
                    <a:pt x="27" y="92"/>
                  </a:cubicBezTo>
                  <a:cubicBezTo>
                    <a:pt x="28" y="94"/>
                    <a:pt x="28" y="94"/>
                    <a:pt x="28" y="94"/>
                  </a:cubicBezTo>
                  <a:cubicBezTo>
                    <a:pt x="30" y="95"/>
                    <a:pt x="30" y="96"/>
                    <a:pt x="30" y="98"/>
                  </a:cubicBezTo>
                  <a:cubicBezTo>
                    <a:pt x="30" y="100"/>
                    <a:pt x="31" y="101"/>
                    <a:pt x="33" y="102"/>
                  </a:cubicBezTo>
                  <a:cubicBezTo>
                    <a:pt x="37" y="105"/>
                    <a:pt x="37" y="105"/>
                    <a:pt x="37" y="105"/>
                  </a:cubicBezTo>
                  <a:cubicBezTo>
                    <a:pt x="38" y="106"/>
                    <a:pt x="40" y="106"/>
                    <a:pt x="41" y="106"/>
                  </a:cubicBezTo>
                  <a:cubicBezTo>
                    <a:pt x="50" y="103"/>
                    <a:pt x="50" y="103"/>
                    <a:pt x="50" y="103"/>
                  </a:cubicBezTo>
                  <a:cubicBezTo>
                    <a:pt x="50" y="103"/>
                    <a:pt x="50" y="102"/>
                    <a:pt x="51" y="102"/>
                  </a:cubicBezTo>
                  <a:cubicBezTo>
                    <a:pt x="65" y="99"/>
                    <a:pt x="65" y="99"/>
                    <a:pt x="65" y="99"/>
                  </a:cubicBezTo>
                  <a:cubicBezTo>
                    <a:pt x="65" y="99"/>
                    <a:pt x="66" y="99"/>
                    <a:pt x="66" y="99"/>
                  </a:cubicBezTo>
                  <a:cubicBezTo>
                    <a:pt x="75" y="99"/>
                    <a:pt x="75" y="99"/>
                    <a:pt x="75" y="99"/>
                  </a:cubicBezTo>
                  <a:cubicBezTo>
                    <a:pt x="76" y="99"/>
                    <a:pt x="77" y="99"/>
                    <a:pt x="78" y="98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8" y="52"/>
                    <a:pt x="108" y="52"/>
                    <a:pt x="108" y="52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2" y="38"/>
                    <a:pt x="124" y="37"/>
                    <a:pt x="125" y="37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2" y="36"/>
                    <a:pt x="133" y="36"/>
                    <a:pt x="134" y="35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29"/>
                    <a:pt x="147" y="27"/>
                    <a:pt x="147" y="25"/>
                  </a:cubicBezTo>
                  <a:cubicBezTo>
                    <a:pt x="148" y="20"/>
                    <a:pt x="148" y="20"/>
                    <a:pt x="148" y="20"/>
                  </a:cubicBezTo>
                  <a:cubicBezTo>
                    <a:pt x="127" y="11"/>
                    <a:pt x="127" y="11"/>
                    <a:pt x="127" y="11"/>
                  </a:cubicBezTo>
                  <a:cubicBezTo>
                    <a:pt x="124" y="10"/>
                    <a:pt x="121" y="11"/>
                    <a:pt x="120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4">
              <a:extLst>
                <a:ext uri="{FF2B5EF4-FFF2-40B4-BE49-F238E27FC236}">
                  <a16:creationId xmlns:a16="http://schemas.microsoft.com/office/drawing/2014/main" id="{F2F0387B-312E-4147-AD68-DC66EF752C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250" y="3178176"/>
              <a:ext cx="90488" cy="136525"/>
            </a:xfrm>
            <a:custGeom>
              <a:avLst/>
              <a:gdLst>
                <a:gd name="T0" fmla="*/ 1 w 30"/>
                <a:gd name="T1" fmla="*/ 28 h 46"/>
                <a:gd name="T2" fmla="*/ 8 w 30"/>
                <a:gd name="T3" fmla="*/ 46 h 46"/>
                <a:gd name="T4" fmla="*/ 19 w 30"/>
                <a:gd name="T5" fmla="*/ 46 h 46"/>
                <a:gd name="T6" fmla="*/ 17 w 30"/>
                <a:gd name="T7" fmla="*/ 41 h 46"/>
                <a:gd name="T8" fmla="*/ 16 w 30"/>
                <a:gd name="T9" fmla="*/ 32 h 46"/>
                <a:gd name="T10" fmla="*/ 17 w 30"/>
                <a:gd name="T11" fmla="*/ 27 h 46"/>
                <a:gd name="T12" fmla="*/ 20 w 30"/>
                <a:gd name="T13" fmla="*/ 24 h 46"/>
                <a:gd name="T14" fmla="*/ 27 w 30"/>
                <a:gd name="T15" fmla="*/ 22 h 46"/>
                <a:gd name="T16" fmla="*/ 30 w 30"/>
                <a:gd name="T17" fmla="*/ 18 h 46"/>
                <a:gd name="T18" fmla="*/ 30 w 30"/>
                <a:gd name="T19" fmla="*/ 17 h 46"/>
                <a:gd name="T20" fmla="*/ 28 w 30"/>
                <a:gd name="T21" fmla="*/ 14 h 46"/>
                <a:gd name="T22" fmla="*/ 27 w 30"/>
                <a:gd name="T23" fmla="*/ 13 h 46"/>
                <a:gd name="T24" fmla="*/ 26 w 30"/>
                <a:gd name="T25" fmla="*/ 9 h 46"/>
                <a:gd name="T26" fmla="*/ 28 w 30"/>
                <a:gd name="T27" fmla="*/ 2 h 46"/>
                <a:gd name="T28" fmla="*/ 17 w 30"/>
                <a:gd name="T29" fmla="*/ 3 h 46"/>
                <a:gd name="T30" fmla="*/ 13 w 30"/>
                <a:gd name="T31" fmla="*/ 7 h 46"/>
                <a:gd name="T32" fmla="*/ 8 w 30"/>
                <a:gd name="T33" fmla="*/ 7 h 46"/>
                <a:gd name="T34" fmla="*/ 4 w 30"/>
                <a:gd name="T35" fmla="*/ 7 h 46"/>
                <a:gd name="T36" fmla="*/ 1 w 30"/>
                <a:gd name="T37" fmla="*/ 10 h 46"/>
                <a:gd name="T38" fmla="*/ 0 w 30"/>
                <a:gd name="T39" fmla="*/ 13 h 46"/>
                <a:gd name="T40" fmla="*/ 1 w 30"/>
                <a:gd name="T41" fmla="*/ 26 h 46"/>
                <a:gd name="T42" fmla="*/ 1 w 30"/>
                <a:gd name="T43" fmla="*/ 2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" h="46">
                  <a:moveTo>
                    <a:pt x="1" y="28"/>
                  </a:moveTo>
                  <a:cubicBezTo>
                    <a:pt x="8" y="46"/>
                    <a:pt x="8" y="46"/>
                    <a:pt x="8" y="46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5" y="38"/>
                    <a:pt x="15" y="35"/>
                    <a:pt x="16" y="32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8" y="22"/>
                    <a:pt x="30" y="20"/>
                    <a:pt x="30" y="18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6"/>
                    <a:pt x="29" y="15"/>
                    <a:pt x="28" y="14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6" y="12"/>
                    <a:pt x="25" y="10"/>
                    <a:pt x="26" y="9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0"/>
                    <a:pt x="20" y="0"/>
                    <a:pt x="17" y="3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9"/>
                    <a:pt x="9" y="9"/>
                    <a:pt x="8" y="7"/>
                  </a:cubicBezTo>
                  <a:cubicBezTo>
                    <a:pt x="7" y="6"/>
                    <a:pt x="5" y="6"/>
                    <a:pt x="4" y="7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1"/>
                    <a:pt x="0" y="12"/>
                    <a:pt x="0" y="13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7"/>
                    <a:pt x="1" y="27"/>
                    <a:pt x="1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5">
              <a:extLst>
                <a:ext uri="{FF2B5EF4-FFF2-40B4-BE49-F238E27FC236}">
                  <a16:creationId xmlns:a16="http://schemas.microsoft.com/office/drawing/2014/main" id="{3D1AEDA2-279E-474B-822C-4D8C33958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3314701"/>
              <a:ext cx="317500" cy="303213"/>
            </a:xfrm>
            <a:custGeom>
              <a:avLst/>
              <a:gdLst>
                <a:gd name="T0" fmla="*/ 42 w 106"/>
                <a:gd name="T1" fmla="*/ 95 h 101"/>
                <a:gd name="T2" fmla="*/ 52 w 106"/>
                <a:gd name="T3" fmla="*/ 100 h 101"/>
                <a:gd name="T4" fmla="*/ 56 w 106"/>
                <a:gd name="T5" fmla="*/ 101 h 101"/>
                <a:gd name="T6" fmla="*/ 71 w 106"/>
                <a:gd name="T7" fmla="*/ 101 h 101"/>
                <a:gd name="T8" fmla="*/ 86 w 106"/>
                <a:gd name="T9" fmla="*/ 94 h 101"/>
                <a:gd name="T10" fmla="*/ 92 w 106"/>
                <a:gd name="T11" fmla="*/ 89 h 101"/>
                <a:gd name="T12" fmla="*/ 92 w 106"/>
                <a:gd name="T13" fmla="*/ 76 h 101"/>
                <a:gd name="T14" fmla="*/ 86 w 106"/>
                <a:gd name="T15" fmla="*/ 69 h 101"/>
                <a:gd name="T16" fmla="*/ 83 w 106"/>
                <a:gd name="T17" fmla="*/ 63 h 101"/>
                <a:gd name="T18" fmla="*/ 83 w 106"/>
                <a:gd name="T19" fmla="*/ 60 h 101"/>
                <a:gd name="T20" fmla="*/ 89 w 106"/>
                <a:gd name="T21" fmla="*/ 51 h 101"/>
                <a:gd name="T22" fmla="*/ 99 w 106"/>
                <a:gd name="T23" fmla="*/ 48 h 101"/>
                <a:gd name="T24" fmla="*/ 104 w 106"/>
                <a:gd name="T25" fmla="*/ 37 h 101"/>
                <a:gd name="T26" fmla="*/ 101 w 106"/>
                <a:gd name="T27" fmla="*/ 25 h 101"/>
                <a:gd name="T28" fmla="*/ 104 w 106"/>
                <a:gd name="T29" fmla="*/ 16 h 101"/>
                <a:gd name="T30" fmla="*/ 106 w 106"/>
                <a:gd name="T31" fmla="*/ 13 h 101"/>
                <a:gd name="T32" fmla="*/ 103 w 106"/>
                <a:gd name="T33" fmla="*/ 10 h 101"/>
                <a:gd name="T34" fmla="*/ 88 w 106"/>
                <a:gd name="T35" fmla="*/ 5 h 101"/>
                <a:gd name="T36" fmla="*/ 85 w 106"/>
                <a:gd name="T37" fmla="*/ 5 h 101"/>
                <a:gd name="T38" fmla="*/ 77 w 106"/>
                <a:gd name="T39" fmla="*/ 13 h 101"/>
                <a:gd name="T40" fmla="*/ 59 w 106"/>
                <a:gd name="T41" fmla="*/ 6 h 101"/>
                <a:gd name="T42" fmla="*/ 53 w 106"/>
                <a:gd name="T43" fmla="*/ 1 h 101"/>
                <a:gd name="T44" fmla="*/ 52 w 106"/>
                <a:gd name="T45" fmla="*/ 0 h 101"/>
                <a:gd name="T46" fmla="*/ 41 w 106"/>
                <a:gd name="T47" fmla="*/ 0 h 101"/>
                <a:gd name="T48" fmla="*/ 42 w 106"/>
                <a:gd name="T49" fmla="*/ 3 h 101"/>
                <a:gd name="T50" fmla="*/ 45 w 106"/>
                <a:gd name="T51" fmla="*/ 8 h 101"/>
                <a:gd name="T52" fmla="*/ 44 w 106"/>
                <a:gd name="T53" fmla="*/ 12 h 101"/>
                <a:gd name="T54" fmla="*/ 39 w 106"/>
                <a:gd name="T55" fmla="*/ 16 h 101"/>
                <a:gd name="T56" fmla="*/ 38 w 106"/>
                <a:gd name="T57" fmla="*/ 17 h 101"/>
                <a:gd name="T58" fmla="*/ 36 w 106"/>
                <a:gd name="T59" fmla="*/ 22 h 101"/>
                <a:gd name="T60" fmla="*/ 30 w 106"/>
                <a:gd name="T61" fmla="*/ 17 h 101"/>
                <a:gd name="T62" fmla="*/ 27 w 106"/>
                <a:gd name="T63" fmla="*/ 17 h 101"/>
                <a:gd name="T64" fmla="*/ 25 w 106"/>
                <a:gd name="T65" fmla="*/ 17 h 101"/>
                <a:gd name="T66" fmla="*/ 26 w 106"/>
                <a:gd name="T67" fmla="*/ 19 h 101"/>
                <a:gd name="T68" fmla="*/ 26 w 106"/>
                <a:gd name="T69" fmla="*/ 21 h 101"/>
                <a:gd name="T70" fmla="*/ 18 w 106"/>
                <a:gd name="T71" fmla="*/ 34 h 101"/>
                <a:gd name="T72" fmla="*/ 10 w 106"/>
                <a:gd name="T73" fmla="*/ 48 h 101"/>
                <a:gd name="T74" fmla="*/ 10 w 106"/>
                <a:gd name="T75" fmla="*/ 55 h 101"/>
                <a:gd name="T76" fmla="*/ 10 w 106"/>
                <a:gd name="T77" fmla="*/ 55 h 101"/>
                <a:gd name="T78" fmla="*/ 10 w 106"/>
                <a:gd name="T79" fmla="*/ 65 h 101"/>
                <a:gd name="T80" fmla="*/ 7 w 106"/>
                <a:gd name="T81" fmla="*/ 71 h 101"/>
                <a:gd name="T82" fmla="*/ 0 w 106"/>
                <a:gd name="T83" fmla="*/ 79 h 101"/>
                <a:gd name="T84" fmla="*/ 10 w 106"/>
                <a:gd name="T85" fmla="*/ 79 h 101"/>
                <a:gd name="T86" fmla="*/ 12 w 106"/>
                <a:gd name="T87" fmla="*/ 80 h 101"/>
                <a:gd name="T88" fmla="*/ 16 w 106"/>
                <a:gd name="T89" fmla="*/ 84 h 101"/>
                <a:gd name="T90" fmla="*/ 19 w 106"/>
                <a:gd name="T91" fmla="*/ 85 h 101"/>
                <a:gd name="T92" fmla="*/ 28 w 106"/>
                <a:gd name="T93" fmla="*/ 85 h 101"/>
                <a:gd name="T94" fmla="*/ 32 w 106"/>
                <a:gd name="T95" fmla="*/ 88 h 101"/>
                <a:gd name="T96" fmla="*/ 32 w 106"/>
                <a:gd name="T97" fmla="*/ 91 h 101"/>
                <a:gd name="T98" fmla="*/ 31 w 106"/>
                <a:gd name="T99" fmla="*/ 93 h 101"/>
                <a:gd name="T100" fmla="*/ 30 w 106"/>
                <a:gd name="T101" fmla="*/ 94 h 101"/>
                <a:gd name="T102" fmla="*/ 38 w 106"/>
                <a:gd name="T103" fmla="*/ 94 h 101"/>
                <a:gd name="T104" fmla="*/ 42 w 106"/>
                <a:gd name="T105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6" h="101">
                  <a:moveTo>
                    <a:pt x="42" y="95"/>
                  </a:moveTo>
                  <a:cubicBezTo>
                    <a:pt x="52" y="100"/>
                    <a:pt x="52" y="100"/>
                    <a:pt x="52" y="100"/>
                  </a:cubicBezTo>
                  <a:cubicBezTo>
                    <a:pt x="53" y="100"/>
                    <a:pt x="54" y="101"/>
                    <a:pt x="56" y="101"/>
                  </a:cubicBezTo>
                  <a:cubicBezTo>
                    <a:pt x="71" y="101"/>
                    <a:pt x="71" y="101"/>
                    <a:pt x="71" y="101"/>
                  </a:cubicBezTo>
                  <a:cubicBezTo>
                    <a:pt x="77" y="101"/>
                    <a:pt x="82" y="98"/>
                    <a:pt x="86" y="94"/>
                  </a:cubicBezTo>
                  <a:cubicBezTo>
                    <a:pt x="92" y="89"/>
                    <a:pt x="92" y="89"/>
                    <a:pt x="92" y="89"/>
                  </a:cubicBezTo>
                  <a:cubicBezTo>
                    <a:pt x="96" y="85"/>
                    <a:pt x="96" y="79"/>
                    <a:pt x="92" y="76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4" y="68"/>
                    <a:pt x="83" y="65"/>
                    <a:pt x="83" y="63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3" y="56"/>
                    <a:pt x="86" y="53"/>
                    <a:pt x="89" y="51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103" y="46"/>
                    <a:pt x="105" y="42"/>
                    <a:pt x="104" y="3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0" y="22"/>
                    <a:pt x="101" y="18"/>
                    <a:pt x="104" y="16"/>
                  </a:cubicBezTo>
                  <a:cubicBezTo>
                    <a:pt x="105" y="15"/>
                    <a:pt x="106" y="14"/>
                    <a:pt x="106" y="13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99" y="5"/>
                    <a:pt x="93" y="4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1" y="6"/>
                    <a:pt x="78" y="9"/>
                    <a:pt x="77" y="13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6" y="5"/>
                    <a:pt x="54" y="3"/>
                    <a:pt x="53" y="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9"/>
                    <a:pt x="45" y="11"/>
                    <a:pt x="44" y="12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7"/>
                    <a:pt x="38" y="17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29" y="17"/>
                    <a:pt x="28" y="16"/>
                    <a:pt x="27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8"/>
                    <a:pt x="26" y="19"/>
                    <a:pt x="26" y="19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6"/>
                    <a:pt x="23" y="31"/>
                    <a:pt x="18" y="34"/>
                  </a:cubicBezTo>
                  <a:cubicBezTo>
                    <a:pt x="13" y="37"/>
                    <a:pt x="10" y="42"/>
                    <a:pt x="10" y="48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1" y="59"/>
                    <a:pt x="11" y="62"/>
                    <a:pt x="10" y="65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6" y="74"/>
                    <a:pt x="3" y="77"/>
                    <a:pt x="0" y="79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1" y="79"/>
                    <a:pt x="11" y="79"/>
                    <a:pt x="12" y="80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7" y="85"/>
                    <a:pt x="18" y="85"/>
                    <a:pt x="19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0" y="85"/>
                    <a:pt x="32" y="86"/>
                    <a:pt x="32" y="88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32" y="92"/>
                    <a:pt x="31" y="92"/>
                    <a:pt x="31" y="93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9" y="94"/>
                    <a:pt x="41" y="94"/>
                    <a:pt x="42" y="9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6">
              <a:extLst>
                <a:ext uri="{FF2B5EF4-FFF2-40B4-BE49-F238E27FC236}">
                  <a16:creationId xmlns:a16="http://schemas.microsoft.com/office/drawing/2014/main" id="{89194FC6-1AB8-44AD-84A0-01F658F54F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5" y="3541713"/>
              <a:ext cx="220663" cy="150813"/>
            </a:xfrm>
            <a:custGeom>
              <a:avLst/>
              <a:gdLst>
                <a:gd name="T0" fmla="*/ 68 w 74"/>
                <a:gd name="T1" fmla="*/ 29 h 50"/>
                <a:gd name="T2" fmla="*/ 73 w 74"/>
                <a:gd name="T3" fmla="*/ 21 h 50"/>
                <a:gd name="T4" fmla="*/ 73 w 74"/>
                <a:gd name="T5" fmla="*/ 15 h 50"/>
                <a:gd name="T6" fmla="*/ 71 w 74"/>
                <a:gd name="T7" fmla="*/ 7 h 50"/>
                <a:gd name="T8" fmla="*/ 65 w 74"/>
                <a:gd name="T9" fmla="*/ 2 h 50"/>
                <a:gd name="T10" fmla="*/ 61 w 74"/>
                <a:gd name="T11" fmla="*/ 1 h 50"/>
                <a:gd name="T12" fmla="*/ 53 w 74"/>
                <a:gd name="T13" fmla="*/ 4 h 50"/>
                <a:gd name="T14" fmla="*/ 46 w 74"/>
                <a:gd name="T15" fmla="*/ 7 h 50"/>
                <a:gd name="T16" fmla="*/ 40 w 74"/>
                <a:gd name="T17" fmla="*/ 7 h 50"/>
                <a:gd name="T18" fmla="*/ 37 w 74"/>
                <a:gd name="T19" fmla="*/ 13 h 50"/>
                <a:gd name="T20" fmla="*/ 31 w 74"/>
                <a:gd name="T21" fmla="*/ 18 h 50"/>
                <a:gd name="T22" fmla="*/ 16 w 74"/>
                <a:gd name="T23" fmla="*/ 25 h 50"/>
                <a:gd name="T24" fmla="*/ 1 w 74"/>
                <a:gd name="T25" fmla="*/ 25 h 50"/>
                <a:gd name="T26" fmla="*/ 1 w 74"/>
                <a:gd name="T27" fmla="*/ 26 h 50"/>
                <a:gd name="T28" fmla="*/ 5 w 74"/>
                <a:gd name="T29" fmla="*/ 31 h 50"/>
                <a:gd name="T30" fmla="*/ 7 w 74"/>
                <a:gd name="T31" fmla="*/ 31 h 50"/>
                <a:gd name="T32" fmla="*/ 10 w 74"/>
                <a:gd name="T33" fmla="*/ 35 h 50"/>
                <a:gd name="T34" fmla="*/ 8 w 74"/>
                <a:gd name="T35" fmla="*/ 39 h 50"/>
                <a:gd name="T36" fmla="*/ 3 w 74"/>
                <a:gd name="T37" fmla="*/ 42 h 50"/>
                <a:gd name="T38" fmla="*/ 0 w 74"/>
                <a:gd name="T39" fmla="*/ 47 h 50"/>
                <a:gd name="T40" fmla="*/ 0 w 74"/>
                <a:gd name="T41" fmla="*/ 50 h 50"/>
                <a:gd name="T42" fmla="*/ 2 w 74"/>
                <a:gd name="T43" fmla="*/ 48 h 50"/>
                <a:gd name="T44" fmla="*/ 8 w 74"/>
                <a:gd name="T45" fmla="*/ 46 h 50"/>
                <a:gd name="T46" fmla="*/ 14 w 74"/>
                <a:gd name="T47" fmla="*/ 46 h 50"/>
                <a:gd name="T48" fmla="*/ 15 w 74"/>
                <a:gd name="T49" fmla="*/ 42 h 50"/>
                <a:gd name="T50" fmla="*/ 23 w 74"/>
                <a:gd name="T51" fmla="*/ 42 h 50"/>
                <a:gd name="T52" fmla="*/ 28 w 74"/>
                <a:gd name="T53" fmla="*/ 45 h 50"/>
                <a:gd name="T54" fmla="*/ 30 w 74"/>
                <a:gd name="T55" fmla="*/ 48 h 50"/>
                <a:gd name="T56" fmla="*/ 34 w 74"/>
                <a:gd name="T57" fmla="*/ 49 h 50"/>
                <a:gd name="T58" fmla="*/ 35 w 74"/>
                <a:gd name="T59" fmla="*/ 49 h 50"/>
                <a:gd name="T60" fmla="*/ 62 w 74"/>
                <a:gd name="T61" fmla="*/ 36 h 50"/>
                <a:gd name="T62" fmla="*/ 68 w 74"/>
                <a:gd name="T63" fmla="*/ 29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4" h="50">
                  <a:moveTo>
                    <a:pt x="68" y="29"/>
                  </a:moveTo>
                  <a:cubicBezTo>
                    <a:pt x="73" y="21"/>
                    <a:pt x="73" y="21"/>
                    <a:pt x="73" y="21"/>
                  </a:cubicBezTo>
                  <a:cubicBezTo>
                    <a:pt x="74" y="19"/>
                    <a:pt x="74" y="17"/>
                    <a:pt x="73" y="15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0" y="5"/>
                    <a:pt x="68" y="2"/>
                    <a:pt x="65" y="2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58" y="0"/>
                    <a:pt x="55" y="1"/>
                    <a:pt x="53" y="4"/>
                  </a:cubicBezTo>
                  <a:cubicBezTo>
                    <a:pt x="51" y="6"/>
                    <a:pt x="49" y="7"/>
                    <a:pt x="46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9"/>
                    <a:pt x="39" y="11"/>
                    <a:pt x="37" y="13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27" y="22"/>
                    <a:pt x="22" y="25"/>
                    <a:pt x="16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9"/>
                    <a:pt x="3" y="31"/>
                    <a:pt x="5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9" y="31"/>
                    <a:pt x="10" y="33"/>
                    <a:pt x="10" y="35"/>
                  </a:cubicBezTo>
                  <a:cubicBezTo>
                    <a:pt x="10" y="36"/>
                    <a:pt x="10" y="38"/>
                    <a:pt x="8" y="39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1" y="43"/>
                    <a:pt x="0" y="45"/>
                    <a:pt x="0" y="4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3" y="47"/>
                    <a:pt x="6" y="46"/>
                    <a:pt x="8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3"/>
                    <a:pt x="15" y="42"/>
                  </a:cubicBezTo>
                  <a:cubicBezTo>
                    <a:pt x="16" y="40"/>
                    <a:pt x="23" y="42"/>
                    <a:pt x="23" y="42"/>
                  </a:cubicBezTo>
                  <a:cubicBezTo>
                    <a:pt x="25" y="42"/>
                    <a:pt x="27" y="43"/>
                    <a:pt x="28" y="45"/>
                  </a:cubicBezTo>
                  <a:cubicBezTo>
                    <a:pt x="28" y="46"/>
                    <a:pt x="29" y="47"/>
                    <a:pt x="30" y="48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5" y="49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5" y="34"/>
                    <a:pt x="67" y="32"/>
                    <a:pt x="68" y="2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7">
              <a:extLst>
                <a:ext uri="{FF2B5EF4-FFF2-40B4-BE49-F238E27FC236}">
                  <a16:creationId xmlns:a16="http://schemas.microsoft.com/office/drawing/2014/main" id="{03598C08-11AC-4C60-8D70-18CAD3C4D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3443288"/>
              <a:ext cx="193675" cy="120650"/>
            </a:xfrm>
            <a:custGeom>
              <a:avLst/>
              <a:gdLst>
                <a:gd name="T0" fmla="*/ 52 w 65"/>
                <a:gd name="T1" fmla="*/ 34 h 40"/>
                <a:gd name="T2" fmla="*/ 55 w 65"/>
                <a:gd name="T3" fmla="*/ 33 h 40"/>
                <a:gd name="T4" fmla="*/ 62 w 65"/>
                <a:gd name="T5" fmla="*/ 26 h 40"/>
                <a:gd name="T6" fmla="*/ 61 w 65"/>
                <a:gd name="T7" fmla="*/ 18 h 40"/>
                <a:gd name="T8" fmla="*/ 21 w 65"/>
                <a:gd name="T9" fmla="*/ 0 h 40"/>
                <a:gd name="T10" fmla="*/ 16 w 65"/>
                <a:gd name="T11" fmla="*/ 5 h 40"/>
                <a:gd name="T12" fmla="*/ 6 w 65"/>
                <a:gd name="T13" fmla="*/ 8 h 40"/>
                <a:gd name="T14" fmla="*/ 0 w 65"/>
                <a:gd name="T15" fmla="*/ 17 h 40"/>
                <a:gd name="T16" fmla="*/ 0 w 65"/>
                <a:gd name="T17" fmla="*/ 20 h 40"/>
                <a:gd name="T18" fmla="*/ 3 w 65"/>
                <a:gd name="T19" fmla="*/ 26 h 40"/>
                <a:gd name="T20" fmla="*/ 9 w 65"/>
                <a:gd name="T21" fmla="*/ 33 h 40"/>
                <a:gd name="T22" fmla="*/ 12 w 65"/>
                <a:gd name="T23" fmla="*/ 40 h 40"/>
                <a:gd name="T24" fmla="*/ 18 w 65"/>
                <a:gd name="T25" fmla="*/ 40 h 40"/>
                <a:gd name="T26" fmla="*/ 25 w 65"/>
                <a:gd name="T27" fmla="*/ 37 h 40"/>
                <a:gd name="T28" fmla="*/ 33 w 65"/>
                <a:gd name="T29" fmla="*/ 34 h 40"/>
                <a:gd name="T30" fmla="*/ 37 w 65"/>
                <a:gd name="T31" fmla="*/ 35 h 40"/>
                <a:gd name="T32" fmla="*/ 38 w 65"/>
                <a:gd name="T33" fmla="*/ 34 h 40"/>
                <a:gd name="T34" fmla="*/ 52 w 65"/>
                <a:gd name="T35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" h="40">
                  <a:moveTo>
                    <a:pt x="52" y="34"/>
                  </a:moveTo>
                  <a:cubicBezTo>
                    <a:pt x="53" y="34"/>
                    <a:pt x="54" y="34"/>
                    <a:pt x="55" y="33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5" y="24"/>
                    <a:pt x="64" y="20"/>
                    <a:pt x="61" y="18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2"/>
                    <a:pt x="18" y="4"/>
                    <a:pt x="16" y="5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3" y="10"/>
                    <a:pt x="0" y="13"/>
                    <a:pt x="0" y="1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1" y="25"/>
                    <a:pt x="3" y="26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1" y="35"/>
                    <a:pt x="12" y="37"/>
                    <a:pt x="12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21" y="40"/>
                    <a:pt x="23" y="39"/>
                    <a:pt x="25" y="37"/>
                  </a:cubicBezTo>
                  <a:cubicBezTo>
                    <a:pt x="27" y="34"/>
                    <a:pt x="30" y="33"/>
                    <a:pt x="33" y="34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4"/>
                    <a:pt x="38" y="34"/>
                    <a:pt x="38" y="34"/>
                  </a:cubicBezTo>
                  <a:lnTo>
                    <a:pt x="52" y="3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18">
              <a:extLst>
                <a:ext uri="{FF2B5EF4-FFF2-40B4-BE49-F238E27FC236}">
                  <a16:creationId xmlns:a16="http://schemas.microsoft.com/office/drawing/2014/main" id="{C77F9ED6-97B9-4CA0-85C3-73B81708EE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700" y="3638551"/>
              <a:ext cx="125413" cy="85725"/>
            </a:xfrm>
            <a:custGeom>
              <a:avLst/>
              <a:gdLst>
                <a:gd name="T0" fmla="*/ 23 w 42"/>
                <a:gd name="T1" fmla="*/ 22 h 29"/>
                <a:gd name="T2" fmla="*/ 29 w 42"/>
                <a:gd name="T3" fmla="*/ 11 h 29"/>
                <a:gd name="T4" fmla="*/ 36 w 42"/>
                <a:gd name="T5" fmla="*/ 14 h 29"/>
                <a:gd name="T6" fmla="*/ 39 w 42"/>
                <a:gd name="T7" fmla="*/ 13 h 29"/>
                <a:gd name="T8" fmla="*/ 42 w 42"/>
                <a:gd name="T9" fmla="*/ 11 h 29"/>
                <a:gd name="T10" fmla="*/ 39 w 42"/>
                <a:gd name="T11" fmla="*/ 8 h 29"/>
                <a:gd name="T12" fmla="*/ 32 w 42"/>
                <a:gd name="T13" fmla="*/ 0 h 29"/>
                <a:gd name="T14" fmla="*/ 27 w 42"/>
                <a:gd name="T15" fmla="*/ 4 h 29"/>
                <a:gd name="T16" fmla="*/ 0 w 42"/>
                <a:gd name="T17" fmla="*/ 17 h 29"/>
                <a:gd name="T18" fmla="*/ 5 w 42"/>
                <a:gd name="T19" fmla="*/ 28 h 29"/>
                <a:gd name="T20" fmla="*/ 5 w 42"/>
                <a:gd name="T21" fmla="*/ 29 h 29"/>
                <a:gd name="T22" fmla="*/ 21 w 42"/>
                <a:gd name="T23" fmla="*/ 23 h 29"/>
                <a:gd name="T24" fmla="*/ 23 w 42"/>
                <a:gd name="T25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29">
                  <a:moveTo>
                    <a:pt x="23" y="22"/>
                  </a:moveTo>
                  <a:cubicBezTo>
                    <a:pt x="25" y="19"/>
                    <a:pt x="29" y="12"/>
                    <a:pt x="29" y="11"/>
                  </a:cubicBezTo>
                  <a:cubicBezTo>
                    <a:pt x="29" y="11"/>
                    <a:pt x="33" y="12"/>
                    <a:pt x="36" y="14"/>
                  </a:cubicBezTo>
                  <a:cubicBezTo>
                    <a:pt x="37" y="14"/>
                    <a:pt x="38" y="14"/>
                    <a:pt x="39" y="13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1" y="10"/>
                    <a:pt x="40" y="9"/>
                    <a:pt x="39" y="8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0" y="1"/>
                    <a:pt x="29" y="3"/>
                    <a:pt x="27" y="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4" y="19"/>
                    <a:pt x="7" y="23"/>
                    <a:pt x="5" y="2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2" y="23"/>
                    <a:pt x="23" y="22"/>
                    <a:pt x="23" y="2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19">
              <a:extLst>
                <a:ext uri="{FF2B5EF4-FFF2-40B4-BE49-F238E27FC236}">
                  <a16:creationId xmlns:a16="http://schemas.microsoft.com/office/drawing/2014/main" id="{6C0C8614-610B-4815-B4A3-D739AC5E42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738" y="3808413"/>
              <a:ext cx="44450" cy="68263"/>
            </a:xfrm>
            <a:custGeom>
              <a:avLst/>
              <a:gdLst>
                <a:gd name="T0" fmla="*/ 15 w 15"/>
                <a:gd name="T1" fmla="*/ 12 h 23"/>
                <a:gd name="T2" fmla="*/ 11 w 15"/>
                <a:gd name="T3" fmla="*/ 3 h 23"/>
                <a:gd name="T4" fmla="*/ 10 w 15"/>
                <a:gd name="T5" fmla="*/ 2 h 23"/>
                <a:gd name="T6" fmla="*/ 8 w 15"/>
                <a:gd name="T7" fmla="*/ 0 h 23"/>
                <a:gd name="T8" fmla="*/ 2 w 15"/>
                <a:gd name="T9" fmla="*/ 11 h 23"/>
                <a:gd name="T10" fmla="*/ 2 w 15"/>
                <a:gd name="T11" fmla="*/ 12 h 23"/>
                <a:gd name="T12" fmla="*/ 0 w 15"/>
                <a:gd name="T13" fmla="*/ 21 h 23"/>
                <a:gd name="T14" fmla="*/ 1 w 15"/>
                <a:gd name="T15" fmla="*/ 21 h 23"/>
                <a:gd name="T16" fmla="*/ 8 w 15"/>
                <a:gd name="T17" fmla="*/ 23 h 23"/>
                <a:gd name="T18" fmla="*/ 11 w 15"/>
                <a:gd name="T19" fmla="*/ 20 h 23"/>
                <a:gd name="T20" fmla="*/ 15 w 15"/>
                <a:gd name="T21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23">
                  <a:moveTo>
                    <a:pt x="15" y="12"/>
                  </a:moveTo>
                  <a:cubicBezTo>
                    <a:pt x="15" y="8"/>
                    <a:pt x="13" y="5"/>
                    <a:pt x="11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9" y="1"/>
                    <a:pt x="8" y="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0"/>
                    <a:pt x="6" y="21"/>
                    <a:pt x="8" y="23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3" y="18"/>
                    <a:pt x="15" y="15"/>
                    <a:pt x="15" y="1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20">
              <a:extLst>
                <a:ext uri="{FF2B5EF4-FFF2-40B4-BE49-F238E27FC236}">
                  <a16:creationId xmlns:a16="http://schemas.microsoft.com/office/drawing/2014/main" id="{F08D3D4E-90CF-40B7-B6CE-52E770D4B0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9550" y="3852863"/>
              <a:ext cx="69850" cy="120650"/>
            </a:xfrm>
            <a:custGeom>
              <a:avLst/>
              <a:gdLst>
                <a:gd name="T0" fmla="*/ 17 w 23"/>
                <a:gd name="T1" fmla="*/ 13 h 40"/>
                <a:gd name="T2" fmla="*/ 17 w 23"/>
                <a:gd name="T3" fmla="*/ 11 h 40"/>
                <a:gd name="T4" fmla="*/ 12 w 23"/>
                <a:gd name="T5" fmla="*/ 3 h 40"/>
                <a:gd name="T6" fmla="*/ 6 w 23"/>
                <a:gd name="T7" fmla="*/ 0 h 40"/>
                <a:gd name="T8" fmla="*/ 3 w 23"/>
                <a:gd name="T9" fmla="*/ 5 h 40"/>
                <a:gd name="T10" fmla="*/ 0 w 23"/>
                <a:gd name="T11" fmla="*/ 8 h 40"/>
                <a:gd name="T12" fmla="*/ 1 w 23"/>
                <a:gd name="T13" fmla="*/ 9 h 40"/>
                <a:gd name="T14" fmla="*/ 9 w 23"/>
                <a:gd name="T15" fmla="*/ 20 h 40"/>
                <a:gd name="T16" fmla="*/ 10 w 23"/>
                <a:gd name="T17" fmla="*/ 24 h 40"/>
                <a:gd name="T18" fmla="*/ 10 w 23"/>
                <a:gd name="T19" fmla="*/ 29 h 40"/>
                <a:gd name="T20" fmla="*/ 13 w 23"/>
                <a:gd name="T21" fmla="*/ 38 h 40"/>
                <a:gd name="T22" fmla="*/ 14 w 23"/>
                <a:gd name="T23" fmla="*/ 40 h 40"/>
                <a:gd name="T24" fmla="*/ 18 w 23"/>
                <a:gd name="T25" fmla="*/ 28 h 40"/>
                <a:gd name="T26" fmla="*/ 23 w 23"/>
                <a:gd name="T27" fmla="*/ 24 h 40"/>
                <a:gd name="T28" fmla="*/ 19 w 23"/>
                <a:gd name="T29" fmla="*/ 20 h 40"/>
                <a:gd name="T30" fmla="*/ 17 w 23"/>
                <a:gd name="T31" fmla="*/ 1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" h="40">
                  <a:moveTo>
                    <a:pt x="17" y="13"/>
                  </a:moveTo>
                  <a:cubicBezTo>
                    <a:pt x="17" y="11"/>
                    <a:pt x="17" y="11"/>
                    <a:pt x="17" y="11"/>
                  </a:cubicBezTo>
                  <a:cubicBezTo>
                    <a:pt x="17" y="7"/>
                    <a:pt x="15" y="4"/>
                    <a:pt x="12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4"/>
                    <a:pt x="3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1" y="9"/>
                    <a:pt x="1" y="9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1"/>
                    <a:pt x="10" y="22"/>
                    <a:pt x="10" y="24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32"/>
                    <a:pt x="11" y="35"/>
                    <a:pt x="13" y="38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6"/>
                    <a:pt x="21" y="24"/>
                    <a:pt x="23" y="24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7" y="18"/>
                    <a:pt x="17" y="16"/>
                    <a:pt x="17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21">
              <a:extLst>
                <a:ext uri="{FF2B5EF4-FFF2-40B4-BE49-F238E27FC236}">
                  <a16:creationId xmlns:a16="http://schemas.microsoft.com/office/drawing/2014/main" id="{27E3CA4B-A795-47E2-89E3-6A943BEB50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1613" y="3673476"/>
              <a:ext cx="146050" cy="203200"/>
            </a:xfrm>
            <a:custGeom>
              <a:avLst/>
              <a:gdLst>
                <a:gd name="T0" fmla="*/ 31 w 49"/>
                <a:gd name="T1" fmla="*/ 60 h 68"/>
                <a:gd name="T2" fmla="*/ 32 w 49"/>
                <a:gd name="T3" fmla="*/ 60 h 68"/>
                <a:gd name="T4" fmla="*/ 43 w 49"/>
                <a:gd name="T5" fmla="*/ 61 h 68"/>
                <a:gd name="T6" fmla="*/ 42 w 49"/>
                <a:gd name="T7" fmla="*/ 57 h 68"/>
                <a:gd name="T8" fmla="*/ 47 w 49"/>
                <a:gd name="T9" fmla="*/ 53 h 68"/>
                <a:gd name="T10" fmla="*/ 49 w 49"/>
                <a:gd name="T11" fmla="*/ 53 h 68"/>
                <a:gd name="T12" fmla="*/ 49 w 49"/>
                <a:gd name="T13" fmla="*/ 49 h 68"/>
                <a:gd name="T14" fmla="*/ 47 w 49"/>
                <a:gd name="T15" fmla="*/ 46 h 68"/>
                <a:gd name="T16" fmla="*/ 45 w 49"/>
                <a:gd name="T17" fmla="*/ 43 h 68"/>
                <a:gd name="T18" fmla="*/ 43 w 49"/>
                <a:gd name="T19" fmla="*/ 40 h 68"/>
                <a:gd name="T20" fmla="*/ 43 w 49"/>
                <a:gd name="T21" fmla="*/ 30 h 68"/>
                <a:gd name="T22" fmla="*/ 44 w 49"/>
                <a:gd name="T23" fmla="*/ 29 h 68"/>
                <a:gd name="T24" fmla="*/ 39 w 49"/>
                <a:gd name="T25" fmla="*/ 22 h 68"/>
                <a:gd name="T26" fmla="*/ 35 w 49"/>
                <a:gd name="T27" fmla="*/ 22 h 68"/>
                <a:gd name="T28" fmla="*/ 35 w 49"/>
                <a:gd name="T29" fmla="*/ 26 h 68"/>
                <a:gd name="T30" fmla="*/ 33 w 49"/>
                <a:gd name="T31" fmla="*/ 26 h 68"/>
                <a:gd name="T32" fmla="*/ 28 w 49"/>
                <a:gd name="T33" fmla="*/ 24 h 68"/>
                <a:gd name="T34" fmla="*/ 21 w 49"/>
                <a:gd name="T35" fmla="*/ 14 h 68"/>
                <a:gd name="T36" fmla="*/ 20 w 49"/>
                <a:gd name="T37" fmla="*/ 11 h 68"/>
                <a:gd name="T38" fmla="*/ 19 w 49"/>
                <a:gd name="T39" fmla="*/ 1 h 68"/>
                <a:gd name="T40" fmla="*/ 15 w 49"/>
                <a:gd name="T41" fmla="*/ 1 h 68"/>
                <a:gd name="T42" fmla="*/ 8 w 49"/>
                <a:gd name="T43" fmla="*/ 1 h 68"/>
                <a:gd name="T44" fmla="*/ 1 w 49"/>
                <a:gd name="T45" fmla="*/ 5 h 68"/>
                <a:gd name="T46" fmla="*/ 0 w 49"/>
                <a:gd name="T47" fmla="*/ 5 h 68"/>
                <a:gd name="T48" fmla="*/ 1 w 49"/>
                <a:gd name="T49" fmla="*/ 8 h 68"/>
                <a:gd name="T50" fmla="*/ 4 w 49"/>
                <a:gd name="T51" fmla="*/ 11 h 68"/>
                <a:gd name="T52" fmla="*/ 7 w 49"/>
                <a:gd name="T53" fmla="*/ 13 h 68"/>
                <a:gd name="T54" fmla="*/ 7 w 49"/>
                <a:gd name="T55" fmla="*/ 16 h 68"/>
                <a:gd name="T56" fmla="*/ 7 w 49"/>
                <a:gd name="T57" fmla="*/ 18 h 68"/>
                <a:gd name="T58" fmla="*/ 3 w 49"/>
                <a:gd name="T59" fmla="*/ 23 h 68"/>
                <a:gd name="T60" fmla="*/ 3 w 49"/>
                <a:gd name="T61" fmla="*/ 27 h 68"/>
                <a:gd name="T62" fmla="*/ 7 w 49"/>
                <a:gd name="T63" fmla="*/ 36 h 68"/>
                <a:gd name="T64" fmla="*/ 7 w 49"/>
                <a:gd name="T65" fmla="*/ 38 h 68"/>
                <a:gd name="T66" fmla="*/ 3 w 49"/>
                <a:gd name="T67" fmla="*/ 45 h 68"/>
                <a:gd name="T68" fmla="*/ 5 w 49"/>
                <a:gd name="T69" fmla="*/ 47 h 68"/>
                <a:gd name="T70" fmla="*/ 6 w 49"/>
                <a:gd name="T71" fmla="*/ 48 h 68"/>
                <a:gd name="T72" fmla="*/ 10 w 49"/>
                <a:gd name="T73" fmla="*/ 57 h 68"/>
                <a:gd name="T74" fmla="*/ 9 w 49"/>
                <a:gd name="T75" fmla="*/ 60 h 68"/>
                <a:gd name="T76" fmla="*/ 15 w 49"/>
                <a:gd name="T77" fmla="*/ 63 h 68"/>
                <a:gd name="T78" fmla="*/ 20 w 49"/>
                <a:gd name="T79" fmla="*/ 68 h 68"/>
                <a:gd name="T80" fmla="*/ 22 w 49"/>
                <a:gd name="T81" fmla="*/ 65 h 68"/>
                <a:gd name="T82" fmla="*/ 31 w 49"/>
                <a:gd name="T83" fmla="*/ 6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68">
                  <a:moveTo>
                    <a:pt x="31" y="60"/>
                  </a:moveTo>
                  <a:cubicBezTo>
                    <a:pt x="32" y="60"/>
                    <a:pt x="32" y="60"/>
                    <a:pt x="32" y="60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60"/>
                    <a:pt x="42" y="59"/>
                    <a:pt x="42" y="57"/>
                  </a:cubicBezTo>
                  <a:cubicBezTo>
                    <a:pt x="42" y="55"/>
                    <a:pt x="44" y="53"/>
                    <a:pt x="47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49" y="48"/>
                    <a:pt x="48" y="46"/>
                    <a:pt x="47" y="46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4" y="42"/>
                    <a:pt x="43" y="41"/>
                    <a:pt x="43" y="4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29"/>
                    <a:pt x="44" y="29"/>
                    <a:pt x="44" y="29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1" y="26"/>
                    <a:pt x="29" y="25"/>
                    <a:pt x="28" y="2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0" y="13"/>
                    <a:pt x="20" y="12"/>
                    <a:pt x="20" y="1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7" y="1"/>
                    <a:pt x="16" y="1"/>
                    <a:pt x="15" y="1"/>
                  </a:cubicBezTo>
                  <a:cubicBezTo>
                    <a:pt x="13" y="0"/>
                    <a:pt x="10" y="0"/>
                    <a:pt x="8" y="1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10"/>
                    <a:pt x="2" y="11"/>
                    <a:pt x="4" y="11"/>
                  </a:cubicBezTo>
                  <a:cubicBezTo>
                    <a:pt x="5" y="11"/>
                    <a:pt x="7" y="12"/>
                    <a:pt x="7" y="13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8" y="16"/>
                    <a:pt x="7" y="17"/>
                    <a:pt x="7" y="18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2" y="24"/>
                    <a:pt x="2" y="26"/>
                    <a:pt x="3" y="27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7"/>
                    <a:pt x="7" y="38"/>
                    <a:pt x="7" y="38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4" y="46"/>
                    <a:pt x="5" y="46"/>
                    <a:pt x="5" y="47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8" y="50"/>
                    <a:pt x="10" y="53"/>
                    <a:pt x="10" y="57"/>
                  </a:cubicBezTo>
                  <a:cubicBezTo>
                    <a:pt x="10" y="58"/>
                    <a:pt x="9" y="59"/>
                    <a:pt x="9" y="60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7" y="64"/>
                    <a:pt x="19" y="66"/>
                    <a:pt x="20" y="68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4" y="62"/>
                    <a:pt x="28" y="60"/>
                    <a:pt x="31" y="6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22">
              <a:extLst>
                <a:ext uri="{FF2B5EF4-FFF2-40B4-BE49-F238E27FC236}">
                  <a16:creationId xmlns:a16="http://schemas.microsoft.com/office/drawing/2014/main" id="{B39A3914-E809-45C7-AD8B-2B4769A8DB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0350" y="3852863"/>
              <a:ext cx="90488" cy="71438"/>
            </a:xfrm>
            <a:custGeom>
              <a:avLst/>
              <a:gdLst>
                <a:gd name="T0" fmla="*/ 28 w 30"/>
                <a:gd name="T1" fmla="*/ 8 h 24"/>
                <a:gd name="T2" fmla="*/ 27 w 30"/>
                <a:gd name="T3" fmla="*/ 4 h 24"/>
                <a:gd name="T4" fmla="*/ 23 w 30"/>
                <a:gd name="T5" fmla="*/ 1 h 24"/>
                <a:gd name="T6" fmla="*/ 23 w 30"/>
                <a:gd name="T7" fmla="*/ 1 h 24"/>
                <a:gd name="T8" fmla="*/ 12 w 30"/>
                <a:gd name="T9" fmla="*/ 0 h 24"/>
                <a:gd name="T10" fmla="*/ 11 w 30"/>
                <a:gd name="T11" fmla="*/ 0 h 24"/>
                <a:gd name="T12" fmla="*/ 2 w 30"/>
                <a:gd name="T13" fmla="*/ 5 h 24"/>
                <a:gd name="T14" fmla="*/ 0 w 30"/>
                <a:gd name="T15" fmla="*/ 8 h 24"/>
                <a:gd name="T16" fmla="*/ 0 w 30"/>
                <a:gd name="T17" fmla="*/ 11 h 24"/>
                <a:gd name="T18" fmla="*/ 0 w 30"/>
                <a:gd name="T19" fmla="*/ 13 h 24"/>
                <a:gd name="T20" fmla="*/ 2 w 30"/>
                <a:gd name="T21" fmla="*/ 20 h 24"/>
                <a:gd name="T22" fmla="*/ 6 w 30"/>
                <a:gd name="T23" fmla="*/ 24 h 24"/>
                <a:gd name="T24" fmla="*/ 8 w 30"/>
                <a:gd name="T25" fmla="*/ 23 h 24"/>
                <a:gd name="T26" fmla="*/ 9 w 30"/>
                <a:gd name="T27" fmla="*/ 23 h 24"/>
                <a:gd name="T28" fmla="*/ 14 w 30"/>
                <a:gd name="T29" fmla="*/ 21 h 24"/>
                <a:gd name="T30" fmla="*/ 14 w 30"/>
                <a:gd name="T31" fmla="*/ 21 h 24"/>
                <a:gd name="T32" fmla="*/ 20 w 30"/>
                <a:gd name="T33" fmla="*/ 19 h 24"/>
                <a:gd name="T34" fmla="*/ 26 w 30"/>
                <a:gd name="T35" fmla="*/ 17 h 24"/>
                <a:gd name="T36" fmla="*/ 30 w 30"/>
                <a:gd name="T37" fmla="*/ 12 h 24"/>
                <a:gd name="T38" fmla="*/ 28 w 30"/>
                <a:gd name="T39" fmla="*/ 9 h 24"/>
                <a:gd name="T40" fmla="*/ 28 w 30"/>
                <a:gd name="T41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24">
                  <a:moveTo>
                    <a:pt x="28" y="8"/>
                  </a:moveTo>
                  <a:cubicBezTo>
                    <a:pt x="28" y="7"/>
                    <a:pt x="28" y="5"/>
                    <a:pt x="27" y="4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4" y="2"/>
                    <a:pt x="2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10"/>
                    <a:pt x="0" y="1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6"/>
                    <a:pt x="0" y="18"/>
                    <a:pt x="2" y="20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1" y="23"/>
                    <a:pt x="13" y="23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6" y="20"/>
                    <a:pt x="18" y="19"/>
                    <a:pt x="20" y="19"/>
                  </a:cubicBezTo>
                  <a:cubicBezTo>
                    <a:pt x="22" y="19"/>
                    <a:pt x="24" y="18"/>
                    <a:pt x="26" y="17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9" y="11"/>
                    <a:pt x="28" y="10"/>
                    <a:pt x="28" y="9"/>
                  </a:cubicBezTo>
                  <a:lnTo>
                    <a:pt x="28" y="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23">
              <a:extLst>
                <a:ext uri="{FF2B5EF4-FFF2-40B4-BE49-F238E27FC236}">
                  <a16:creationId xmlns:a16="http://schemas.microsoft.com/office/drawing/2014/main" id="{B73C4CD6-C9C9-4215-80FC-A8999E7803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2413" y="3865563"/>
              <a:ext cx="314325" cy="250825"/>
            </a:xfrm>
            <a:custGeom>
              <a:avLst/>
              <a:gdLst>
                <a:gd name="T0" fmla="*/ 99 w 105"/>
                <a:gd name="T1" fmla="*/ 6 h 84"/>
                <a:gd name="T2" fmla="*/ 93 w 105"/>
                <a:gd name="T3" fmla="*/ 0 h 84"/>
                <a:gd name="T4" fmla="*/ 75 w 105"/>
                <a:gd name="T5" fmla="*/ 1 h 84"/>
                <a:gd name="T6" fmla="*/ 67 w 105"/>
                <a:gd name="T7" fmla="*/ 8 h 84"/>
                <a:gd name="T8" fmla="*/ 55 w 105"/>
                <a:gd name="T9" fmla="*/ 7 h 84"/>
                <a:gd name="T10" fmla="*/ 50 w 105"/>
                <a:gd name="T11" fmla="*/ 4 h 84"/>
                <a:gd name="T12" fmla="*/ 42 w 105"/>
                <a:gd name="T13" fmla="*/ 10 h 84"/>
                <a:gd name="T14" fmla="*/ 33 w 105"/>
                <a:gd name="T15" fmla="*/ 8 h 84"/>
                <a:gd name="T16" fmla="*/ 23 w 105"/>
                <a:gd name="T17" fmla="*/ 15 h 84"/>
                <a:gd name="T18" fmla="*/ 17 w 105"/>
                <a:gd name="T19" fmla="*/ 17 h 84"/>
                <a:gd name="T20" fmla="*/ 11 w 105"/>
                <a:gd name="T21" fmla="*/ 19 h 84"/>
                <a:gd name="T22" fmla="*/ 0 w 105"/>
                <a:gd name="T23" fmla="*/ 36 h 84"/>
                <a:gd name="T24" fmla="*/ 13 w 105"/>
                <a:gd name="T25" fmla="*/ 48 h 84"/>
                <a:gd name="T26" fmla="*/ 16 w 105"/>
                <a:gd name="T27" fmla="*/ 52 h 84"/>
                <a:gd name="T28" fmla="*/ 15 w 105"/>
                <a:gd name="T29" fmla="*/ 57 h 84"/>
                <a:gd name="T30" fmla="*/ 29 w 105"/>
                <a:gd name="T31" fmla="*/ 58 h 84"/>
                <a:gd name="T32" fmla="*/ 39 w 105"/>
                <a:gd name="T33" fmla="*/ 63 h 84"/>
                <a:gd name="T34" fmla="*/ 26 w 105"/>
                <a:gd name="T35" fmla="*/ 63 h 84"/>
                <a:gd name="T36" fmla="*/ 21 w 105"/>
                <a:gd name="T37" fmla="*/ 67 h 84"/>
                <a:gd name="T38" fmla="*/ 26 w 105"/>
                <a:gd name="T39" fmla="*/ 78 h 84"/>
                <a:gd name="T40" fmla="*/ 33 w 105"/>
                <a:gd name="T41" fmla="*/ 83 h 84"/>
                <a:gd name="T42" fmla="*/ 36 w 105"/>
                <a:gd name="T43" fmla="*/ 84 h 84"/>
                <a:gd name="T44" fmla="*/ 38 w 105"/>
                <a:gd name="T45" fmla="*/ 77 h 84"/>
                <a:gd name="T46" fmla="*/ 43 w 105"/>
                <a:gd name="T47" fmla="*/ 68 h 84"/>
                <a:gd name="T48" fmla="*/ 49 w 105"/>
                <a:gd name="T49" fmla="*/ 66 h 84"/>
                <a:gd name="T50" fmla="*/ 52 w 105"/>
                <a:gd name="T51" fmla="*/ 60 h 84"/>
                <a:gd name="T52" fmla="*/ 49 w 105"/>
                <a:gd name="T53" fmla="*/ 52 h 84"/>
                <a:gd name="T54" fmla="*/ 36 w 105"/>
                <a:gd name="T55" fmla="*/ 39 h 84"/>
                <a:gd name="T56" fmla="*/ 34 w 105"/>
                <a:gd name="T57" fmla="*/ 34 h 84"/>
                <a:gd name="T58" fmla="*/ 39 w 105"/>
                <a:gd name="T59" fmla="*/ 32 h 84"/>
                <a:gd name="T60" fmla="*/ 49 w 105"/>
                <a:gd name="T61" fmla="*/ 31 h 84"/>
                <a:gd name="T62" fmla="*/ 71 w 105"/>
                <a:gd name="T63" fmla="*/ 25 h 84"/>
                <a:gd name="T64" fmla="*/ 83 w 105"/>
                <a:gd name="T65" fmla="*/ 29 h 84"/>
                <a:gd name="T66" fmla="*/ 98 w 105"/>
                <a:gd name="T67" fmla="*/ 24 h 84"/>
                <a:gd name="T68" fmla="*/ 103 w 105"/>
                <a:gd name="T69" fmla="*/ 1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5" h="84">
                  <a:moveTo>
                    <a:pt x="103" y="14"/>
                  </a:moveTo>
                  <a:cubicBezTo>
                    <a:pt x="99" y="6"/>
                    <a:pt x="99" y="6"/>
                    <a:pt x="99" y="6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8" y="0"/>
                    <a:pt x="76" y="0"/>
                    <a:pt x="75" y="1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9" y="8"/>
                    <a:pt x="68" y="8"/>
                    <a:pt x="67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8" y="8"/>
                    <a:pt x="56" y="8"/>
                    <a:pt x="55" y="7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4" y="9"/>
                    <a:pt x="43" y="10"/>
                    <a:pt x="42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5" y="10"/>
                    <a:pt x="33" y="9"/>
                    <a:pt x="33" y="8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7" y="14"/>
                    <a:pt x="25" y="15"/>
                    <a:pt x="23" y="15"/>
                  </a:cubicBezTo>
                  <a:cubicBezTo>
                    <a:pt x="21" y="15"/>
                    <a:pt x="19" y="16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6" y="19"/>
                    <a:pt x="14" y="19"/>
                    <a:pt x="12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8" y="19"/>
                    <a:pt x="5" y="21"/>
                    <a:pt x="4" y="2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5" y="44"/>
                    <a:pt x="9" y="47"/>
                    <a:pt x="13" y="48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4" y="53"/>
                    <a:pt x="13" y="55"/>
                    <a:pt x="14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7" y="59"/>
                    <a:pt x="18" y="59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29" y="58"/>
                    <a:pt x="30" y="58"/>
                    <a:pt x="31" y="5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5" y="63"/>
                    <a:pt x="23" y="63"/>
                    <a:pt x="22" y="65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0" y="69"/>
                    <a:pt x="20" y="70"/>
                    <a:pt x="21" y="72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7" y="79"/>
                    <a:pt x="27" y="79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3" y="84"/>
                    <a:pt x="34" y="84"/>
                    <a:pt x="35" y="84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8" y="84"/>
                    <a:pt x="40" y="81"/>
                    <a:pt x="39" y="78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7" y="75"/>
                    <a:pt x="38" y="73"/>
                    <a:pt x="41" y="72"/>
                  </a:cubicBezTo>
                  <a:cubicBezTo>
                    <a:pt x="43" y="72"/>
                    <a:pt x="44" y="70"/>
                    <a:pt x="43" y="68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51" y="62"/>
                    <a:pt x="51" y="62"/>
                    <a:pt x="51" y="62"/>
                  </a:cubicBezTo>
                  <a:cubicBezTo>
                    <a:pt x="51" y="62"/>
                    <a:pt x="52" y="61"/>
                    <a:pt x="52" y="60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52" y="54"/>
                    <a:pt x="51" y="53"/>
                    <a:pt x="49" y="52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4" y="33"/>
                    <a:pt x="34" y="31"/>
                    <a:pt x="35" y="29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40" y="34"/>
                    <a:pt x="43" y="36"/>
                    <a:pt x="46" y="35"/>
                  </a:cubicBezTo>
                  <a:cubicBezTo>
                    <a:pt x="48" y="35"/>
                    <a:pt x="49" y="33"/>
                    <a:pt x="49" y="31"/>
                  </a:cubicBezTo>
                  <a:cubicBezTo>
                    <a:pt x="49" y="28"/>
                    <a:pt x="51" y="26"/>
                    <a:pt x="54" y="26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3" y="25"/>
                    <a:pt x="75" y="25"/>
                    <a:pt x="76" y="27"/>
                  </a:cubicBezTo>
                  <a:cubicBezTo>
                    <a:pt x="78" y="29"/>
                    <a:pt x="80" y="29"/>
                    <a:pt x="83" y="29"/>
                  </a:cubicBezTo>
                  <a:cubicBezTo>
                    <a:pt x="96" y="25"/>
                    <a:pt x="96" y="25"/>
                    <a:pt x="96" y="25"/>
                  </a:cubicBezTo>
                  <a:cubicBezTo>
                    <a:pt x="97" y="25"/>
                    <a:pt x="97" y="24"/>
                    <a:pt x="98" y="24"/>
                  </a:cubicBezTo>
                  <a:cubicBezTo>
                    <a:pt x="101" y="22"/>
                    <a:pt x="101" y="22"/>
                    <a:pt x="101" y="22"/>
                  </a:cubicBezTo>
                  <a:cubicBezTo>
                    <a:pt x="104" y="20"/>
                    <a:pt x="105" y="17"/>
                    <a:pt x="103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24">
              <a:extLst>
                <a:ext uri="{FF2B5EF4-FFF2-40B4-BE49-F238E27FC236}">
                  <a16:creationId xmlns:a16="http://schemas.microsoft.com/office/drawing/2014/main" id="{41685353-B672-4527-95C4-AB76E9AB2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7025" y="3760788"/>
              <a:ext cx="250825" cy="134938"/>
            </a:xfrm>
            <a:custGeom>
              <a:avLst/>
              <a:gdLst>
                <a:gd name="T0" fmla="*/ 74 w 84"/>
                <a:gd name="T1" fmla="*/ 27 h 45"/>
                <a:gd name="T2" fmla="*/ 75 w 84"/>
                <a:gd name="T3" fmla="*/ 15 h 45"/>
                <a:gd name="T4" fmla="*/ 77 w 84"/>
                <a:gd name="T5" fmla="*/ 11 h 45"/>
                <a:gd name="T6" fmla="*/ 84 w 84"/>
                <a:gd name="T7" fmla="*/ 6 h 45"/>
                <a:gd name="T8" fmla="*/ 53 w 84"/>
                <a:gd name="T9" fmla="*/ 6 h 45"/>
                <a:gd name="T10" fmla="*/ 51 w 84"/>
                <a:gd name="T11" fmla="*/ 6 h 45"/>
                <a:gd name="T12" fmla="*/ 38 w 84"/>
                <a:gd name="T13" fmla="*/ 13 h 45"/>
                <a:gd name="T14" fmla="*/ 35 w 84"/>
                <a:gd name="T15" fmla="*/ 13 h 45"/>
                <a:gd name="T16" fmla="*/ 14 w 84"/>
                <a:gd name="T17" fmla="*/ 13 h 45"/>
                <a:gd name="T18" fmla="*/ 9 w 84"/>
                <a:gd name="T19" fmla="*/ 11 h 45"/>
                <a:gd name="T20" fmla="*/ 2 w 84"/>
                <a:gd name="T21" fmla="*/ 0 h 45"/>
                <a:gd name="T22" fmla="*/ 1 w 84"/>
                <a:gd name="T23" fmla="*/ 1 h 45"/>
                <a:gd name="T24" fmla="*/ 1 w 84"/>
                <a:gd name="T25" fmla="*/ 11 h 45"/>
                <a:gd name="T26" fmla="*/ 3 w 84"/>
                <a:gd name="T27" fmla="*/ 14 h 45"/>
                <a:gd name="T28" fmla="*/ 5 w 84"/>
                <a:gd name="T29" fmla="*/ 17 h 45"/>
                <a:gd name="T30" fmla="*/ 7 w 84"/>
                <a:gd name="T31" fmla="*/ 20 h 45"/>
                <a:gd name="T32" fmla="*/ 7 w 84"/>
                <a:gd name="T33" fmla="*/ 24 h 45"/>
                <a:gd name="T34" fmla="*/ 5 w 84"/>
                <a:gd name="T35" fmla="*/ 24 h 45"/>
                <a:gd name="T36" fmla="*/ 0 w 84"/>
                <a:gd name="T37" fmla="*/ 28 h 45"/>
                <a:gd name="T38" fmla="*/ 1 w 84"/>
                <a:gd name="T39" fmla="*/ 32 h 45"/>
                <a:gd name="T40" fmla="*/ 5 w 84"/>
                <a:gd name="T41" fmla="*/ 35 h 45"/>
                <a:gd name="T42" fmla="*/ 6 w 84"/>
                <a:gd name="T43" fmla="*/ 39 h 45"/>
                <a:gd name="T44" fmla="*/ 6 w 84"/>
                <a:gd name="T45" fmla="*/ 40 h 45"/>
                <a:gd name="T46" fmla="*/ 11 w 84"/>
                <a:gd name="T47" fmla="*/ 45 h 45"/>
                <a:gd name="T48" fmla="*/ 17 w 84"/>
                <a:gd name="T49" fmla="*/ 45 h 45"/>
                <a:gd name="T50" fmla="*/ 20 w 84"/>
                <a:gd name="T51" fmla="*/ 44 h 45"/>
                <a:gd name="T52" fmla="*/ 25 w 84"/>
                <a:gd name="T53" fmla="*/ 39 h 45"/>
                <a:gd name="T54" fmla="*/ 28 w 84"/>
                <a:gd name="T55" fmla="*/ 39 h 45"/>
                <a:gd name="T56" fmla="*/ 30 w 84"/>
                <a:gd name="T57" fmla="*/ 42 h 45"/>
                <a:gd name="T58" fmla="*/ 34 w 84"/>
                <a:gd name="T59" fmla="*/ 43 h 45"/>
                <a:gd name="T60" fmla="*/ 42 w 84"/>
                <a:gd name="T61" fmla="*/ 43 h 45"/>
                <a:gd name="T62" fmla="*/ 45 w 84"/>
                <a:gd name="T63" fmla="*/ 42 h 45"/>
                <a:gd name="T64" fmla="*/ 50 w 84"/>
                <a:gd name="T65" fmla="*/ 36 h 45"/>
                <a:gd name="T66" fmla="*/ 54 w 84"/>
                <a:gd name="T67" fmla="*/ 35 h 45"/>
                <a:gd name="T68" fmla="*/ 68 w 84"/>
                <a:gd name="T69" fmla="*/ 35 h 45"/>
                <a:gd name="T70" fmla="*/ 73 w 84"/>
                <a:gd name="T71" fmla="*/ 30 h 45"/>
                <a:gd name="T72" fmla="*/ 74 w 84"/>
                <a:gd name="T73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45">
                  <a:moveTo>
                    <a:pt x="74" y="27"/>
                  </a:moveTo>
                  <a:cubicBezTo>
                    <a:pt x="75" y="15"/>
                    <a:pt x="75" y="15"/>
                    <a:pt x="75" y="15"/>
                  </a:cubicBezTo>
                  <a:cubicBezTo>
                    <a:pt x="75" y="13"/>
                    <a:pt x="76" y="12"/>
                    <a:pt x="77" y="11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2" y="6"/>
                    <a:pt x="51" y="6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7" y="13"/>
                    <a:pt x="36" y="13"/>
                    <a:pt x="35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3"/>
                    <a:pt x="10" y="12"/>
                    <a:pt x="9" y="1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2"/>
                    <a:pt x="2" y="13"/>
                    <a:pt x="3" y="14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6" y="17"/>
                    <a:pt x="7" y="19"/>
                    <a:pt x="7" y="20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2" y="24"/>
                    <a:pt x="0" y="26"/>
                    <a:pt x="0" y="28"/>
                  </a:cubicBezTo>
                  <a:cubicBezTo>
                    <a:pt x="0" y="30"/>
                    <a:pt x="0" y="31"/>
                    <a:pt x="1" y="32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6" y="36"/>
                    <a:pt x="6" y="38"/>
                    <a:pt x="6" y="39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6" y="43"/>
                    <a:pt x="8" y="45"/>
                    <a:pt x="11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8" y="45"/>
                    <a:pt x="19" y="44"/>
                    <a:pt x="20" y="44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1" y="43"/>
                    <a:pt x="33" y="43"/>
                    <a:pt x="34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3" y="43"/>
                    <a:pt x="44" y="43"/>
                    <a:pt x="45" y="42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1" y="35"/>
                    <a:pt x="53" y="35"/>
                    <a:pt x="54" y="35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4" y="29"/>
                    <a:pt x="74" y="28"/>
                    <a:pt x="74" y="2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25">
              <a:extLst>
                <a:ext uri="{FF2B5EF4-FFF2-40B4-BE49-F238E27FC236}">
                  <a16:creationId xmlns:a16="http://schemas.microsoft.com/office/drawing/2014/main" id="{D0A08CEE-B9A9-4949-B0B1-DE5D576B5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8938" y="3055938"/>
              <a:ext cx="155575" cy="109538"/>
            </a:xfrm>
            <a:custGeom>
              <a:avLst/>
              <a:gdLst>
                <a:gd name="T0" fmla="*/ 30 w 52"/>
                <a:gd name="T1" fmla="*/ 34 h 37"/>
                <a:gd name="T2" fmla="*/ 38 w 52"/>
                <a:gd name="T3" fmla="*/ 37 h 37"/>
                <a:gd name="T4" fmla="*/ 48 w 52"/>
                <a:gd name="T5" fmla="*/ 37 h 37"/>
                <a:gd name="T6" fmla="*/ 49 w 52"/>
                <a:gd name="T7" fmla="*/ 33 h 37"/>
                <a:gd name="T8" fmla="*/ 50 w 52"/>
                <a:gd name="T9" fmla="*/ 20 h 37"/>
                <a:gd name="T10" fmla="*/ 38 w 52"/>
                <a:gd name="T11" fmla="*/ 6 h 37"/>
                <a:gd name="T12" fmla="*/ 32 w 52"/>
                <a:gd name="T13" fmla="*/ 0 h 37"/>
                <a:gd name="T14" fmla="*/ 0 w 52"/>
                <a:gd name="T15" fmla="*/ 9 h 37"/>
                <a:gd name="T16" fmla="*/ 0 w 52"/>
                <a:gd name="T17" fmla="*/ 19 h 37"/>
                <a:gd name="T18" fmla="*/ 8 w 52"/>
                <a:gd name="T19" fmla="*/ 25 h 37"/>
                <a:gd name="T20" fmla="*/ 10 w 52"/>
                <a:gd name="T21" fmla="*/ 25 h 37"/>
                <a:gd name="T22" fmla="*/ 10 w 52"/>
                <a:gd name="T23" fmla="*/ 30 h 37"/>
                <a:gd name="T24" fmla="*/ 21 w 52"/>
                <a:gd name="T25" fmla="*/ 30 h 37"/>
                <a:gd name="T26" fmla="*/ 30 w 52"/>
                <a:gd name="T27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37">
                  <a:moveTo>
                    <a:pt x="30" y="34"/>
                  </a:moveTo>
                  <a:cubicBezTo>
                    <a:pt x="32" y="36"/>
                    <a:pt x="35" y="37"/>
                    <a:pt x="3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6"/>
                    <a:pt x="48" y="34"/>
                    <a:pt x="49" y="33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2" y="13"/>
                    <a:pt x="46" y="6"/>
                    <a:pt x="38" y="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4" y="30"/>
                    <a:pt x="27" y="31"/>
                    <a:pt x="30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26">
              <a:extLst>
                <a:ext uri="{FF2B5EF4-FFF2-40B4-BE49-F238E27FC236}">
                  <a16:creationId xmlns:a16="http://schemas.microsoft.com/office/drawing/2014/main" id="{D5EBC939-4B18-4BCF-8248-307F3F60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144838"/>
              <a:ext cx="344488" cy="155575"/>
            </a:xfrm>
            <a:custGeom>
              <a:avLst/>
              <a:gdLst>
                <a:gd name="T0" fmla="*/ 36 w 115"/>
                <a:gd name="T1" fmla="*/ 34 h 52"/>
                <a:gd name="T2" fmla="*/ 57 w 115"/>
                <a:gd name="T3" fmla="*/ 41 h 52"/>
                <a:gd name="T4" fmla="*/ 61 w 115"/>
                <a:gd name="T5" fmla="*/ 42 h 52"/>
                <a:gd name="T6" fmla="*/ 74 w 115"/>
                <a:gd name="T7" fmla="*/ 48 h 52"/>
                <a:gd name="T8" fmla="*/ 104 w 115"/>
                <a:gd name="T9" fmla="*/ 48 h 52"/>
                <a:gd name="T10" fmla="*/ 115 w 115"/>
                <a:gd name="T11" fmla="*/ 43 h 52"/>
                <a:gd name="T12" fmla="*/ 104 w 115"/>
                <a:gd name="T13" fmla="*/ 35 h 52"/>
                <a:gd name="T14" fmla="*/ 96 w 115"/>
                <a:gd name="T15" fmla="*/ 33 h 52"/>
                <a:gd name="T16" fmla="*/ 85 w 115"/>
                <a:gd name="T17" fmla="*/ 24 h 52"/>
                <a:gd name="T18" fmla="*/ 81 w 115"/>
                <a:gd name="T19" fmla="*/ 15 h 52"/>
                <a:gd name="T20" fmla="*/ 79 w 115"/>
                <a:gd name="T21" fmla="*/ 7 h 52"/>
                <a:gd name="T22" fmla="*/ 69 w 115"/>
                <a:gd name="T23" fmla="*/ 7 h 52"/>
                <a:gd name="T24" fmla="*/ 61 w 115"/>
                <a:gd name="T25" fmla="*/ 4 h 52"/>
                <a:gd name="T26" fmla="*/ 52 w 115"/>
                <a:gd name="T27" fmla="*/ 0 h 52"/>
                <a:gd name="T28" fmla="*/ 41 w 115"/>
                <a:gd name="T29" fmla="*/ 0 h 52"/>
                <a:gd name="T30" fmla="*/ 41 w 115"/>
                <a:gd name="T31" fmla="*/ 13 h 52"/>
                <a:gd name="T32" fmla="*/ 33 w 115"/>
                <a:gd name="T33" fmla="*/ 21 h 52"/>
                <a:gd name="T34" fmla="*/ 24 w 115"/>
                <a:gd name="T35" fmla="*/ 11 h 52"/>
                <a:gd name="T36" fmla="*/ 10 w 115"/>
                <a:gd name="T37" fmla="*/ 11 h 52"/>
                <a:gd name="T38" fmla="*/ 0 w 115"/>
                <a:gd name="T39" fmla="*/ 22 h 52"/>
                <a:gd name="T40" fmla="*/ 0 w 115"/>
                <a:gd name="T41" fmla="*/ 32 h 52"/>
                <a:gd name="T42" fmla="*/ 25 w 115"/>
                <a:gd name="T43" fmla="*/ 32 h 52"/>
                <a:gd name="T44" fmla="*/ 36 w 115"/>
                <a:gd name="T45" fmla="*/ 3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2">
                  <a:moveTo>
                    <a:pt x="36" y="34"/>
                  </a:moveTo>
                  <a:cubicBezTo>
                    <a:pt x="57" y="41"/>
                    <a:pt x="57" y="41"/>
                    <a:pt x="57" y="41"/>
                  </a:cubicBezTo>
                  <a:cubicBezTo>
                    <a:pt x="58" y="41"/>
                    <a:pt x="60" y="42"/>
                    <a:pt x="61" y="42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84" y="52"/>
                    <a:pt x="94" y="52"/>
                    <a:pt x="104" y="48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2" y="39"/>
                    <a:pt x="108" y="36"/>
                    <a:pt x="104" y="35"/>
                  </a:cubicBezTo>
                  <a:cubicBezTo>
                    <a:pt x="96" y="33"/>
                    <a:pt x="96" y="33"/>
                    <a:pt x="96" y="33"/>
                  </a:cubicBezTo>
                  <a:cubicBezTo>
                    <a:pt x="91" y="32"/>
                    <a:pt x="87" y="29"/>
                    <a:pt x="85" y="2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0" y="13"/>
                    <a:pt x="80" y="10"/>
                    <a:pt x="79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6" y="7"/>
                    <a:pt x="63" y="6"/>
                    <a:pt x="61" y="4"/>
                  </a:cubicBezTo>
                  <a:cubicBezTo>
                    <a:pt x="58" y="1"/>
                    <a:pt x="55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9" y="32"/>
                    <a:pt x="33" y="33"/>
                    <a:pt x="36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27">
              <a:extLst>
                <a:ext uri="{FF2B5EF4-FFF2-40B4-BE49-F238E27FC236}">
                  <a16:creationId xmlns:a16="http://schemas.microsoft.com/office/drawing/2014/main" id="{34E07DAB-94FB-4BD0-995A-09D09FDD5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240088"/>
              <a:ext cx="146050" cy="120650"/>
            </a:xfrm>
            <a:custGeom>
              <a:avLst/>
              <a:gdLst>
                <a:gd name="T0" fmla="*/ 49 w 49"/>
                <a:gd name="T1" fmla="*/ 21 h 40"/>
                <a:gd name="T2" fmla="*/ 49 w 49"/>
                <a:gd name="T3" fmla="*/ 16 h 40"/>
                <a:gd name="T4" fmla="*/ 45 w 49"/>
                <a:gd name="T5" fmla="*/ 5 h 40"/>
                <a:gd name="T6" fmla="*/ 36 w 49"/>
                <a:gd name="T7" fmla="*/ 2 h 40"/>
                <a:gd name="T8" fmla="*/ 25 w 49"/>
                <a:gd name="T9" fmla="*/ 0 h 40"/>
                <a:gd name="T10" fmla="*/ 0 w 49"/>
                <a:gd name="T11" fmla="*/ 0 h 40"/>
                <a:gd name="T12" fmla="*/ 0 w 49"/>
                <a:gd name="T13" fmla="*/ 9 h 40"/>
                <a:gd name="T14" fmla="*/ 5 w 49"/>
                <a:gd name="T15" fmla="*/ 14 h 40"/>
                <a:gd name="T16" fmla="*/ 4 w 49"/>
                <a:gd name="T17" fmla="*/ 15 h 40"/>
                <a:gd name="T18" fmla="*/ 6 w 49"/>
                <a:gd name="T19" fmla="*/ 16 h 40"/>
                <a:gd name="T20" fmla="*/ 15 w 49"/>
                <a:gd name="T21" fmla="*/ 37 h 40"/>
                <a:gd name="T22" fmla="*/ 15 w 49"/>
                <a:gd name="T23" fmla="*/ 40 h 40"/>
                <a:gd name="T24" fmla="*/ 41 w 49"/>
                <a:gd name="T25" fmla="*/ 32 h 40"/>
                <a:gd name="T26" fmla="*/ 49 w 49"/>
                <a:gd name="T27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" h="40">
                  <a:moveTo>
                    <a:pt x="49" y="21"/>
                  </a:moveTo>
                  <a:cubicBezTo>
                    <a:pt x="49" y="19"/>
                    <a:pt x="49" y="18"/>
                    <a:pt x="49" y="16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3" y="1"/>
                    <a:pt x="29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5" y="16"/>
                    <a:pt x="6" y="16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8"/>
                    <a:pt x="15" y="39"/>
                    <a:pt x="15" y="40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6" y="30"/>
                    <a:pt x="49" y="26"/>
                    <a:pt x="49" y="2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28">
              <a:extLst>
                <a:ext uri="{FF2B5EF4-FFF2-40B4-BE49-F238E27FC236}">
                  <a16:creationId xmlns:a16="http://schemas.microsoft.com/office/drawing/2014/main" id="{48B8773E-D766-4589-84AE-CB65C63718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0675" y="3255963"/>
              <a:ext cx="379413" cy="200025"/>
            </a:xfrm>
            <a:custGeom>
              <a:avLst/>
              <a:gdLst>
                <a:gd name="T0" fmla="*/ 122 w 127"/>
                <a:gd name="T1" fmla="*/ 46 h 67"/>
                <a:gd name="T2" fmla="*/ 125 w 127"/>
                <a:gd name="T3" fmla="*/ 38 h 67"/>
                <a:gd name="T4" fmla="*/ 112 w 127"/>
                <a:gd name="T5" fmla="*/ 20 h 67"/>
                <a:gd name="T6" fmla="*/ 110 w 127"/>
                <a:gd name="T7" fmla="*/ 13 h 67"/>
                <a:gd name="T8" fmla="*/ 107 w 127"/>
                <a:gd name="T9" fmla="*/ 6 h 67"/>
                <a:gd name="T10" fmla="*/ 96 w 127"/>
                <a:gd name="T11" fmla="*/ 11 h 67"/>
                <a:gd name="T12" fmla="*/ 66 w 127"/>
                <a:gd name="T13" fmla="*/ 11 h 67"/>
                <a:gd name="T14" fmla="*/ 53 w 127"/>
                <a:gd name="T15" fmla="*/ 5 h 67"/>
                <a:gd name="T16" fmla="*/ 49 w 127"/>
                <a:gd name="T17" fmla="*/ 4 h 67"/>
                <a:gd name="T18" fmla="*/ 37 w 127"/>
                <a:gd name="T19" fmla="*/ 0 h 67"/>
                <a:gd name="T20" fmla="*/ 41 w 127"/>
                <a:gd name="T21" fmla="*/ 11 h 67"/>
                <a:gd name="T22" fmla="*/ 41 w 127"/>
                <a:gd name="T23" fmla="*/ 16 h 67"/>
                <a:gd name="T24" fmla="*/ 33 w 127"/>
                <a:gd name="T25" fmla="*/ 27 h 67"/>
                <a:gd name="T26" fmla="*/ 7 w 127"/>
                <a:gd name="T27" fmla="*/ 35 h 67"/>
                <a:gd name="T28" fmla="*/ 5 w 127"/>
                <a:gd name="T29" fmla="*/ 37 h 67"/>
                <a:gd name="T30" fmla="*/ 2 w 127"/>
                <a:gd name="T31" fmla="*/ 39 h 67"/>
                <a:gd name="T32" fmla="*/ 0 w 127"/>
                <a:gd name="T33" fmla="*/ 42 h 67"/>
                <a:gd name="T34" fmla="*/ 2 w 127"/>
                <a:gd name="T35" fmla="*/ 46 h 67"/>
                <a:gd name="T36" fmla="*/ 5 w 127"/>
                <a:gd name="T37" fmla="*/ 47 h 67"/>
                <a:gd name="T38" fmla="*/ 7 w 127"/>
                <a:gd name="T39" fmla="*/ 51 h 67"/>
                <a:gd name="T40" fmla="*/ 7 w 127"/>
                <a:gd name="T41" fmla="*/ 63 h 67"/>
                <a:gd name="T42" fmla="*/ 24 w 127"/>
                <a:gd name="T43" fmla="*/ 59 h 67"/>
                <a:gd name="T44" fmla="*/ 31 w 127"/>
                <a:gd name="T45" fmla="*/ 59 h 67"/>
                <a:gd name="T46" fmla="*/ 36 w 127"/>
                <a:gd name="T47" fmla="*/ 59 h 67"/>
                <a:gd name="T48" fmla="*/ 47 w 127"/>
                <a:gd name="T49" fmla="*/ 61 h 67"/>
                <a:gd name="T50" fmla="*/ 59 w 127"/>
                <a:gd name="T51" fmla="*/ 65 h 67"/>
                <a:gd name="T52" fmla="*/ 70 w 127"/>
                <a:gd name="T53" fmla="*/ 67 h 67"/>
                <a:gd name="T54" fmla="*/ 79 w 127"/>
                <a:gd name="T55" fmla="*/ 67 h 67"/>
                <a:gd name="T56" fmla="*/ 90 w 127"/>
                <a:gd name="T57" fmla="*/ 65 h 67"/>
                <a:gd name="T58" fmla="*/ 97 w 127"/>
                <a:gd name="T59" fmla="*/ 62 h 67"/>
                <a:gd name="T60" fmla="*/ 105 w 127"/>
                <a:gd name="T61" fmla="*/ 60 h 67"/>
                <a:gd name="T62" fmla="*/ 123 w 127"/>
                <a:gd name="T63" fmla="*/ 58 h 67"/>
                <a:gd name="T64" fmla="*/ 117 w 127"/>
                <a:gd name="T65" fmla="*/ 50 h 67"/>
                <a:gd name="T66" fmla="*/ 122 w 127"/>
                <a:gd name="T67" fmla="*/ 4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7" h="67">
                  <a:moveTo>
                    <a:pt x="122" y="46"/>
                  </a:moveTo>
                  <a:cubicBezTo>
                    <a:pt x="125" y="45"/>
                    <a:pt x="127" y="41"/>
                    <a:pt x="125" y="38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0" y="13"/>
                    <a:pt x="110" y="13"/>
                    <a:pt x="110" y="13"/>
                  </a:cubicBezTo>
                  <a:cubicBezTo>
                    <a:pt x="110" y="10"/>
                    <a:pt x="108" y="8"/>
                    <a:pt x="107" y="6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86" y="15"/>
                    <a:pt x="76" y="15"/>
                    <a:pt x="66" y="11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2" y="5"/>
                    <a:pt x="50" y="4"/>
                    <a:pt x="49" y="4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3"/>
                    <a:pt x="41" y="14"/>
                    <a:pt x="41" y="16"/>
                  </a:cubicBezTo>
                  <a:cubicBezTo>
                    <a:pt x="41" y="21"/>
                    <a:pt x="38" y="25"/>
                    <a:pt x="33" y="27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6"/>
                    <a:pt x="6" y="36"/>
                    <a:pt x="5" y="37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1" y="39"/>
                    <a:pt x="0" y="41"/>
                    <a:pt x="0" y="42"/>
                  </a:cubicBezTo>
                  <a:cubicBezTo>
                    <a:pt x="0" y="44"/>
                    <a:pt x="1" y="45"/>
                    <a:pt x="2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6" y="48"/>
                    <a:pt x="7" y="49"/>
                    <a:pt x="7" y="51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26" y="59"/>
                    <a:pt x="29" y="59"/>
                    <a:pt x="31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40" y="59"/>
                    <a:pt x="43" y="59"/>
                    <a:pt x="47" y="61"/>
                  </a:cubicBezTo>
                  <a:cubicBezTo>
                    <a:pt x="59" y="65"/>
                    <a:pt x="59" y="65"/>
                    <a:pt x="59" y="65"/>
                  </a:cubicBezTo>
                  <a:cubicBezTo>
                    <a:pt x="63" y="66"/>
                    <a:pt x="66" y="67"/>
                    <a:pt x="70" y="67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83" y="67"/>
                    <a:pt x="86" y="66"/>
                    <a:pt x="90" y="65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100" y="61"/>
                    <a:pt x="102" y="61"/>
                    <a:pt x="105" y="60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20" y="57"/>
                    <a:pt x="117" y="54"/>
                    <a:pt x="117" y="50"/>
                  </a:cubicBezTo>
                  <a:cubicBezTo>
                    <a:pt x="117" y="47"/>
                    <a:pt x="119" y="46"/>
                    <a:pt x="122" y="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29">
              <a:extLst>
                <a:ext uri="{FF2B5EF4-FFF2-40B4-BE49-F238E27FC236}">
                  <a16:creationId xmlns:a16="http://schemas.microsoft.com/office/drawing/2014/main" id="{A850ED7D-05E4-4E86-B0E1-12BF79524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3213" y="3429001"/>
              <a:ext cx="673100" cy="355600"/>
            </a:xfrm>
            <a:custGeom>
              <a:avLst/>
              <a:gdLst>
                <a:gd name="T0" fmla="*/ 216 w 225"/>
                <a:gd name="T1" fmla="*/ 35 h 119"/>
                <a:gd name="T2" fmla="*/ 195 w 225"/>
                <a:gd name="T3" fmla="*/ 34 h 119"/>
                <a:gd name="T4" fmla="*/ 167 w 225"/>
                <a:gd name="T5" fmla="*/ 21 h 119"/>
                <a:gd name="T6" fmla="*/ 155 w 225"/>
                <a:gd name="T7" fmla="*/ 10 h 119"/>
                <a:gd name="T8" fmla="*/ 132 w 225"/>
                <a:gd name="T9" fmla="*/ 1 h 119"/>
                <a:gd name="T10" fmla="*/ 111 w 225"/>
                <a:gd name="T11" fmla="*/ 2 h 119"/>
                <a:gd name="T12" fmla="*/ 96 w 225"/>
                <a:gd name="T13" fmla="*/ 7 h 119"/>
                <a:gd name="T14" fmla="*/ 76 w 225"/>
                <a:gd name="T15" fmla="*/ 9 h 119"/>
                <a:gd name="T16" fmla="*/ 53 w 225"/>
                <a:gd name="T17" fmla="*/ 3 h 119"/>
                <a:gd name="T18" fmla="*/ 37 w 225"/>
                <a:gd name="T19" fmla="*/ 1 h 119"/>
                <a:gd name="T20" fmla="*/ 13 w 225"/>
                <a:gd name="T21" fmla="*/ 5 h 119"/>
                <a:gd name="T22" fmla="*/ 14 w 225"/>
                <a:gd name="T23" fmla="*/ 7 h 119"/>
                <a:gd name="T24" fmla="*/ 16 w 225"/>
                <a:gd name="T25" fmla="*/ 19 h 119"/>
                <a:gd name="T26" fmla="*/ 11 w 225"/>
                <a:gd name="T27" fmla="*/ 20 h 119"/>
                <a:gd name="T28" fmla="*/ 1 w 225"/>
                <a:gd name="T29" fmla="*/ 34 h 119"/>
                <a:gd name="T30" fmla="*/ 3 w 225"/>
                <a:gd name="T31" fmla="*/ 42 h 119"/>
                <a:gd name="T32" fmla="*/ 0 w 225"/>
                <a:gd name="T33" fmla="*/ 45 h 119"/>
                <a:gd name="T34" fmla="*/ 6 w 225"/>
                <a:gd name="T35" fmla="*/ 55 h 119"/>
                <a:gd name="T36" fmla="*/ 50 w 225"/>
                <a:gd name="T37" fmla="*/ 50 h 119"/>
                <a:gd name="T38" fmla="*/ 73 w 225"/>
                <a:gd name="T39" fmla="*/ 45 h 119"/>
                <a:gd name="T40" fmla="*/ 81 w 225"/>
                <a:gd name="T41" fmla="*/ 59 h 119"/>
                <a:gd name="T42" fmla="*/ 87 w 225"/>
                <a:gd name="T43" fmla="*/ 62 h 119"/>
                <a:gd name="T44" fmla="*/ 92 w 225"/>
                <a:gd name="T45" fmla="*/ 74 h 119"/>
                <a:gd name="T46" fmla="*/ 87 w 225"/>
                <a:gd name="T47" fmla="*/ 79 h 119"/>
                <a:gd name="T48" fmla="*/ 81 w 225"/>
                <a:gd name="T49" fmla="*/ 90 h 119"/>
                <a:gd name="T50" fmla="*/ 78 w 225"/>
                <a:gd name="T51" fmla="*/ 95 h 119"/>
                <a:gd name="T52" fmla="*/ 85 w 225"/>
                <a:gd name="T53" fmla="*/ 101 h 119"/>
                <a:gd name="T54" fmla="*/ 102 w 225"/>
                <a:gd name="T55" fmla="*/ 101 h 119"/>
                <a:gd name="T56" fmla="*/ 112 w 225"/>
                <a:gd name="T57" fmla="*/ 96 h 119"/>
                <a:gd name="T58" fmla="*/ 121 w 225"/>
                <a:gd name="T59" fmla="*/ 85 h 119"/>
                <a:gd name="T60" fmla="*/ 128 w 225"/>
                <a:gd name="T61" fmla="*/ 89 h 119"/>
                <a:gd name="T62" fmla="*/ 134 w 225"/>
                <a:gd name="T63" fmla="*/ 95 h 119"/>
                <a:gd name="T64" fmla="*/ 149 w 225"/>
                <a:gd name="T65" fmla="*/ 98 h 119"/>
                <a:gd name="T66" fmla="*/ 142 w 225"/>
                <a:gd name="T67" fmla="*/ 111 h 119"/>
                <a:gd name="T68" fmla="*/ 147 w 225"/>
                <a:gd name="T69" fmla="*/ 116 h 119"/>
                <a:gd name="T70" fmla="*/ 152 w 225"/>
                <a:gd name="T71" fmla="*/ 119 h 119"/>
                <a:gd name="T72" fmla="*/ 163 w 225"/>
                <a:gd name="T73" fmla="*/ 118 h 119"/>
                <a:gd name="T74" fmla="*/ 176 w 225"/>
                <a:gd name="T75" fmla="*/ 112 h 119"/>
                <a:gd name="T76" fmla="*/ 185 w 225"/>
                <a:gd name="T77" fmla="*/ 111 h 119"/>
                <a:gd name="T78" fmla="*/ 169 w 225"/>
                <a:gd name="T79" fmla="*/ 107 h 119"/>
                <a:gd name="T80" fmla="*/ 163 w 225"/>
                <a:gd name="T81" fmla="*/ 102 h 119"/>
                <a:gd name="T82" fmla="*/ 155 w 225"/>
                <a:gd name="T83" fmla="*/ 99 h 119"/>
                <a:gd name="T84" fmla="*/ 176 w 225"/>
                <a:gd name="T85" fmla="*/ 88 h 119"/>
                <a:gd name="T86" fmla="*/ 204 w 225"/>
                <a:gd name="T87" fmla="*/ 72 h 119"/>
                <a:gd name="T88" fmla="*/ 223 w 225"/>
                <a:gd name="T89" fmla="*/ 59 h 119"/>
                <a:gd name="T90" fmla="*/ 219 w 225"/>
                <a:gd name="T91" fmla="*/ 38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119">
                  <a:moveTo>
                    <a:pt x="219" y="38"/>
                  </a:moveTo>
                  <a:cubicBezTo>
                    <a:pt x="216" y="35"/>
                    <a:pt x="216" y="35"/>
                    <a:pt x="216" y="35"/>
                  </a:cubicBezTo>
                  <a:cubicBezTo>
                    <a:pt x="212" y="32"/>
                    <a:pt x="207" y="32"/>
                    <a:pt x="203" y="33"/>
                  </a:cubicBezTo>
                  <a:cubicBezTo>
                    <a:pt x="200" y="34"/>
                    <a:pt x="198" y="35"/>
                    <a:pt x="195" y="34"/>
                  </a:cubicBezTo>
                  <a:cubicBezTo>
                    <a:pt x="174" y="29"/>
                    <a:pt x="174" y="29"/>
                    <a:pt x="174" y="29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6" y="19"/>
                    <a:pt x="164" y="18"/>
                    <a:pt x="162" y="18"/>
                  </a:cubicBezTo>
                  <a:cubicBezTo>
                    <a:pt x="158" y="16"/>
                    <a:pt x="156" y="13"/>
                    <a:pt x="155" y="10"/>
                  </a:cubicBezTo>
                  <a:cubicBezTo>
                    <a:pt x="153" y="5"/>
                    <a:pt x="149" y="1"/>
                    <a:pt x="144" y="1"/>
                  </a:cubicBezTo>
                  <a:cubicBezTo>
                    <a:pt x="132" y="1"/>
                    <a:pt x="132" y="1"/>
                    <a:pt x="132" y="1"/>
                  </a:cubicBezTo>
                  <a:cubicBezTo>
                    <a:pt x="131" y="1"/>
                    <a:pt x="130" y="0"/>
                    <a:pt x="129" y="0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8" y="3"/>
                    <a:pt x="106" y="3"/>
                    <a:pt x="103" y="4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2" y="8"/>
                    <a:pt x="89" y="9"/>
                    <a:pt x="85" y="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2" y="9"/>
                    <a:pt x="69" y="8"/>
                    <a:pt x="65" y="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49" y="1"/>
                    <a:pt x="46" y="1"/>
                    <a:pt x="42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5" y="1"/>
                    <a:pt x="32" y="1"/>
                    <a:pt x="30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7"/>
                    <a:pt x="14" y="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9"/>
                    <a:pt x="14" y="20"/>
                    <a:pt x="13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9" y="21"/>
                    <a:pt x="8" y="22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38"/>
                    <a:pt x="5" y="40"/>
                    <a:pt x="3" y="42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5"/>
                    <a:pt x="0" y="45"/>
                    <a:pt x="0" y="45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5" y="50"/>
                    <a:pt x="6" y="52"/>
                    <a:pt x="6" y="55"/>
                  </a:cubicBezTo>
                  <a:cubicBezTo>
                    <a:pt x="50" y="53"/>
                    <a:pt x="50" y="53"/>
                    <a:pt x="50" y="53"/>
                  </a:cubicBezTo>
                  <a:cubicBezTo>
                    <a:pt x="50" y="50"/>
                    <a:pt x="50" y="50"/>
                    <a:pt x="50" y="50"/>
                  </a:cubicBezTo>
                  <a:cubicBezTo>
                    <a:pt x="50" y="47"/>
                    <a:pt x="52" y="45"/>
                    <a:pt x="55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4" y="45"/>
                    <a:pt x="76" y="46"/>
                    <a:pt x="77" y="48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2" y="61"/>
                    <a:pt x="83" y="62"/>
                    <a:pt x="85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9" y="62"/>
                    <a:pt x="91" y="63"/>
                    <a:pt x="91" y="66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92" y="76"/>
                    <a:pt x="91" y="78"/>
                    <a:pt x="89" y="79"/>
                  </a:cubicBezTo>
                  <a:cubicBezTo>
                    <a:pt x="87" y="79"/>
                    <a:pt x="87" y="79"/>
                    <a:pt x="87" y="79"/>
                  </a:cubicBezTo>
                  <a:cubicBezTo>
                    <a:pt x="85" y="80"/>
                    <a:pt x="83" y="83"/>
                    <a:pt x="84" y="85"/>
                  </a:cubicBezTo>
                  <a:cubicBezTo>
                    <a:pt x="85" y="87"/>
                    <a:pt x="84" y="90"/>
                    <a:pt x="81" y="90"/>
                  </a:cubicBezTo>
                  <a:cubicBezTo>
                    <a:pt x="78" y="91"/>
                    <a:pt x="78" y="91"/>
                    <a:pt x="78" y="91"/>
                  </a:cubicBezTo>
                  <a:cubicBezTo>
                    <a:pt x="78" y="95"/>
                    <a:pt x="78" y="95"/>
                    <a:pt x="78" y="95"/>
                  </a:cubicBezTo>
                  <a:cubicBezTo>
                    <a:pt x="78" y="97"/>
                    <a:pt x="79" y="98"/>
                    <a:pt x="80" y="99"/>
                  </a:cubicBezTo>
                  <a:cubicBezTo>
                    <a:pt x="81" y="101"/>
                    <a:pt x="83" y="101"/>
                    <a:pt x="85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3" y="100"/>
                    <a:pt x="104" y="99"/>
                    <a:pt x="105" y="98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4" y="95"/>
                    <a:pt x="115" y="93"/>
                    <a:pt x="115" y="90"/>
                  </a:cubicBezTo>
                  <a:cubicBezTo>
                    <a:pt x="115" y="87"/>
                    <a:pt x="118" y="84"/>
                    <a:pt x="121" y="85"/>
                  </a:cubicBezTo>
                  <a:cubicBezTo>
                    <a:pt x="124" y="85"/>
                    <a:pt x="124" y="85"/>
                    <a:pt x="124" y="85"/>
                  </a:cubicBezTo>
                  <a:cubicBezTo>
                    <a:pt x="126" y="86"/>
                    <a:pt x="128" y="87"/>
                    <a:pt x="128" y="89"/>
                  </a:cubicBezTo>
                  <a:cubicBezTo>
                    <a:pt x="129" y="91"/>
                    <a:pt x="129" y="91"/>
                    <a:pt x="129" y="91"/>
                  </a:cubicBezTo>
                  <a:cubicBezTo>
                    <a:pt x="130" y="94"/>
                    <a:pt x="132" y="95"/>
                    <a:pt x="134" y="95"/>
                  </a:cubicBezTo>
                  <a:cubicBezTo>
                    <a:pt x="149" y="95"/>
                    <a:pt x="149" y="95"/>
                    <a:pt x="149" y="95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2" y="103"/>
                    <a:pt x="142" y="103"/>
                    <a:pt x="142" y="103"/>
                  </a:cubicBezTo>
                  <a:cubicBezTo>
                    <a:pt x="140" y="105"/>
                    <a:pt x="140" y="109"/>
                    <a:pt x="142" y="111"/>
                  </a:cubicBezTo>
                  <a:cubicBezTo>
                    <a:pt x="146" y="114"/>
                    <a:pt x="146" y="114"/>
                    <a:pt x="146" y="114"/>
                  </a:cubicBezTo>
                  <a:cubicBezTo>
                    <a:pt x="146" y="115"/>
                    <a:pt x="146" y="115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48" y="118"/>
                    <a:pt x="150" y="119"/>
                    <a:pt x="152" y="119"/>
                  </a:cubicBezTo>
                  <a:cubicBezTo>
                    <a:pt x="161" y="119"/>
                    <a:pt x="161" y="119"/>
                    <a:pt x="161" y="119"/>
                  </a:cubicBezTo>
                  <a:cubicBezTo>
                    <a:pt x="162" y="119"/>
                    <a:pt x="163" y="119"/>
                    <a:pt x="163" y="118"/>
                  </a:cubicBezTo>
                  <a:cubicBezTo>
                    <a:pt x="173" y="112"/>
                    <a:pt x="173" y="112"/>
                    <a:pt x="173" y="112"/>
                  </a:cubicBezTo>
                  <a:cubicBezTo>
                    <a:pt x="174" y="112"/>
                    <a:pt x="175" y="112"/>
                    <a:pt x="176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80" y="115"/>
                    <a:pt x="186" y="115"/>
                    <a:pt x="185" y="111"/>
                  </a:cubicBezTo>
                  <a:cubicBezTo>
                    <a:pt x="185" y="107"/>
                    <a:pt x="182" y="104"/>
                    <a:pt x="178" y="105"/>
                  </a:cubicBezTo>
                  <a:cubicBezTo>
                    <a:pt x="169" y="107"/>
                    <a:pt x="169" y="107"/>
                    <a:pt x="169" y="107"/>
                  </a:cubicBezTo>
                  <a:cubicBezTo>
                    <a:pt x="167" y="107"/>
                    <a:pt x="165" y="106"/>
                    <a:pt x="164" y="104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2" y="100"/>
                    <a:pt x="161" y="99"/>
                    <a:pt x="159" y="99"/>
                  </a:cubicBezTo>
                  <a:cubicBezTo>
                    <a:pt x="155" y="99"/>
                    <a:pt x="155" y="99"/>
                    <a:pt x="155" y="99"/>
                  </a:cubicBezTo>
                  <a:cubicBezTo>
                    <a:pt x="154" y="95"/>
                    <a:pt x="154" y="95"/>
                    <a:pt x="154" y="95"/>
                  </a:cubicBezTo>
                  <a:cubicBezTo>
                    <a:pt x="176" y="88"/>
                    <a:pt x="176" y="88"/>
                    <a:pt x="176" y="88"/>
                  </a:cubicBezTo>
                  <a:cubicBezTo>
                    <a:pt x="196" y="81"/>
                    <a:pt x="196" y="81"/>
                    <a:pt x="196" y="81"/>
                  </a:cubicBezTo>
                  <a:cubicBezTo>
                    <a:pt x="200" y="79"/>
                    <a:pt x="203" y="76"/>
                    <a:pt x="204" y="72"/>
                  </a:cubicBezTo>
                  <a:cubicBezTo>
                    <a:pt x="214" y="69"/>
                    <a:pt x="214" y="69"/>
                    <a:pt x="214" y="69"/>
                  </a:cubicBezTo>
                  <a:cubicBezTo>
                    <a:pt x="219" y="68"/>
                    <a:pt x="222" y="64"/>
                    <a:pt x="223" y="59"/>
                  </a:cubicBezTo>
                  <a:cubicBezTo>
                    <a:pt x="224" y="50"/>
                    <a:pt x="224" y="50"/>
                    <a:pt x="224" y="50"/>
                  </a:cubicBezTo>
                  <a:cubicBezTo>
                    <a:pt x="225" y="45"/>
                    <a:pt x="223" y="41"/>
                    <a:pt x="219" y="3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30">
              <a:extLst>
                <a:ext uri="{FF2B5EF4-FFF2-40B4-BE49-F238E27FC236}">
                  <a16:creationId xmlns:a16="http://schemas.microsoft.com/office/drawing/2014/main" id="{0CFED72D-5A87-42F8-AACC-3A78B1DBE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7175" y="3587751"/>
              <a:ext cx="350838" cy="211138"/>
            </a:xfrm>
            <a:custGeom>
              <a:avLst/>
              <a:gdLst>
                <a:gd name="T0" fmla="*/ 95 w 117"/>
                <a:gd name="T1" fmla="*/ 46 h 71"/>
                <a:gd name="T2" fmla="*/ 93 w 117"/>
                <a:gd name="T3" fmla="*/ 42 h 71"/>
                <a:gd name="T4" fmla="*/ 93 w 117"/>
                <a:gd name="T5" fmla="*/ 34 h 71"/>
                <a:gd name="T6" fmla="*/ 93 w 117"/>
                <a:gd name="T7" fmla="*/ 32 h 71"/>
                <a:gd name="T8" fmla="*/ 85 w 117"/>
                <a:gd name="T9" fmla="*/ 15 h 71"/>
                <a:gd name="T10" fmla="*/ 81 w 117"/>
                <a:gd name="T11" fmla="*/ 12 h 71"/>
                <a:gd name="T12" fmla="*/ 78 w 117"/>
                <a:gd name="T13" fmla="*/ 11 h 71"/>
                <a:gd name="T14" fmla="*/ 73 w 117"/>
                <a:gd name="T15" fmla="*/ 6 h 71"/>
                <a:gd name="T16" fmla="*/ 73 w 117"/>
                <a:gd name="T17" fmla="*/ 4 h 71"/>
                <a:gd name="T18" fmla="*/ 66 w 117"/>
                <a:gd name="T19" fmla="*/ 0 h 71"/>
                <a:gd name="T20" fmla="*/ 21 w 117"/>
                <a:gd name="T21" fmla="*/ 2 h 71"/>
                <a:gd name="T22" fmla="*/ 20 w 117"/>
                <a:gd name="T23" fmla="*/ 7 h 71"/>
                <a:gd name="T24" fmla="*/ 6 w 117"/>
                <a:gd name="T25" fmla="*/ 26 h 71"/>
                <a:gd name="T26" fmla="*/ 0 w 117"/>
                <a:gd name="T27" fmla="*/ 30 h 71"/>
                <a:gd name="T28" fmla="*/ 1 w 117"/>
                <a:gd name="T29" fmla="*/ 40 h 71"/>
                <a:gd name="T30" fmla="*/ 2 w 117"/>
                <a:gd name="T31" fmla="*/ 43 h 71"/>
                <a:gd name="T32" fmla="*/ 9 w 117"/>
                <a:gd name="T33" fmla="*/ 53 h 71"/>
                <a:gd name="T34" fmla="*/ 14 w 117"/>
                <a:gd name="T35" fmla="*/ 55 h 71"/>
                <a:gd name="T36" fmla="*/ 16 w 117"/>
                <a:gd name="T37" fmla="*/ 55 h 71"/>
                <a:gd name="T38" fmla="*/ 16 w 117"/>
                <a:gd name="T39" fmla="*/ 51 h 71"/>
                <a:gd name="T40" fmla="*/ 20 w 117"/>
                <a:gd name="T41" fmla="*/ 51 h 71"/>
                <a:gd name="T42" fmla="*/ 32 w 117"/>
                <a:gd name="T43" fmla="*/ 69 h 71"/>
                <a:gd name="T44" fmla="*/ 37 w 117"/>
                <a:gd name="T45" fmla="*/ 71 h 71"/>
                <a:gd name="T46" fmla="*/ 58 w 117"/>
                <a:gd name="T47" fmla="*/ 71 h 71"/>
                <a:gd name="T48" fmla="*/ 61 w 117"/>
                <a:gd name="T49" fmla="*/ 71 h 71"/>
                <a:gd name="T50" fmla="*/ 74 w 117"/>
                <a:gd name="T51" fmla="*/ 64 h 71"/>
                <a:gd name="T52" fmla="*/ 76 w 117"/>
                <a:gd name="T53" fmla="*/ 64 h 71"/>
                <a:gd name="T54" fmla="*/ 107 w 117"/>
                <a:gd name="T55" fmla="*/ 64 h 71"/>
                <a:gd name="T56" fmla="*/ 110 w 117"/>
                <a:gd name="T57" fmla="*/ 61 h 71"/>
                <a:gd name="T58" fmla="*/ 111 w 117"/>
                <a:gd name="T59" fmla="*/ 60 h 71"/>
                <a:gd name="T60" fmla="*/ 117 w 117"/>
                <a:gd name="T61" fmla="*/ 48 h 71"/>
                <a:gd name="T62" fmla="*/ 100 w 117"/>
                <a:gd name="T63" fmla="*/ 48 h 71"/>
                <a:gd name="T64" fmla="*/ 95 w 117"/>
                <a:gd name="T65" fmla="*/ 4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7" h="71">
                  <a:moveTo>
                    <a:pt x="95" y="46"/>
                  </a:moveTo>
                  <a:cubicBezTo>
                    <a:pt x="94" y="45"/>
                    <a:pt x="93" y="44"/>
                    <a:pt x="93" y="42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3"/>
                    <a:pt x="93" y="33"/>
                    <a:pt x="93" y="32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84" y="13"/>
                    <a:pt x="83" y="12"/>
                    <a:pt x="81" y="12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5" y="10"/>
                    <a:pt x="74" y="9"/>
                    <a:pt x="73" y="6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2" y="2"/>
                    <a:pt x="69" y="0"/>
                    <a:pt x="66" y="0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4"/>
                    <a:pt x="21" y="6"/>
                    <a:pt x="20" y="7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4" y="28"/>
                    <a:pt x="2" y="30"/>
                    <a:pt x="0" y="3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1"/>
                    <a:pt x="1" y="42"/>
                    <a:pt x="2" y="4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10" y="54"/>
                    <a:pt x="12" y="55"/>
                    <a:pt x="14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3" y="70"/>
                    <a:pt x="35" y="71"/>
                    <a:pt x="37" y="71"/>
                  </a:cubicBezTo>
                  <a:cubicBezTo>
                    <a:pt x="58" y="71"/>
                    <a:pt x="58" y="71"/>
                    <a:pt x="58" y="71"/>
                  </a:cubicBezTo>
                  <a:cubicBezTo>
                    <a:pt x="59" y="71"/>
                    <a:pt x="60" y="71"/>
                    <a:pt x="61" y="71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5" y="64"/>
                    <a:pt x="76" y="64"/>
                    <a:pt x="76" y="6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10" y="61"/>
                    <a:pt x="110" y="61"/>
                    <a:pt x="110" y="61"/>
                  </a:cubicBezTo>
                  <a:cubicBezTo>
                    <a:pt x="110" y="61"/>
                    <a:pt x="111" y="60"/>
                    <a:pt x="111" y="60"/>
                  </a:cubicBezTo>
                  <a:cubicBezTo>
                    <a:pt x="117" y="48"/>
                    <a:pt x="117" y="48"/>
                    <a:pt x="117" y="48"/>
                  </a:cubicBezTo>
                  <a:cubicBezTo>
                    <a:pt x="100" y="48"/>
                    <a:pt x="100" y="48"/>
                    <a:pt x="100" y="48"/>
                  </a:cubicBezTo>
                  <a:cubicBezTo>
                    <a:pt x="98" y="48"/>
                    <a:pt x="96" y="48"/>
                    <a:pt x="95" y="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31">
              <a:extLst>
                <a:ext uri="{FF2B5EF4-FFF2-40B4-BE49-F238E27FC236}">
                  <a16:creationId xmlns:a16="http://schemas.microsoft.com/office/drawing/2014/main" id="{A1BFE14A-EAD9-4D02-B13B-FAFC89C44B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988" y="3670301"/>
              <a:ext cx="198438" cy="203200"/>
            </a:xfrm>
            <a:custGeom>
              <a:avLst/>
              <a:gdLst>
                <a:gd name="T0" fmla="*/ 65 w 66"/>
                <a:gd name="T1" fmla="*/ 37 h 68"/>
                <a:gd name="T2" fmla="*/ 65 w 66"/>
                <a:gd name="T3" fmla="*/ 39 h 68"/>
                <a:gd name="T4" fmla="*/ 55 w 66"/>
                <a:gd name="T5" fmla="*/ 57 h 68"/>
                <a:gd name="T6" fmla="*/ 55 w 66"/>
                <a:gd name="T7" fmla="*/ 57 h 68"/>
                <a:gd name="T8" fmla="*/ 55 w 66"/>
                <a:gd name="T9" fmla="*/ 58 h 68"/>
                <a:gd name="T10" fmla="*/ 53 w 66"/>
                <a:gd name="T11" fmla="*/ 67 h 68"/>
                <a:gd name="T12" fmla="*/ 48 w 66"/>
                <a:gd name="T13" fmla="*/ 66 h 68"/>
                <a:gd name="T14" fmla="*/ 30 w 66"/>
                <a:gd name="T15" fmla="*/ 50 h 68"/>
                <a:gd name="T16" fmla="*/ 19 w 66"/>
                <a:gd name="T17" fmla="*/ 31 h 68"/>
                <a:gd name="T18" fmla="*/ 16 w 66"/>
                <a:gd name="T19" fmla="*/ 30 h 68"/>
                <a:gd name="T20" fmla="*/ 7 w 66"/>
                <a:gd name="T21" fmla="*/ 30 h 68"/>
                <a:gd name="T22" fmla="*/ 6 w 66"/>
                <a:gd name="T23" fmla="*/ 29 h 68"/>
                <a:gd name="T24" fmla="*/ 5 w 66"/>
                <a:gd name="T25" fmla="*/ 21 h 68"/>
                <a:gd name="T26" fmla="*/ 0 w 66"/>
                <a:gd name="T27" fmla="*/ 19 h 68"/>
                <a:gd name="T28" fmla="*/ 0 w 66"/>
                <a:gd name="T29" fmla="*/ 19 h 68"/>
                <a:gd name="T30" fmla="*/ 0 w 66"/>
                <a:gd name="T31" fmla="*/ 18 h 68"/>
                <a:gd name="T32" fmla="*/ 16 w 66"/>
                <a:gd name="T33" fmla="*/ 12 h 68"/>
                <a:gd name="T34" fmla="*/ 18 w 66"/>
                <a:gd name="T35" fmla="*/ 11 h 68"/>
                <a:gd name="T36" fmla="*/ 24 w 66"/>
                <a:gd name="T37" fmla="*/ 0 h 68"/>
                <a:gd name="T38" fmla="*/ 31 w 66"/>
                <a:gd name="T39" fmla="*/ 3 h 68"/>
                <a:gd name="T40" fmla="*/ 34 w 66"/>
                <a:gd name="T41" fmla="*/ 2 h 68"/>
                <a:gd name="T42" fmla="*/ 37 w 66"/>
                <a:gd name="T43" fmla="*/ 0 h 68"/>
                <a:gd name="T44" fmla="*/ 38 w 66"/>
                <a:gd name="T45" fmla="*/ 0 h 68"/>
                <a:gd name="T46" fmla="*/ 51 w 66"/>
                <a:gd name="T47" fmla="*/ 6 h 68"/>
                <a:gd name="T48" fmla="*/ 58 w 66"/>
                <a:gd name="T49" fmla="*/ 6 h 68"/>
                <a:gd name="T50" fmla="*/ 59 w 66"/>
                <a:gd name="T51" fmla="*/ 9 h 68"/>
                <a:gd name="T52" fmla="*/ 62 w 66"/>
                <a:gd name="T53" fmla="*/ 12 h 68"/>
                <a:gd name="T54" fmla="*/ 65 w 66"/>
                <a:gd name="T55" fmla="*/ 15 h 68"/>
                <a:gd name="T56" fmla="*/ 65 w 66"/>
                <a:gd name="T57" fmla="*/ 17 h 68"/>
                <a:gd name="T58" fmla="*/ 65 w 66"/>
                <a:gd name="T59" fmla="*/ 19 h 68"/>
                <a:gd name="T60" fmla="*/ 62 w 66"/>
                <a:gd name="T61" fmla="*/ 23 h 68"/>
                <a:gd name="T62" fmla="*/ 61 w 66"/>
                <a:gd name="T63" fmla="*/ 24 h 68"/>
                <a:gd name="T64" fmla="*/ 61 w 66"/>
                <a:gd name="T65" fmla="*/ 28 h 68"/>
                <a:gd name="T66" fmla="*/ 65 w 66"/>
                <a:gd name="T67" fmla="*/ 3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6" h="68">
                  <a:moveTo>
                    <a:pt x="65" y="37"/>
                  </a:moveTo>
                  <a:cubicBezTo>
                    <a:pt x="65" y="38"/>
                    <a:pt x="65" y="39"/>
                    <a:pt x="65" y="39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8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1" y="68"/>
                    <a:pt x="49" y="67"/>
                    <a:pt x="48" y="66"/>
                  </a:cubicBezTo>
                  <a:cubicBezTo>
                    <a:pt x="42" y="61"/>
                    <a:pt x="31" y="50"/>
                    <a:pt x="30" y="50"/>
                  </a:cubicBezTo>
                  <a:cubicBezTo>
                    <a:pt x="28" y="49"/>
                    <a:pt x="22" y="36"/>
                    <a:pt x="19" y="31"/>
                  </a:cubicBezTo>
                  <a:cubicBezTo>
                    <a:pt x="18" y="30"/>
                    <a:pt x="17" y="30"/>
                    <a:pt x="16" y="30"/>
                  </a:cubicBezTo>
                  <a:cubicBezTo>
                    <a:pt x="13" y="31"/>
                    <a:pt x="10" y="32"/>
                    <a:pt x="7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4" y="27"/>
                    <a:pt x="3" y="24"/>
                    <a:pt x="5" y="21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7" y="12"/>
                    <a:pt x="18" y="11"/>
                    <a:pt x="18" y="11"/>
                  </a:cubicBezTo>
                  <a:cubicBezTo>
                    <a:pt x="20" y="8"/>
                    <a:pt x="24" y="1"/>
                    <a:pt x="24" y="0"/>
                  </a:cubicBezTo>
                  <a:cubicBezTo>
                    <a:pt x="24" y="0"/>
                    <a:pt x="28" y="1"/>
                    <a:pt x="31" y="3"/>
                  </a:cubicBezTo>
                  <a:cubicBezTo>
                    <a:pt x="32" y="3"/>
                    <a:pt x="33" y="3"/>
                    <a:pt x="34" y="2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8" y="0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4" y="7"/>
                    <a:pt x="56" y="7"/>
                    <a:pt x="58" y="6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1"/>
                    <a:pt x="60" y="12"/>
                    <a:pt x="62" y="12"/>
                  </a:cubicBezTo>
                  <a:cubicBezTo>
                    <a:pt x="63" y="12"/>
                    <a:pt x="65" y="13"/>
                    <a:pt x="65" y="15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6" y="17"/>
                    <a:pt x="65" y="18"/>
                    <a:pt x="65" y="19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0" y="25"/>
                    <a:pt x="60" y="27"/>
                    <a:pt x="61" y="28"/>
                  </a:cubicBezTo>
                  <a:lnTo>
                    <a:pt x="65" y="3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32">
              <a:extLst>
                <a:ext uri="{FF2B5EF4-FFF2-40B4-BE49-F238E27FC236}">
                  <a16:creationId xmlns:a16="http://schemas.microsoft.com/office/drawing/2014/main" id="{918C7160-65DD-4AFC-9D4C-0F07D4BC4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2863" y="3286126"/>
              <a:ext cx="314325" cy="244475"/>
            </a:xfrm>
            <a:custGeom>
              <a:avLst/>
              <a:gdLst>
                <a:gd name="T0" fmla="*/ 98 w 105"/>
                <a:gd name="T1" fmla="*/ 68 h 82"/>
                <a:gd name="T2" fmla="*/ 100 w 105"/>
                <a:gd name="T3" fmla="*/ 68 h 82"/>
                <a:gd name="T4" fmla="*/ 103 w 105"/>
                <a:gd name="T5" fmla="*/ 67 h 82"/>
                <a:gd name="T6" fmla="*/ 105 w 105"/>
                <a:gd name="T7" fmla="*/ 64 h 82"/>
                <a:gd name="T8" fmla="*/ 101 w 105"/>
                <a:gd name="T9" fmla="*/ 55 h 82"/>
                <a:gd name="T10" fmla="*/ 100 w 105"/>
                <a:gd name="T11" fmla="*/ 53 h 82"/>
                <a:gd name="T12" fmla="*/ 100 w 105"/>
                <a:gd name="T13" fmla="*/ 41 h 82"/>
                <a:gd name="T14" fmla="*/ 98 w 105"/>
                <a:gd name="T15" fmla="*/ 37 h 82"/>
                <a:gd name="T16" fmla="*/ 95 w 105"/>
                <a:gd name="T17" fmla="*/ 36 h 82"/>
                <a:gd name="T18" fmla="*/ 93 w 105"/>
                <a:gd name="T19" fmla="*/ 32 h 82"/>
                <a:gd name="T20" fmla="*/ 95 w 105"/>
                <a:gd name="T21" fmla="*/ 29 h 82"/>
                <a:gd name="T22" fmla="*/ 98 w 105"/>
                <a:gd name="T23" fmla="*/ 27 h 82"/>
                <a:gd name="T24" fmla="*/ 100 w 105"/>
                <a:gd name="T25" fmla="*/ 22 h 82"/>
                <a:gd name="T26" fmla="*/ 91 w 105"/>
                <a:gd name="T27" fmla="*/ 1 h 82"/>
                <a:gd name="T28" fmla="*/ 89 w 105"/>
                <a:gd name="T29" fmla="*/ 0 h 82"/>
                <a:gd name="T30" fmla="*/ 86 w 105"/>
                <a:gd name="T31" fmla="*/ 3 h 82"/>
                <a:gd name="T32" fmla="*/ 70 w 105"/>
                <a:gd name="T33" fmla="*/ 3 h 82"/>
                <a:gd name="T34" fmla="*/ 70 w 105"/>
                <a:gd name="T35" fmla="*/ 14 h 82"/>
                <a:gd name="T36" fmla="*/ 59 w 105"/>
                <a:gd name="T37" fmla="*/ 14 h 82"/>
                <a:gd name="T38" fmla="*/ 53 w 105"/>
                <a:gd name="T39" fmla="*/ 8 h 82"/>
                <a:gd name="T40" fmla="*/ 40 w 105"/>
                <a:gd name="T41" fmla="*/ 8 h 82"/>
                <a:gd name="T42" fmla="*/ 7 w 105"/>
                <a:gd name="T43" fmla="*/ 23 h 82"/>
                <a:gd name="T44" fmla="*/ 6 w 105"/>
                <a:gd name="T45" fmla="*/ 23 h 82"/>
                <a:gd name="T46" fmla="*/ 4 w 105"/>
                <a:gd name="T47" fmla="*/ 26 h 82"/>
                <a:gd name="T48" fmla="*/ 1 w 105"/>
                <a:gd name="T49" fmla="*/ 35 h 82"/>
                <a:gd name="T50" fmla="*/ 4 w 105"/>
                <a:gd name="T51" fmla="*/ 47 h 82"/>
                <a:gd name="T52" fmla="*/ 4 w 105"/>
                <a:gd name="T53" fmla="*/ 53 h 82"/>
                <a:gd name="T54" fmla="*/ 44 w 105"/>
                <a:gd name="T55" fmla="*/ 71 h 82"/>
                <a:gd name="T56" fmla="*/ 46 w 105"/>
                <a:gd name="T57" fmla="*/ 74 h 82"/>
                <a:gd name="T58" fmla="*/ 50 w 105"/>
                <a:gd name="T59" fmla="*/ 73 h 82"/>
                <a:gd name="T60" fmla="*/ 51 w 105"/>
                <a:gd name="T61" fmla="*/ 73 h 82"/>
                <a:gd name="T62" fmla="*/ 53 w 105"/>
                <a:gd name="T63" fmla="*/ 73 h 82"/>
                <a:gd name="T64" fmla="*/ 56 w 105"/>
                <a:gd name="T65" fmla="*/ 74 h 82"/>
                <a:gd name="T66" fmla="*/ 61 w 105"/>
                <a:gd name="T67" fmla="*/ 78 h 82"/>
                <a:gd name="T68" fmla="*/ 67 w 105"/>
                <a:gd name="T69" fmla="*/ 78 h 82"/>
                <a:gd name="T70" fmla="*/ 70 w 105"/>
                <a:gd name="T71" fmla="*/ 77 h 82"/>
                <a:gd name="T72" fmla="*/ 82 w 105"/>
                <a:gd name="T73" fmla="*/ 77 h 82"/>
                <a:gd name="T74" fmla="*/ 85 w 105"/>
                <a:gd name="T75" fmla="*/ 78 h 82"/>
                <a:gd name="T76" fmla="*/ 88 w 105"/>
                <a:gd name="T77" fmla="*/ 82 h 82"/>
                <a:gd name="T78" fmla="*/ 95 w 105"/>
                <a:gd name="T79" fmla="*/ 70 h 82"/>
                <a:gd name="T80" fmla="*/ 98 w 105"/>
                <a:gd name="T81" fmla="*/ 6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5" h="82">
                  <a:moveTo>
                    <a:pt x="98" y="68"/>
                  </a:moveTo>
                  <a:cubicBezTo>
                    <a:pt x="100" y="68"/>
                    <a:pt x="100" y="68"/>
                    <a:pt x="100" y="68"/>
                  </a:cubicBezTo>
                  <a:cubicBezTo>
                    <a:pt x="101" y="68"/>
                    <a:pt x="102" y="67"/>
                    <a:pt x="103" y="67"/>
                  </a:cubicBezTo>
                  <a:cubicBezTo>
                    <a:pt x="105" y="64"/>
                    <a:pt x="105" y="64"/>
                    <a:pt x="105" y="64"/>
                  </a:cubicBezTo>
                  <a:cubicBezTo>
                    <a:pt x="101" y="55"/>
                    <a:pt x="101" y="55"/>
                    <a:pt x="101" y="55"/>
                  </a:cubicBezTo>
                  <a:cubicBezTo>
                    <a:pt x="100" y="55"/>
                    <a:pt x="100" y="54"/>
                    <a:pt x="100" y="53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39"/>
                    <a:pt x="99" y="38"/>
                    <a:pt x="98" y="37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4" y="35"/>
                    <a:pt x="93" y="34"/>
                    <a:pt x="93" y="32"/>
                  </a:cubicBezTo>
                  <a:cubicBezTo>
                    <a:pt x="93" y="31"/>
                    <a:pt x="94" y="29"/>
                    <a:pt x="95" y="2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0" y="26"/>
                    <a:pt x="101" y="24"/>
                    <a:pt x="100" y="22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0" y="1"/>
                    <a:pt x="90" y="0"/>
                    <a:pt x="89" y="0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4"/>
                    <a:pt x="5" y="25"/>
                    <a:pt x="4" y="26"/>
                  </a:cubicBezTo>
                  <a:cubicBezTo>
                    <a:pt x="1" y="28"/>
                    <a:pt x="0" y="32"/>
                    <a:pt x="1" y="35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5" y="49"/>
                    <a:pt x="4" y="52"/>
                    <a:pt x="4" y="53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2"/>
                    <a:pt x="46" y="73"/>
                    <a:pt x="46" y="74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1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4" y="73"/>
                    <a:pt x="55" y="73"/>
                    <a:pt x="56" y="74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2" y="80"/>
                    <a:pt x="65" y="80"/>
                    <a:pt x="67" y="78"/>
                  </a:cubicBezTo>
                  <a:cubicBezTo>
                    <a:pt x="68" y="77"/>
                    <a:pt x="69" y="77"/>
                    <a:pt x="70" y="77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83" y="77"/>
                    <a:pt x="84" y="77"/>
                    <a:pt x="85" y="78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6" y="69"/>
                    <a:pt x="97" y="68"/>
                    <a:pt x="98" y="6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33">
              <a:extLst>
                <a:ext uri="{FF2B5EF4-FFF2-40B4-BE49-F238E27FC236}">
                  <a16:creationId xmlns:a16="http://schemas.microsoft.com/office/drawing/2014/main" id="{6A547B7C-60D5-4038-BAB9-C8E4D1F5E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950" y="3563938"/>
              <a:ext cx="215900" cy="128588"/>
            </a:xfrm>
            <a:custGeom>
              <a:avLst/>
              <a:gdLst>
                <a:gd name="T0" fmla="*/ 7 w 72"/>
                <a:gd name="T1" fmla="*/ 33 h 43"/>
                <a:gd name="T2" fmla="*/ 11 w 72"/>
                <a:gd name="T3" fmla="*/ 36 h 43"/>
                <a:gd name="T4" fmla="*/ 24 w 72"/>
                <a:gd name="T5" fmla="*/ 42 h 43"/>
                <a:gd name="T6" fmla="*/ 32 w 72"/>
                <a:gd name="T7" fmla="*/ 42 h 43"/>
                <a:gd name="T8" fmla="*/ 39 w 72"/>
                <a:gd name="T9" fmla="*/ 38 h 43"/>
                <a:gd name="T10" fmla="*/ 46 w 72"/>
                <a:gd name="T11" fmla="*/ 38 h 43"/>
                <a:gd name="T12" fmla="*/ 56 w 72"/>
                <a:gd name="T13" fmla="*/ 34 h 43"/>
                <a:gd name="T14" fmla="*/ 70 w 72"/>
                <a:gd name="T15" fmla="*/ 15 h 43"/>
                <a:gd name="T16" fmla="*/ 68 w 72"/>
                <a:gd name="T17" fmla="*/ 3 h 43"/>
                <a:gd name="T18" fmla="*/ 65 w 72"/>
                <a:gd name="T19" fmla="*/ 0 h 43"/>
                <a:gd name="T20" fmla="*/ 63 w 72"/>
                <a:gd name="T21" fmla="*/ 1 h 43"/>
                <a:gd name="T22" fmla="*/ 49 w 72"/>
                <a:gd name="T23" fmla="*/ 1 h 43"/>
                <a:gd name="T24" fmla="*/ 47 w 72"/>
                <a:gd name="T25" fmla="*/ 1 h 43"/>
                <a:gd name="T26" fmla="*/ 31 w 72"/>
                <a:gd name="T27" fmla="*/ 10 h 43"/>
                <a:gd name="T28" fmla="*/ 29 w 72"/>
                <a:gd name="T29" fmla="*/ 11 h 43"/>
                <a:gd name="T30" fmla="*/ 7 w 72"/>
                <a:gd name="T31" fmla="*/ 11 h 43"/>
                <a:gd name="T32" fmla="*/ 6 w 72"/>
                <a:gd name="T33" fmla="*/ 14 h 43"/>
                <a:gd name="T34" fmla="*/ 1 w 72"/>
                <a:gd name="T35" fmla="*/ 22 h 43"/>
                <a:gd name="T36" fmla="*/ 0 w 72"/>
                <a:gd name="T37" fmla="*/ 25 h 43"/>
                <a:gd name="T38" fmla="*/ 7 w 72"/>
                <a:gd name="T39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43">
                  <a:moveTo>
                    <a:pt x="7" y="33"/>
                  </a:moveTo>
                  <a:cubicBezTo>
                    <a:pt x="8" y="34"/>
                    <a:pt x="9" y="35"/>
                    <a:pt x="11" y="36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7" y="43"/>
                    <a:pt x="30" y="43"/>
                    <a:pt x="32" y="42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41" y="37"/>
                    <a:pt x="44" y="37"/>
                    <a:pt x="46" y="38"/>
                  </a:cubicBezTo>
                  <a:cubicBezTo>
                    <a:pt x="49" y="39"/>
                    <a:pt x="53" y="37"/>
                    <a:pt x="56" y="34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2" y="12"/>
                    <a:pt x="72" y="6"/>
                    <a:pt x="68" y="3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4" y="1"/>
                    <a:pt x="64" y="1"/>
                    <a:pt x="63" y="1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1"/>
                    <a:pt x="48" y="1"/>
                    <a:pt x="47" y="1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0" y="11"/>
                    <a:pt x="29" y="11"/>
                    <a:pt x="29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2"/>
                    <a:pt x="6" y="13"/>
                    <a:pt x="6" y="14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0" y="24"/>
                    <a:pt x="0" y="25"/>
                  </a:cubicBezTo>
                  <a:lnTo>
                    <a:pt x="7" y="3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34">
              <a:extLst>
                <a:ext uri="{FF2B5EF4-FFF2-40B4-BE49-F238E27FC236}">
                  <a16:creationId xmlns:a16="http://schemas.microsoft.com/office/drawing/2014/main" id="{11181CE9-5AF7-4728-9215-7378B0D6AF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600" y="3503613"/>
              <a:ext cx="215900" cy="92075"/>
            </a:xfrm>
            <a:custGeom>
              <a:avLst/>
              <a:gdLst>
                <a:gd name="T0" fmla="*/ 33 w 72"/>
                <a:gd name="T1" fmla="*/ 30 h 31"/>
                <a:gd name="T2" fmla="*/ 49 w 72"/>
                <a:gd name="T3" fmla="*/ 21 h 31"/>
                <a:gd name="T4" fmla="*/ 51 w 72"/>
                <a:gd name="T5" fmla="*/ 21 h 31"/>
                <a:gd name="T6" fmla="*/ 65 w 72"/>
                <a:gd name="T7" fmla="*/ 21 h 31"/>
                <a:gd name="T8" fmla="*/ 68 w 72"/>
                <a:gd name="T9" fmla="*/ 19 h 31"/>
                <a:gd name="T10" fmla="*/ 70 w 72"/>
                <a:gd name="T11" fmla="*/ 17 h 31"/>
                <a:gd name="T12" fmla="*/ 70 w 72"/>
                <a:gd name="T13" fmla="*/ 11 h 31"/>
                <a:gd name="T14" fmla="*/ 65 w 72"/>
                <a:gd name="T15" fmla="*/ 5 h 31"/>
                <a:gd name="T16" fmla="*/ 62 w 72"/>
                <a:gd name="T17" fmla="*/ 4 h 31"/>
                <a:gd name="T18" fmla="*/ 50 w 72"/>
                <a:gd name="T19" fmla="*/ 4 h 31"/>
                <a:gd name="T20" fmla="*/ 47 w 72"/>
                <a:gd name="T21" fmla="*/ 5 h 31"/>
                <a:gd name="T22" fmla="*/ 41 w 72"/>
                <a:gd name="T23" fmla="*/ 5 h 31"/>
                <a:gd name="T24" fmla="*/ 36 w 72"/>
                <a:gd name="T25" fmla="*/ 1 h 31"/>
                <a:gd name="T26" fmla="*/ 33 w 72"/>
                <a:gd name="T27" fmla="*/ 0 h 31"/>
                <a:gd name="T28" fmla="*/ 31 w 72"/>
                <a:gd name="T29" fmla="*/ 0 h 31"/>
                <a:gd name="T30" fmla="*/ 30 w 72"/>
                <a:gd name="T31" fmla="*/ 0 h 31"/>
                <a:gd name="T32" fmla="*/ 26 w 72"/>
                <a:gd name="T33" fmla="*/ 1 h 31"/>
                <a:gd name="T34" fmla="*/ 27 w 72"/>
                <a:gd name="T35" fmla="*/ 2 h 31"/>
                <a:gd name="T36" fmla="*/ 27 w 72"/>
                <a:gd name="T37" fmla="*/ 2 h 31"/>
                <a:gd name="T38" fmla="*/ 27 w 72"/>
                <a:gd name="T39" fmla="*/ 3 h 31"/>
                <a:gd name="T40" fmla="*/ 27 w 72"/>
                <a:gd name="T41" fmla="*/ 4 h 31"/>
                <a:gd name="T42" fmla="*/ 26 w 72"/>
                <a:gd name="T43" fmla="*/ 4 h 31"/>
                <a:gd name="T44" fmla="*/ 26 w 72"/>
                <a:gd name="T45" fmla="*/ 5 h 31"/>
                <a:gd name="T46" fmla="*/ 25 w 72"/>
                <a:gd name="T47" fmla="*/ 6 h 31"/>
                <a:gd name="T48" fmla="*/ 18 w 72"/>
                <a:gd name="T49" fmla="*/ 13 h 31"/>
                <a:gd name="T50" fmla="*/ 15 w 72"/>
                <a:gd name="T51" fmla="*/ 14 h 31"/>
                <a:gd name="T52" fmla="*/ 1 w 72"/>
                <a:gd name="T53" fmla="*/ 14 h 31"/>
                <a:gd name="T54" fmla="*/ 0 w 72"/>
                <a:gd name="T55" fmla="*/ 15 h 31"/>
                <a:gd name="T56" fmla="*/ 0 w 72"/>
                <a:gd name="T57" fmla="*/ 15 h 31"/>
                <a:gd name="T58" fmla="*/ 6 w 72"/>
                <a:gd name="T59" fmla="*/ 20 h 31"/>
                <a:gd name="T60" fmla="*/ 8 w 72"/>
                <a:gd name="T61" fmla="*/ 28 h 31"/>
                <a:gd name="T62" fmla="*/ 9 w 72"/>
                <a:gd name="T63" fmla="*/ 31 h 31"/>
                <a:gd name="T64" fmla="*/ 31 w 72"/>
                <a:gd name="T65" fmla="*/ 31 h 31"/>
                <a:gd name="T66" fmla="*/ 33 w 72"/>
                <a:gd name="T67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2" h="31">
                  <a:moveTo>
                    <a:pt x="33" y="30"/>
                  </a:move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1" y="21"/>
                    <a:pt x="51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6" y="21"/>
                    <a:pt x="67" y="20"/>
                    <a:pt x="68" y="19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2" y="15"/>
                    <a:pt x="72" y="13"/>
                    <a:pt x="70" y="11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4" y="4"/>
                    <a:pt x="63" y="4"/>
                    <a:pt x="62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9" y="4"/>
                    <a:pt x="48" y="4"/>
                    <a:pt x="47" y="5"/>
                  </a:cubicBezTo>
                  <a:cubicBezTo>
                    <a:pt x="45" y="7"/>
                    <a:pt x="42" y="7"/>
                    <a:pt x="41" y="5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5" y="0"/>
                    <a:pt x="34" y="0"/>
                    <a:pt x="3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1"/>
                    <a:pt x="27" y="1"/>
                    <a:pt x="27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2"/>
                    <a:pt x="27" y="3"/>
                    <a:pt x="27" y="3"/>
                  </a:cubicBezTo>
                  <a:cubicBezTo>
                    <a:pt x="27" y="3"/>
                    <a:pt x="27" y="3"/>
                    <a:pt x="27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6" y="6"/>
                    <a:pt x="25" y="6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7" y="14"/>
                    <a:pt x="16" y="14"/>
                    <a:pt x="15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0" y="14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3" y="15"/>
                    <a:pt x="5" y="18"/>
                    <a:pt x="6" y="20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9" y="29"/>
                    <a:pt x="9" y="30"/>
                    <a:pt x="9" y="31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1" y="31"/>
                    <a:pt x="32" y="31"/>
                    <a:pt x="33" y="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35">
              <a:extLst>
                <a:ext uri="{FF2B5EF4-FFF2-40B4-BE49-F238E27FC236}">
                  <a16:creationId xmlns:a16="http://schemas.microsoft.com/office/drawing/2014/main" id="{A480BE32-CFE2-4250-A786-8EC41C48F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6163" y="3595688"/>
              <a:ext cx="161925" cy="128588"/>
            </a:xfrm>
            <a:custGeom>
              <a:avLst/>
              <a:gdLst>
                <a:gd name="T0" fmla="*/ 47 w 54"/>
                <a:gd name="T1" fmla="*/ 24 h 43"/>
                <a:gd name="T2" fmla="*/ 52 w 54"/>
                <a:gd name="T3" fmla="*/ 21 h 43"/>
                <a:gd name="T4" fmla="*/ 54 w 54"/>
                <a:gd name="T5" fmla="*/ 17 h 43"/>
                <a:gd name="T6" fmla="*/ 51 w 54"/>
                <a:gd name="T7" fmla="*/ 13 h 43"/>
                <a:gd name="T8" fmla="*/ 49 w 54"/>
                <a:gd name="T9" fmla="*/ 13 h 43"/>
                <a:gd name="T10" fmla="*/ 45 w 54"/>
                <a:gd name="T11" fmla="*/ 8 h 43"/>
                <a:gd name="T12" fmla="*/ 45 w 54"/>
                <a:gd name="T13" fmla="*/ 7 h 43"/>
                <a:gd name="T14" fmla="*/ 45 w 54"/>
                <a:gd name="T15" fmla="*/ 7 h 43"/>
                <a:gd name="T16" fmla="*/ 41 w 54"/>
                <a:gd name="T17" fmla="*/ 6 h 43"/>
                <a:gd name="T18" fmla="*/ 31 w 54"/>
                <a:gd name="T19" fmla="*/ 1 h 43"/>
                <a:gd name="T20" fmla="*/ 27 w 54"/>
                <a:gd name="T21" fmla="*/ 0 h 43"/>
                <a:gd name="T22" fmla="*/ 19 w 54"/>
                <a:gd name="T23" fmla="*/ 0 h 43"/>
                <a:gd name="T24" fmla="*/ 1 w 54"/>
                <a:gd name="T25" fmla="*/ 29 h 43"/>
                <a:gd name="T26" fmla="*/ 4 w 54"/>
                <a:gd name="T27" fmla="*/ 34 h 43"/>
                <a:gd name="T28" fmla="*/ 5 w 54"/>
                <a:gd name="T29" fmla="*/ 34 h 43"/>
                <a:gd name="T30" fmla="*/ 8 w 54"/>
                <a:gd name="T31" fmla="*/ 37 h 43"/>
                <a:gd name="T32" fmla="*/ 8 w 54"/>
                <a:gd name="T33" fmla="*/ 43 h 43"/>
                <a:gd name="T34" fmla="*/ 9 w 54"/>
                <a:gd name="T35" fmla="*/ 43 h 43"/>
                <a:gd name="T36" fmla="*/ 15 w 54"/>
                <a:gd name="T37" fmla="*/ 43 h 43"/>
                <a:gd name="T38" fmla="*/ 19 w 54"/>
                <a:gd name="T39" fmla="*/ 39 h 43"/>
                <a:gd name="T40" fmla="*/ 23 w 54"/>
                <a:gd name="T41" fmla="*/ 35 h 43"/>
                <a:gd name="T42" fmla="*/ 37 w 54"/>
                <a:gd name="T43" fmla="*/ 35 h 43"/>
                <a:gd name="T44" fmla="*/ 44 w 54"/>
                <a:gd name="T45" fmla="*/ 32 h 43"/>
                <a:gd name="T46" fmla="*/ 44 w 54"/>
                <a:gd name="T47" fmla="*/ 32 h 43"/>
                <a:gd name="T48" fmla="*/ 44 w 54"/>
                <a:gd name="T49" fmla="*/ 29 h 43"/>
                <a:gd name="T50" fmla="*/ 47 w 54"/>
                <a:gd name="T51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43">
                  <a:moveTo>
                    <a:pt x="47" y="24"/>
                  </a:moveTo>
                  <a:cubicBezTo>
                    <a:pt x="52" y="21"/>
                    <a:pt x="52" y="21"/>
                    <a:pt x="52" y="21"/>
                  </a:cubicBezTo>
                  <a:cubicBezTo>
                    <a:pt x="54" y="20"/>
                    <a:pt x="54" y="18"/>
                    <a:pt x="54" y="17"/>
                  </a:cubicBezTo>
                  <a:cubicBezTo>
                    <a:pt x="54" y="15"/>
                    <a:pt x="53" y="13"/>
                    <a:pt x="51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7" y="13"/>
                    <a:pt x="45" y="11"/>
                    <a:pt x="45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3" y="7"/>
                    <a:pt x="42" y="6"/>
                    <a:pt x="41" y="6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0" y="0"/>
                    <a:pt x="28" y="0"/>
                    <a:pt x="27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0" y="31"/>
                    <a:pt x="1" y="34"/>
                    <a:pt x="4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7" y="34"/>
                    <a:pt x="8" y="36"/>
                    <a:pt x="8" y="37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7" y="43"/>
                    <a:pt x="19" y="41"/>
                    <a:pt x="19" y="39"/>
                  </a:cubicBezTo>
                  <a:cubicBezTo>
                    <a:pt x="19" y="37"/>
                    <a:pt x="21" y="35"/>
                    <a:pt x="23" y="35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40" y="35"/>
                    <a:pt x="42" y="34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7"/>
                    <a:pt x="45" y="25"/>
                    <a:pt x="47" y="2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36">
              <a:extLst>
                <a:ext uri="{FF2B5EF4-FFF2-40B4-BE49-F238E27FC236}">
                  <a16:creationId xmlns:a16="http://schemas.microsoft.com/office/drawing/2014/main" id="{9AB991A2-62C8-49F3-B44E-046817F963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0" y="3365501"/>
              <a:ext cx="119063" cy="114300"/>
            </a:xfrm>
            <a:custGeom>
              <a:avLst/>
              <a:gdLst>
                <a:gd name="T0" fmla="*/ 24 w 40"/>
                <a:gd name="T1" fmla="*/ 31 h 38"/>
                <a:gd name="T2" fmla="*/ 32 w 40"/>
                <a:gd name="T3" fmla="*/ 17 h 38"/>
                <a:gd name="T4" fmla="*/ 40 w 40"/>
                <a:gd name="T5" fmla="*/ 4 h 38"/>
                <a:gd name="T6" fmla="*/ 40 w 40"/>
                <a:gd name="T7" fmla="*/ 2 h 38"/>
                <a:gd name="T8" fmla="*/ 39 w 40"/>
                <a:gd name="T9" fmla="*/ 0 h 38"/>
                <a:gd name="T10" fmla="*/ 24 w 40"/>
                <a:gd name="T11" fmla="*/ 1 h 38"/>
                <a:gd name="T12" fmla="*/ 22 w 40"/>
                <a:gd name="T13" fmla="*/ 1 h 38"/>
                <a:gd name="T14" fmla="*/ 17 w 40"/>
                <a:gd name="T15" fmla="*/ 5 h 38"/>
                <a:gd name="T16" fmla="*/ 16 w 40"/>
                <a:gd name="T17" fmla="*/ 9 h 38"/>
                <a:gd name="T18" fmla="*/ 18 w 40"/>
                <a:gd name="T19" fmla="*/ 13 h 38"/>
                <a:gd name="T20" fmla="*/ 16 w 40"/>
                <a:gd name="T21" fmla="*/ 17 h 38"/>
                <a:gd name="T22" fmla="*/ 11 w 40"/>
                <a:gd name="T23" fmla="*/ 15 h 38"/>
                <a:gd name="T24" fmla="*/ 11 w 40"/>
                <a:gd name="T25" fmla="*/ 15 h 38"/>
                <a:gd name="T26" fmla="*/ 6 w 40"/>
                <a:gd name="T27" fmla="*/ 13 h 38"/>
                <a:gd name="T28" fmla="*/ 4 w 40"/>
                <a:gd name="T29" fmla="*/ 15 h 38"/>
                <a:gd name="T30" fmla="*/ 2 w 40"/>
                <a:gd name="T31" fmla="*/ 17 h 38"/>
                <a:gd name="T32" fmla="*/ 0 w 40"/>
                <a:gd name="T33" fmla="*/ 26 h 38"/>
                <a:gd name="T34" fmla="*/ 9 w 40"/>
                <a:gd name="T35" fmla="*/ 26 h 38"/>
                <a:gd name="T36" fmla="*/ 23 w 40"/>
                <a:gd name="T37" fmla="*/ 36 h 38"/>
                <a:gd name="T38" fmla="*/ 24 w 40"/>
                <a:gd name="T39" fmla="*/ 37 h 38"/>
                <a:gd name="T40" fmla="*/ 24 w 40"/>
                <a:gd name="T41" fmla="*/ 38 h 38"/>
                <a:gd name="T42" fmla="*/ 24 w 40"/>
                <a:gd name="T43" fmla="*/ 38 h 38"/>
                <a:gd name="T44" fmla="*/ 24 w 40"/>
                <a:gd name="T45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38">
                  <a:moveTo>
                    <a:pt x="24" y="31"/>
                  </a:moveTo>
                  <a:cubicBezTo>
                    <a:pt x="24" y="25"/>
                    <a:pt x="27" y="20"/>
                    <a:pt x="32" y="17"/>
                  </a:cubicBezTo>
                  <a:cubicBezTo>
                    <a:pt x="37" y="14"/>
                    <a:pt x="40" y="9"/>
                    <a:pt x="40" y="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2"/>
                    <a:pt x="40" y="1"/>
                    <a:pt x="39" y="0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4" y="1"/>
                    <a:pt x="23" y="1"/>
                    <a:pt x="22" y="1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6"/>
                    <a:pt x="16" y="8"/>
                    <a:pt x="16" y="9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5"/>
                    <a:pt x="18" y="16"/>
                    <a:pt x="16" y="17"/>
                  </a:cubicBezTo>
                  <a:cubicBezTo>
                    <a:pt x="15" y="19"/>
                    <a:pt x="12" y="18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3"/>
                    <a:pt x="8" y="12"/>
                    <a:pt x="6" y="13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3" y="16"/>
                    <a:pt x="2" y="1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15" y="26"/>
                    <a:pt x="21" y="30"/>
                    <a:pt x="23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8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lnTo>
                    <a:pt x="24" y="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37">
              <a:extLst>
                <a:ext uri="{FF2B5EF4-FFF2-40B4-BE49-F238E27FC236}">
                  <a16:creationId xmlns:a16="http://schemas.microsoft.com/office/drawing/2014/main" id="{851E580F-583A-4136-93FC-B2BB9A6366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7575" y="3443288"/>
              <a:ext cx="128588" cy="107950"/>
            </a:xfrm>
            <a:custGeom>
              <a:avLst/>
              <a:gdLst>
                <a:gd name="T0" fmla="*/ 39 w 43"/>
                <a:gd name="T1" fmla="*/ 28 h 36"/>
                <a:gd name="T2" fmla="*/ 42 w 43"/>
                <a:gd name="T3" fmla="*/ 22 h 36"/>
                <a:gd name="T4" fmla="*/ 42 w 43"/>
                <a:gd name="T5" fmla="*/ 11 h 36"/>
                <a:gd name="T6" fmla="*/ 41 w 43"/>
                <a:gd name="T7" fmla="*/ 10 h 36"/>
                <a:gd name="T8" fmla="*/ 27 w 43"/>
                <a:gd name="T9" fmla="*/ 0 h 36"/>
                <a:gd name="T10" fmla="*/ 18 w 43"/>
                <a:gd name="T11" fmla="*/ 0 h 36"/>
                <a:gd name="T12" fmla="*/ 18 w 43"/>
                <a:gd name="T13" fmla="*/ 1 h 36"/>
                <a:gd name="T14" fmla="*/ 17 w 43"/>
                <a:gd name="T15" fmla="*/ 3 h 36"/>
                <a:gd name="T16" fmla="*/ 4 w 43"/>
                <a:gd name="T17" fmla="*/ 14 h 36"/>
                <a:gd name="T18" fmla="*/ 0 w 43"/>
                <a:gd name="T19" fmla="*/ 15 h 36"/>
                <a:gd name="T20" fmla="*/ 26 w 43"/>
                <a:gd name="T21" fmla="*/ 35 h 36"/>
                <a:gd name="T22" fmla="*/ 28 w 43"/>
                <a:gd name="T23" fmla="*/ 36 h 36"/>
                <a:gd name="T24" fmla="*/ 32 w 43"/>
                <a:gd name="T25" fmla="*/ 36 h 36"/>
                <a:gd name="T26" fmla="*/ 39 w 43"/>
                <a:gd name="T2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" h="36">
                  <a:moveTo>
                    <a:pt x="39" y="28"/>
                  </a:moveTo>
                  <a:cubicBezTo>
                    <a:pt x="42" y="22"/>
                    <a:pt x="42" y="22"/>
                    <a:pt x="42" y="22"/>
                  </a:cubicBezTo>
                  <a:cubicBezTo>
                    <a:pt x="43" y="19"/>
                    <a:pt x="43" y="14"/>
                    <a:pt x="42" y="11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9" y="4"/>
                    <a:pt x="33" y="0"/>
                    <a:pt x="2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6"/>
                    <a:pt x="27" y="36"/>
                    <a:pt x="28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5" y="34"/>
                    <a:pt x="38" y="31"/>
                    <a:pt x="39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38">
              <a:extLst>
                <a:ext uri="{FF2B5EF4-FFF2-40B4-BE49-F238E27FC236}">
                  <a16:creationId xmlns:a16="http://schemas.microsoft.com/office/drawing/2014/main" id="{F3BF1395-11D4-416A-95D5-D0BB0FD0A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5" y="3662363"/>
              <a:ext cx="409575" cy="396875"/>
            </a:xfrm>
            <a:custGeom>
              <a:avLst/>
              <a:gdLst>
                <a:gd name="T0" fmla="*/ 70 w 137"/>
                <a:gd name="T1" fmla="*/ 9 h 133"/>
                <a:gd name="T2" fmla="*/ 64 w 137"/>
                <a:gd name="T3" fmla="*/ 5 h 133"/>
                <a:gd name="T4" fmla="*/ 51 w 137"/>
                <a:gd name="T5" fmla="*/ 2 h 133"/>
                <a:gd name="T6" fmla="*/ 44 w 137"/>
                <a:gd name="T7" fmla="*/ 6 h 133"/>
                <a:gd name="T8" fmla="*/ 36 w 137"/>
                <a:gd name="T9" fmla="*/ 10 h 133"/>
                <a:gd name="T10" fmla="*/ 15 w 137"/>
                <a:gd name="T11" fmla="*/ 13 h 133"/>
                <a:gd name="T12" fmla="*/ 7 w 137"/>
                <a:gd name="T13" fmla="*/ 21 h 133"/>
                <a:gd name="T14" fmla="*/ 0 w 137"/>
                <a:gd name="T15" fmla="*/ 21 h 133"/>
                <a:gd name="T16" fmla="*/ 4 w 137"/>
                <a:gd name="T17" fmla="*/ 41 h 133"/>
                <a:gd name="T18" fmla="*/ 7 w 137"/>
                <a:gd name="T19" fmla="*/ 51 h 133"/>
                <a:gd name="T20" fmla="*/ 26 w 137"/>
                <a:gd name="T21" fmla="*/ 43 h 133"/>
                <a:gd name="T22" fmla="*/ 40 w 137"/>
                <a:gd name="T23" fmla="*/ 55 h 133"/>
                <a:gd name="T24" fmla="*/ 50 w 137"/>
                <a:gd name="T25" fmla="*/ 68 h 133"/>
                <a:gd name="T26" fmla="*/ 64 w 137"/>
                <a:gd name="T27" fmla="*/ 79 h 133"/>
                <a:gd name="T28" fmla="*/ 81 w 137"/>
                <a:gd name="T29" fmla="*/ 87 h 133"/>
                <a:gd name="T30" fmla="*/ 94 w 137"/>
                <a:gd name="T31" fmla="*/ 99 h 133"/>
                <a:gd name="T32" fmla="*/ 108 w 137"/>
                <a:gd name="T33" fmla="*/ 111 h 133"/>
                <a:gd name="T34" fmla="*/ 109 w 137"/>
                <a:gd name="T35" fmla="*/ 114 h 133"/>
                <a:gd name="T36" fmla="*/ 108 w 137"/>
                <a:gd name="T37" fmla="*/ 133 h 133"/>
                <a:gd name="T38" fmla="*/ 117 w 137"/>
                <a:gd name="T39" fmla="*/ 123 h 133"/>
                <a:gd name="T40" fmla="*/ 121 w 137"/>
                <a:gd name="T41" fmla="*/ 115 h 133"/>
                <a:gd name="T42" fmla="*/ 116 w 137"/>
                <a:gd name="T43" fmla="*/ 105 h 133"/>
                <a:gd name="T44" fmla="*/ 120 w 137"/>
                <a:gd name="T45" fmla="*/ 100 h 133"/>
                <a:gd name="T46" fmla="*/ 130 w 137"/>
                <a:gd name="T47" fmla="*/ 106 h 133"/>
                <a:gd name="T48" fmla="*/ 137 w 137"/>
                <a:gd name="T49" fmla="*/ 106 h 133"/>
                <a:gd name="T50" fmla="*/ 133 w 137"/>
                <a:gd name="T51" fmla="*/ 97 h 133"/>
                <a:gd name="T52" fmla="*/ 117 w 137"/>
                <a:gd name="T53" fmla="*/ 88 h 133"/>
                <a:gd name="T54" fmla="*/ 109 w 137"/>
                <a:gd name="T55" fmla="*/ 84 h 133"/>
                <a:gd name="T56" fmla="*/ 102 w 137"/>
                <a:gd name="T57" fmla="*/ 78 h 133"/>
                <a:gd name="T58" fmla="*/ 91 w 137"/>
                <a:gd name="T59" fmla="*/ 74 h 133"/>
                <a:gd name="T60" fmla="*/ 82 w 137"/>
                <a:gd name="T61" fmla="*/ 56 h 133"/>
                <a:gd name="T62" fmla="*/ 63 w 137"/>
                <a:gd name="T63" fmla="*/ 41 h 133"/>
                <a:gd name="T64" fmla="*/ 68 w 137"/>
                <a:gd name="T65" fmla="*/ 22 h 133"/>
                <a:gd name="T66" fmla="*/ 76 w 137"/>
                <a:gd name="T67" fmla="*/ 22 h 133"/>
                <a:gd name="T68" fmla="*/ 76 w 137"/>
                <a:gd name="T69" fmla="*/ 2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" h="133">
                  <a:moveTo>
                    <a:pt x="76" y="20"/>
                  </a:moveTo>
                  <a:cubicBezTo>
                    <a:pt x="78" y="15"/>
                    <a:pt x="75" y="10"/>
                    <a:pt x="70" y="9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5" y="7"/>
                    <a:pt x="64" y="6"/>
                    <a:pt x="64" y="5"/>
                  </a:cubicBezTo>
                  <a:cubicBezTo>
                    <a:pt x="63" y="3"/>
                    <a:pt x="61" y="2"/>
                    <a:pt x="59" y="2"/>
                  </a:cubicBezTo>
                  <a:cubicBezTo>
                    <a:pt x="59" y="2"/>
                    <a:pt x="52" y="0"/>
                    <a:pt x="51" y="2"/>
                  </a:cubicBezTo>
                  <a:cubicBezTo>
                    <a:pt x="50" y="3"/>
                    <a:pt x="50" y="6"/>
                    <a:pt x="50" y="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2" y="6"/>
                    <a:pt x="39" y="7"/>
                    <a:pt x="38" y="8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4" y="12"/>
                    <a:pt x="32" y="13"/>
                    <a:pt x="29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3" y="13"/>
                    <a:pt x="11" y="15"/>
                    <a:pt x="11" y="17"/>
                  </a:cubicBezTo>
                  <a:cubicBezTo>
                    <a:pt x="11" y="19"/>
                    <a:pt x="9" y="21"/>
                    <a:pt x="7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0" y="21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0"/>
                    <a:pt x="2" y="41"/>
                    <a:pt x="4" y="41"/>
                  </a:cubicBezTo>
                  <a:cubicBezTo>
                    <a:pt x="5" y="41"/>
                    <a:pt x="7" y="42"/>
                    <a:pt x="7" y="44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7" y="44"/>
                    <a:pt x="22" y="42"/>
                    <a:pt x="26" y="43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35" y="46"/>
                    <a:pt x="39" y="50"/>
                    <a:pt x="40" y="55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3" y="62"/>
                    <a:pt x="46" y="66"/>
                    <a:pt x="50" y="68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7" y="83"/>
                    <a:pt x="72" y="86"/>
                    <a:pt x="77" y="87"/>
                  </a:cubicBezTo>
                  <a:cubicBezTo>
                    <a:pt x="79" y="87"/>
                    <a:pt x="81" y="87"/>
                    <a:pt x="81" y="87"/>
                  </a:cubicBezTo>
                  <a:cubicBezTo>
                    <a:pt x="82" y="87"/>
                    <a:pt x="85" y="92"/>
                    <a:pt x="88" y="95"/>
                  </a:cubicBezTo>
                  <a:cubicBezTo>
                    <a:pt x="89" y="97"/>
                    <a:pt x="92" y="98"/>
                    <a:pt x="94" y="99"/>
                  </a:cubicBezTo>
                  <a:cubicBezTo>
                    <a:pt x="97" y="100"/>
                    <a:pt x="97" y="100"/>
                    <a:pt x="97" y="100"/>
                  </a:cubicBezTo>
                  <a:cubicBezTo>
                    <a:pt x="102" y="102"/>
                    <a:pt x="106" y="106"/>
                    <a:pt x="108" y="111"/>
                  </a:cubicBezTo>
                  <a:cubicBezTo>
                    <a:pt x="108" y="111"/>
                    <a:pt x="108" y="111"/>
                    <a:pt x="108" y="111"/>
                  </a:cubicBezTo>
                  <a:cubicBezTo>
                    <a:pt x="109" y="112"/>
                    <a:pt x="109" y="113"/>
                    <a:pt x="109" y="114"/>
                  </a:cubicBezTo>
                  <a:cubicBezTo>
                    <a:pt x="109" y="114"/>
                    <a:pt x="105" y="127"/>
                    <a:pt x="106" y="131"/>
                  </a:cubicBezTo>
                  <a:cubicBezTo>
                    <a:pt x="106" y="132"/>
                    <a:pt x="107" y="133"/>
                    <a:pt x="108" y="133"/>
                  </a:cubicBezTo>
                  <a:cubicBezTo>
                    <a:pt x="111" y="133"/>
                    <a:pt x="116" y="124"/>
                    <a:pt x="116" y="124"/>
                  </a:cubicBezTo>
                  <a:cubicBezTo>
                    <a:pt x="116" y="124"/>
                    <a:pt x="117" y="124"/>
                    <a:pt x="117" y="123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22" y="120"/>
                    <a:pt x="122" y="117"/>
                    <a:pt x="121" y="115"/>
                  </a:cubicBezTo>
                  <a:cubicBezTo>
                    <a:pt x="117" y="110"/>
                    <a:pt x="117" y="110"/>
                    <a:pt x="117" y="110"/>
                  </a:cubicBezTo>
                  <a:cubicBezTo>
                    <a:pt x="116" y="109"/>
                    <a:pt x="116" y="107"/>
                    <a:pt x="116" y="105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17" y="102"/>
                    <a:pt x="119" y="100"/>
                    <a:pt x="120" y="100"/>
                  </a:cubicBezTo>
                  <a:cubicBezTo>
                    <a:pt x="122" y="100"/>
                    <a:pt x="124" y="100"/>
                    <a:pt x="125" y="101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31" y="107"/>
                    <a:pt x="133" y="108"/>
                    <a:pt x="135" y="107"/>
                  </a:cubicBezTo>
                  <a:cubicBezTo>
                    <a:pt x="137" y="106"/>
                    <a:pt x="137" y="106"/>
                    <a:pt x="137" y="106"/>
                  </a:cubicBezTo>
                  <a:cubicBezTo>
                    <a:pt x="135" y="100"/>
                    <a:pt x="135" y="100"/>
                    <a:pt x="135" y="100"/>
                  </a:cubicBezTo>
                  <a:cubicBezTo>
                    <a:pt x="135" y="98"/>
                    <a:pt x="134" y="97"/>
                    <a:pt x="133" y="97"/>
                  </a:cubicBezTo>
                  <a:cubicBezTo>
                    <a:pt x="118" y="88"/>
                    <a:pt x="118" y="88"/>
                    <a:pt x="118" y="8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14" y="88"/>
                    <a:pt x="112" y="87"/>
                    <a:pt x="110" y="85"/>
                  </a:cubicBezTo>
                  <a:cubicBezTo>
                    <a:pt x="109" y="84"/>
                    <a:pt x="109" y="84"/>
                    <a:pt x="109" y="84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09" y="79"/>
                    <a:pt x="105" y="78"/>
                    <a:pt x="102" y="78"/>
                  </a:cubicBezTo>
                  <a:cubicBezTo>
                    <a:pt x="102" y="78"/>
                    <a:pt x="102" y="78"/>
                    <a:pt x="102" y="78"/>
                  </a:cubicBezTo>
                  <a:cubicBezTo>
                    <a:pt x="98" y="78"/>
                    <a:pt x="94" y="77"/>
                    <a:pt x="91" y="74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5" y="45"/>
                    <a:pt x="64" y="43"/>
                    <a:pt x="63" y="41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0" y="29"/>
                    <a:pt x="63" y="23"/>
                    <a:pt x="68" y="2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6" y="22"/>
                    <a:pt x="76" y="22"/>
                  </a:cubicBezTo>
                  <a:lnTo>
                    <a:pt x="76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39">
              <a:extLst>
                <a:ext uri="{FF2B5EF4-FFF2-40B4-BE49-F238E27FC236}">
                  <a16:creationId xmlns:a16="http://schemas.microsoft.com/office/drawing/2014/main" id="{FAEC585D-88F0-4313-B1A0-5B6D5FBF5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3489326"/>
              <a:ext cx="466725" cy="384175"/>
            </a:xfrm>
            <a:custGeom>
              <a:avLst/>
              <a:gdLst>
                <a:gd name="T0" fmla="*/ 147 w 156"/>
                <a:gd name="T1" fmla="*/ 99 h 129"/>
                <a:gd name="T2" fmla="*/ 143 w 156"/>
                <a:gd name="T3" fmla="*/ 96 h 129"/>
                <a:gd name="T4" fmla="*/ 143 w 156"/>
                <a:gd name="T5" fmla="*/ 73 h 129"/>
                <a:gd name="T6" fmla="*/ 140 w 156"/>
                <a:gd name="T7" fmla="*/ 70 h 129"/>
                <a:gd name="T8" fmla="*/ 139 w 156"/>
                <a:gd name="T9" fmla="*/ 70 h 129"/>
                <a:gd name="T10" fmla="*/ 136 w 156"/>
                <a:gd name="T11" fmla="*/ 65 h 129"/>
                <a:gd name="T12" fmla="*/ 155 w 156"/>
                <a:gd name="T13" fmla="*/ 35 h 129"/>
                <a:gd name="T14" fmla="*/ 156 w 156"/>
                <a:gd name="T15" fmla="*/ 33 h 129"/>
                <a:gd name="T16" fmla="*/ 156 w 156"/>
                <a:gd name="T17" fmla="*/ 30 h 129"/>
                <a:gd name="T18" fmla="*/ 152 w 156"/>
                <a:gd name="T19" fmla="*/ 27 h 129"/>
                <a:gd name="T20" fmla="*/ 143 w 156"/>
                <a:gd name="T21" fmla="*/ 27 h 129"/>
                <a:gd name="T22" fmla="*/ 140 w 156"/>
                <a:gd name="T23" fmla="*/ 26 h 129"/>
                <a:gd name="T24" fmla="*/ 136 w 156"/>
                <a:gd name="T25" fmla="*/ 22 h 129"/>
                <a:gd name="T26" fmla="*/ 134 w 156"/>
                <a:gd name="T27" fmla="*/ 21 h 129"/>
                <a:gd name="T28" fmla="*/ 120 w 156"/>
                <a:gd name="T29" fmla="*/ 21 h 129"/>
                <a:gd name="T30" fmla="*/ 118 w 156"/>
                <a:gd name="T31" fmla="*/ 20 h 129"/>
                <a:gd name="T32" fmla="*/ 92 w 156"/>
                <a:gd name="T33" fmla="*/ 0 h 129"/>
                <a:gd name="T34" fmla="*/ 83 w 156"/>
                <a:gd name="T35" fmla="*/ 4 h 129"/>
                <a:gd name="T36" fmla="*/ 82 w 156"/>
                <a:gd name="T37" fmla="*/ 13 h 129"/>
                <a:gd name="T38" fmla="*/ 61 w 156"/>
                <a:gd name="T39" fmla="*/ 25 h 129"/>
                <a:gd name="T40" fmla="*/ 57 w 156"/>
                <a:gd name="T41" fmla="*/ 26 h 129"/>
                <a:gd name="T42" fmla="*/ 44 w 156"/>
                <a:gd name="T43" fmla="*/ 21 h 129"/>
                <a:gd name="T44" fmla="*/ 39 w 156"/>
                <a:gd name="T45" fmla="*/ 22 h 129"/>
                <a:gd name="T46" fmla="*/ 42 w 156"/>
                <a:gd name="T47" fmla="*/ 28 h 129"/>
                <a:gd name="T48" fmla="*/ 40 w 156"/>
                <a:gd name="T49" fmla="*/ 34 h 129"/>
                <a:gd name="T50" fmla="*/ 35 w 156"/>
                <a:gd name="T51" fmla="*/ 36 h 129"/>
                <a:gd name="T52" fmla="*/ 33 w 156"/>
                <a:gd name="T53" fmla="*/ 37 h 129"/>
                <a:gd name="T54" fmla="*/ 33 w 156"/>
                <a:gd name="T55" fmla="*/ 37 h 129"/>
                <a:gd name="T56" fmla="*/ 26 w 156"/>
                <a:gd name="T57" fmla="*/ 38 h 129"/>
                <a:gd name="T58" fmla="*/ 26 w 156"/>
                <a:gd name="T59" fmla="*/ 37 h 129"/>
                <a:gd name="T60" fmla="*/ 23 w 156"/>
                <a:gd name="T61" fmla="*/ 36 h 129"/>
                <a:gd name="T62" fmla="*/ 6 w 156"/>
                <a:gd name="T63" fmla="*/ 36 h 129"/>
                <a:gd name="T64" fmla="*/ 3 w 156"/>
                <a:gd name="T65" fmla="*/ 37 h 129"/>
                <a:gd name="T66" fmla="*/ 1 w 156"/>
                <a:gd name="T67" fmla="*/ 39 h 129"/>
                <a:gd name="T68" fmla="*/ 1 w 156"/>
                <a:gd name="T69" fmla="*/ 44 h 129"/>
                <a:gd name="T70" fmla="*/ 3 w 156"/>
                <a:gd name="T71" fmla="*/ 48 h 129"/>
                <a:gd name="T72" fmla="*/ 6 w 156"/>
                <a:gd name="T73" fmla="*/ 50 h 129"/>
                <a:gd name="T74" fmla="*/ 22 w 156"/>
                <a:gd name="T75" fmla="*/ 50 h 129"/>
                <a:gd name="T76" fmla="*/ 25 w 156"/>
                <a:gd name="T77" fmla="*/ 51 h 129"/>
                <a:gd name="T78" fmla="*/ 41 w 156"/>
                <a:gd name="T79" fmla="*/ 71 h 129"/>
                <a:gd name="T80" fmla="*/ 41 w 156"/>
                <a:gd name="T81" fmla="*/ 71 h 129"/>
                <a:gd name="T82" fmla="*/ 47 w 156"/>
                <a:gd name="T83" fmla="*/ 80 h 129"/>
                <a:gd name="T84" fmla="*/ 45 w 156"/>
                <a:gd name="T85" fmla="*/ 86 h 129"/>
                <a:gd name="T86" fmla="*/ 42 w 156"/>
                <a:gd name="T87" fmla="*/ 90 h 129"/>
                <a:gd name="T88" fmla="*/ 42 w 156"/>
                <a:gd name="T89" fmla="*/ 110 h 129"/>
                <a:gd name="T90" fmla="*/ 39 w 156"/>
                <a:gd name="T91" fmla="*/ 114 h 129"/>
                <a:gd name="T92" fmla="*/ 64 w 156"/>
                <a:gd name="T93" fmla="*/ 123 h 129"/>
                <a:gd name="T94" fmla="*/ 71 w 156"/>
                <a:gd name="T95" fmla="*/ 122 h 129"/>
                <a:gd name="T96" fmla="*/ 78 w 156"/>
                <a:gd name="T97" fmla="*/ 120 h 129"/>
                <a:gd name="T98" fmla="*/ 99 w 156"/>
                <a:gd name="T99" fmla="*/ 129 h 129"/>
                <a:gd name="T100" fmla="*/ 100 w 156"/>
                <a:gd name="T101" fmla="*/ 128 h 129"/>
                <a:gd name="T102" fmla="*/ 99 w 156"/>
                <a:gd name="T103" fmla="*/ 124 h 129"/>
                <a:gd name="T104" fmla="*/ 103 w 156"/>
                <a:gd name="T105" fmla="*/ 115 h 129"/>
                <a:gd name="T106" fmla="*/ 104 w 156"/>
                <a:gd name="T107" fmla="*/ 114 h 129"/>
                <a:gd name="T108" fmla="*/ 109 w 156"/>
                <a:gd name="T109" fmla="*/ 113 h 129"/>
                <a:gd name="T110" fmla="*/ 128 w 156"/>
                <a:gd name="T111" fmla="*/ 117 h 129"/>
                <a:gd name="T112" fmla="*/ 128 w 156"/>
                <a:gd name="T113" fmla="*/ 117 h 129"/>
                <a:gd name="T114" fmla="*/ 133 w 156"/>
                <a:gd name="T115" fmla="*/ 118 h 129"/>
                <a:gd name="T116" fmla="*/ 139 w 156"/>
                <a:gd name="T117" fmla="*/ 116 h 129"/>
                <a:gd name="T118" fmla="*/ 145 w 156"/>
                <a:gd name="T119" fmla="*/ 110 h 129"/>
                <a:gd name="T120" fmla="*/ 150 w 156"/>
                <a:gd name="T121" fmla="*/ 109 h 129"/>
                <a:gd name="T122" fmla="*/ 150 w 156"/>
                <a:gd name="T123" fmla="*/ 102 h 129"/>
                <a:gd name="T124" fmla="*/ 147 w 156"/>
                <a:gd name="T125" fmla="*/ 9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6" h="129">
                  <a:moveTo>
                    <a:pt x="147" y="99"/>
                  </a:moveTo>
                  <a:cubicBezTo>
                    <a:pt x="145" y="99"/>
                    <a:pt x="143" y="98"/>
                    <a:pt x="143" y="96"/>
                  </a:cubicBezTo>
                  <a:cubicBezTo>
                    <a:pt x="143" y="73"/>
                    <a:pt x="143" y="73"/>
                    <a:pt x="143" y="73"/>
                  </a:cubicBezTo>
                  <a:cubicBezTo>
                    <a:pt x="143" y="72"/>
                    <a:pt x="142" y="70"/>
                    <a:pt x="140" y="7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6" y="70"/>
                    <a:pt x="135" y="67"/>
                    <a:pt x="136" y="65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5" y="34"/>
                    <a:pt x="156" y="34"/>
                    <a:pt x="156" y="33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28"/>
                    <a:pt x="154" y="27"/>
                    <a:pt x="152" y="27"/>
                  </a:cubicBezTo>
                  <a:cubicBezTo>
                    <a:pt x="143" y="27"/>
                    <a:pt x="143" y="27"/>
                    <a:pt x="143" y="27"/>
                  </a:cubicBezTo>
                  <a:cubicBezTo>
                    <a:pt x="142" y="27"/>
                    <a:pt x="141" y="27"/>
                    <a:pt x="140" y="26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5" y="21"/>
                    <a:pt x="135" y="21"/>
                    <a:pt x="134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19" y="21"/>
                    <a:pt x="118" y="21"/>
                    <a:pt x="118" y="2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0" y="26"/>
                    <a:pt x="58" y="26"/>
                    <a:pt x="57" y="26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3" y="31"/>
                    <a:pt x="42" y="34"/>
                    <a:pt x="40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4" y="36"/>
                    <a:pt x="34" y="36"/>
                    <a:pt x="33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1" y="40"/>
                    <a:pt x="28" y="40"/>
                    <a:pt x="26" y="38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5" y="36"/>
                    <a:pt x="24" y="36"/>
                    <a:pt x="23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5" y="36"/>
                    <a:pt x="4" y="36"/>
                    <a:pt x="3" y="37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41"/>
                    <a:pt x="0" y="43"/>
                    <a:pt x="1" y="44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4" y="49"/>
                    <a:pt x="5" y="50"/>
                    <a:pt x="6" y="50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3" y="50"/>
                    <a:pt x="24" y="50"/>
                    <a:pt x="25" y="5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8" y="82"/>
                    <a:pt x="47" y="85"/>
                    <a:pt x="45" y="86"/>
                  </a:cubicBezTo>
                  <a:cubicBezTo>
                    <a:pt x="43" y="86"/>
                    <a:pt x="42" y="88"/>
                    <a:pt x="42" y="90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2"/>
                    <a:pt x="40" y="113"/>
                    <a:pt x="39" y="114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6" y="124"/>
                    <a:pt x="69" y="124"/>
                    <a:pt x="71" y="122"/>
                  </a:cubicBezTo>
                  <a:cubicBezTo>
                    <a:pt x="72" y="120"/>
                    <a:pt x="75" y="119"/>
                    <a:pt x="78" y="120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0" y="126"/>
                    <a:pt x="100" y="125"/>
                    <a:pt x="99" y="124"/>
                  </a:cubicBezTo>
                  <a:cubicBezTo>
                    <a:pt x="98" y="120"/>
                    <a:pt x="100" y="116"/>
                    <a:pt x="103" y="115"/>
                  </a:cubicBezTo>
                  <a:cubicBezTo>
                    <a:pt x="104" y="114"/>
                    <a:pt x="104" y="114"/>
                    <a:pt x="104" y="114"/>
                  </a:cubicBezTo>
                  <a:cubicBezTo>
                    <a:pt x="106" y="113"/>
                    <a:pt x="107" y="113"/>
                    <a:pt x="109" y="113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35" y="118"/>
                    <a:pt x="137" y="117"/>
                    <a:pt x="139" y="116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50" y="109"/>
                    <a:pt x="150" y="109"/>
                    <a:pt x="150" y="109"/>
                  </a:cubicBezTo>
                  <a:cubicBezTo>
                    <a:pt x="150" y="102"/>
                    <a:pt x="150" y="102"/>
                    <a:pt x="150" y="102"/>
                  </a:cubicBezTo>
                  <a:cubicBezTo>
                    <a:pt x="150" y="100"/>
                    <a:pt x="148" y="99"/>
                    <a:pt x="147" y="9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40">
              <a:extLst>
                <a:ext uri="{FF2B5EF4-FFF2-40B4-BE49-F238E27FC236}">
                  <a16:creationId xmlns:a16="http://schemas.microsoft.com/office/drawing/2014/main" id="{4B7D7891-ECDE-4CFC-B4BA-8A8BD467B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5775" y="3892551"/>
              <a:ext cx="117475" cy="193675"/>
            </a:xfrm>
            <a:custGeom>
              <a:avLst/>
              <a:gdLst>
                <a:gd name="T0" fmla="*/ 27 w 39"/>
                <a:gd name="T1" fmla="*/ 44 h 65"/>
                <a:gd name="T2" fmla="*/ 25 w 39"/>
                <a:gd name="T3" fmla="*/ 41 h 65"/>
                <a:gd name="T4" fmla="*/ 27 w 39"/>
                <a:gd name="T5" fmla="*/ 39 h 65"/>
                <a:gd name="T6" fmla="*/ 28 w 39"/>
                <a:gd name="T7" fmla="*/ 36 h 65"/>
                <a:gd name="T8" fmla="*/ 31 w 39"/>
                <a:gd name="T9" fmla="*/ 17 h 65"/>
                <a:gd name="T10" fmla="*/ 34 w 39"/>
                <a:gd name="T11" fmla="*/ 12 h 65"/>
                <a:gd name="T12" fmla="*/ 35 w 39"/>
                <a:gd name="T13" fmla="*/ 12 h 65"/>
                <a:gd name="T14" fmla="*/ 37 w 39"/>
                <a:gd name="T15" fmla="*/ 10 h 65"/>
                <a:gd name="T16" fmla="*/ 38 w 39"/>
                <a:gd name="T17" fmla="*/ 9 h 65"/>
                <a:gd name="T18" fmla="*/ 37 w 39"/>
                <a:gd name="T19" fmla="*/ 2 h 65"/>
                <a:gd name="T20" fmla="*/ 32 w 39"/>
                <a:gd name="T21" fmla="*/ 0 h 65"/>
                <a:gd name="T22" fmla="*/ 16 w 39"/>
                <a:gd name="T23" fmla="*/ 3 h 65"/>
                <a:gd name="T24" fmla="*/ 9 w 39"/>
                <a:gd name="T25" fmla="*/ 1 h 65"/>
                <a:gd name="T26" fmla="*/ 9 w 39"/>
                <a:gd name="T27" fmla="*/ 2 h 65"/>
                <a:gd name="T28" fmla="*/ 9 w 39"/>
                <a:gd name="T29" fmla="*/ 22 h 65"/>
                <a:gd name="T30" fmla="*/ 8 w 39"/>
                <a:gd name="T31" fmla="*/ 24 h 65"/>
                <a:gd name="T32" fmla="*/ 4 w 39"/>
                <a:gd name="T33" fmla="*/ 32 h 65"/>
                <a:gd name="T34" fmla="*/ 4 w 39"/>
                <a:gd name="T35" fmla="*/ 32 h 65"/>
                <a:gd name="T36" fmla="*/ 1 w 39"/>
                <a:gd name="T37" fmla="*/ 37 h 65"/>
                <a:gd name="T38" fmla="*/ 2 w 39"/>
                <a:gd name="T39" fmla="*/ 43 h 65"/>
                <a:gd name="T40" fmla="*/ 4 w 39"/>
                <a:gd name="T41" fmla="*/ 46 h 65"/>
                <a:gd name="T42" fmla="*/ 5 w 39"/>
                <a:gd name="T43" fmla="*/ 49 h 65"/>
                <a:gd name="T44" fmla="*/ 6 w 39"/>
                <a:gd name="T45" fmla="*/ 60 h 65"/>
                <a:gd name="T46" fmla="*/ 11 w 39"/>
                <a:gd name="T47" fmla="*/ 65 h 65"/>
                <a:gd name="T48" fmla="*/ 14 w 39"/>
                <a:gd name="T49" fmla="*/ 65 h 65"/>
                <a:gd name="T50" fmla="*/ 15 w 39"/>
                <a:gd name="T51" fmla="*/ 65 h 65"/>
                <a:gd name="T52" fmla="*/ 26 w 39"/>
                <a:gd name="T53" fmla="*/ 65 h 65"/>
                <a:gd name="T54" fmla="*/ 26 w 39"/>
                <a:gd name="T55" fmla="*/ 65 h 65"/>
                <a:gd name="T56" fmla="*/ 28 w 39"/>
                <a:gd name="T57" fmla="*/ 47 h 65"/>
                <a:gd name="T58" fmla="*/ 27 w 39"/>
                <a:gd name="T59" fmla="*/ 4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9" h="65">
                  <a:moveTo>
                    <a:pt x="27" y="44"/>
                  </a:moveTo>
                  <a:cubicBezTo>
                    <a:pt x="25" y="41"/>
                    <a:pt x="25" y="41"/>
                    <a:pt x="25" y="41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8" y="38"/>
                    <a:pt x="28" y="37"/>
                    <a:pt x="28" y="36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5"/>
                    <a:pt x="32" y="13"/>
                    <a:pt x="34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6" y="12"/>
                    <a:pt x="36" y="11"/>
                    <a:pt x="37" y="10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9" y="7"/>
                    <a:pt x="39" y="4"/>
                    <a:pt x="37" y="2"/>
                  </a:cubicBezTo>
                  <a:cubicBezTo>
                    <a:pt x="36" y="1"/>
                    <a:pt x="34" y="0"/>
                    <a:pt x="32" y="0"/>
                  </a:cubicBezTo>
                  <a:cubicBezTo>
                    <a:pt x="26" y="1"/>
                    <a:pt x="17" y="3"/>
                    <a:pt x="16" y="3"/>
                  </a:cubicBezTo>
                  <a:cubicBezTo>
                    <a:pt x="15" y="3"/>
                    <a:pt x="12" y="2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3"/>
                    <a:pt x="8" y="24"/>
                    <a:pt x="8" y="24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0" y="38"/>
                    <a:pt x="0" y="41"/>
                    <a:pt x="2" y="43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8"/>
                    <a:pt x="5" y="49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2"/>
                    <a:pt x="8" y="64"/>
                    <a:pt x="11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5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5"/>
                    <a:pt x="27" y="4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41">
              <a:extLst>
                <a:ext uri="{FF2B5EF4-FFF2-40B4-BE49-F238E27FC236}">
                  <a16:creationId xmlns:a16="http://schemas.microsoft.com/office/drawing/2014/main" id="{C9904DDE-C530-4C7C-BB0B-F798D8AAA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1263" y="3267076"/>
              <a:ext cx="41275" cy="47625"/>
            </a:xfrm>
            <a:custGeom>
              <a:avLst/>
              <a:gdLst>
                <a:gd name="T0" fmla="*/ 2 w 14"/>
                <a:gd name="T1" fmla="*/ 10 h 16"/>
                <a:gd name="T2" fmla="*/ 6 w 14"/>
                <a:gd name="T3" fmla="*/ 14 h 16"/>
                <a:gd name="T4" fmla="*/ 11 w 14"/>
                <a:gd name="T5" fmla="*/ 15 h 16"/>
                <a:gd name="T6" fmla="*/ 11 w 14"/>
                <a:gd name="T7" fmla="*/ 6 h 16"/>
                <a:gd name="T8" fmla="*/ 14 w 14"/>
                <a:gd name="T9" fmla="*/ 5 h 16"/>
                <a:gd name="T10" fmla="*/ 14 w 14"/>
                <a:gd name="T11" fmla="*/ 0 h 16"/>
                <a:gd name="T12" fmla="*/ 11 w 14"/>
                <a:gd name="T13" fmla="*/ 1 h 16"/>
                <a:gd name="T14" fmla="*/ 8 w 14"/>
                <a:gd name="T15" fmla="*/ 2 h 16"/>
                <a:gd name="T16" fmla="*/ 4 w 14"/>
                <a:gd name="T17" fmla="*/ 0 h 16"/>
                <a:gd name="T18" fmla="*/ 0 w 14"/>
                <a:gd name="T19" fmla="*/ 2 h 16"/>
                <a:gd name="T20" fmla="*/ 1 w 14"/>
                <a:gd name="T21" fmla="*/ 6 h 16"/>
                <a:gd name="T22" fmla="*/ 2 w 14"/>
                <a:gd name="T23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6">
                  <a:moveTo>
                    <a:pt x="2" y="10"/>
                  </a:moveTo>
                  <a:cubicBezTo>
                    <a:pt x="3" y="11"/>
                    <a:pt x="5" y="14"/>
                    <a:pt x="6" y="14"/>
                  </a:cubicBezTo>
                  <a:cubicBezTo>
                    <a:pt x="6" y="15"/>
                    <a:pt x="10" y="16"/>
                    <a:pt x="11" y="15"/>
                  </a:cubicBezTo>
                  <a:cubicBezTo>
                    <a:pt x="12" y="13"/>
                    <a:pt x="11" y="6"/>
                    <a:pt x="11" y="6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9"/>
                    <a:pt x="2" y="1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42">
              <a:extLst>
                <a:ext uri="{FF2B5EF4-FFF2-40B4-BE49-F238E27FC236}">
                  <a16:creationId xmlns:a16="http://schemas.microsoft.com/office/drawing/2014/main" id="{90C69B6E-231F-4C1F-BE2B-06AFDD75A9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5" y="3279776"/>
              <a:ext cx="26988" cy="26988"/>
            </a:xfrm>
            <a:custGeom>
              <a:avLst/>
              <a:gdLst>
                <a:gd name="T0" fmla="*/ 6 w 9"/>
                <a:gd name="T1" fmla="*/ 9 h 9"/>
                <a:gd name="T2" fmla="*/ 9 w 9"/>
                <a:gd name="T3" fmla="*/ 4 h 9"/>
                <a:gd name="T4" fmla="*/ 5 w 9"/>
                <a:gd name="T5" fmla="*/ 0 h 9"/>
                <a:gd name="T6" fmla="*/ 1 w 9"/>
                <a:gd name="T7" fmla="*/ 2 h 9"/>
                <a:gd name="T8" fmla="*/ 1 w 9"/>
                <a:gd name="T9" fmla="*/ 2 h 9"/>
                <a:gd name="T10" fmla="*/ 1 w 9"/>
                <a:gd name="T11" fmla="*/ 6 h 9"/>
                <a:gd name="T12" fmla="*/ 1 w 9"/>
                <a:gd name="T13" fmla="*/ 7 h 9"/>
                <a:gd name="T14" fmla="*/ 4 w 9"/>
                <a:gd name="T15" fmla="*/ 9 h 9"/>
                <a:gd name="T16" fmla="*/ 6 w 9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6" y="9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8" y="2"/>
                    <a:pt x="7" y="1"/>
                    <a:pt x="5" y="0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5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8"/>
                    <a:pt x="3" y="9"/>
                    <a:pt x="4" y="9"/>
                  </a:cubicBezTo>
                  <a:lnTo>
                    <a:pt x="6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43">
              <a:extLst>
                <a:ext uri="{FF2B5EF4-FFF2-40B4-BE49-F238E27FC236}">
                  <a16:creationId xmlns:a16="http://schemas.microsoft.com/office/drawing/2014/main" id="{A0DCBCD3-0131-4279-8CA9-EA700C5C8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1188" y="3108326"/>
              <a:ext cx="269875" cy="431800"/>
            </a:xfrm>
            <a:custGeom>
              <a:avLst/>
              <a:gdLst>
                <a:gd name="T0" fmla="*/ 84 w 90"/>
                <a:gd name="T1" fmla="*/ 98 h 144"/>
                <a:gd name="T2" fmla="*/ 78 w 90"/>
                <a:gd name="T3" fmla="*/ 99 h 144"/>
                <a:gd name="T4" fmla="*/ 72 w 90"/>
                <a:gd name="T5" fmla="*/ 95 h 144"/>
                <a:gd name="T6" fmla="*/ 67 w 90"/>
                <a:gd name="T7" fmla="*/ 80 h 144"/>
                <a:gd name="T8" fmla="*/ 53 w 90"/>
                <a:gd name="T9" fmla="*/ 66 h 144"/>
                <a:gd name="T10" fmla="*/ 50 w 90"/>
                <a:gd name="T11" fmla="*/ 55 h 144"/>
                <a:gd name="T12" fmla="*/ 41 w 90"/>
                <a:gd name="T13" fmla="*/ 50 h 144"/>
                <a:gd name="T14" fmla="*/ 28 w 90"/>
                <a:gd name="T15" fmla="*/ 50 h 144"/>
                <a:gd name="T16" fmla="*/ 31 w 90"/>
                <a:gd name="T17" fmla="*/ 42 h 144"/>
                <a:gd name="T18" fmla="*/ 43 w 90"/>
                <a:gd name="T19" fmla="*/ 29 h 144"/>
                <a:gd name="T20" fmla="*/ 28 w 90"/>
                <a:gd name="T21" fmla="*/ 20 h 144"/>
                <a:gd name="T22" fmla="*/ 30 w 90"/>
                <a:gd name="T23" fmla="*/ 6 h 144"/>
                <a:gd name="T24" fmla="*/ 15 w 90"/>
                <a:gd name="T25" fmla="*/ 0 h 144"/>
                <a:gd name="T26" fmla="*/ 9 w 90"/>
                <a:gd name="T27" fmla="*/ 12 h 144"/>
                <a:gd name="T28" fmla="*/ 4 w 90"/>
                <a:gd name="T29" fmla="*/ 15 h 144"/>
                <a:gd name="T30" fmla="*/ 0 w 90"/>
                <a:gd name="T31" fmla="*/ 27 h 144"/>
                <a:gd name="T32" fmla="*/ 5 w 90"/>
                <a:gd name="T33" fmla="*/ 34 h 144"/>
                <a:gd name="T34" fmla="*/ 5 w 90"/>
                <a:gd name="T35" fmla="*/ 38 h 144"/>
                <a:gd name="T36" fmla="*/ 6 w 90"/>
                <a:gd name="T37" fmla="*/ 47 h 144"/>
                <a:gd name="T38" fmla="*/ 12 w 90"/>
                <a:gd name="T39" fmla="*/ 49 h 144"/>
                <a:gd name="T40" fmla="*/ 13 w 90"/>
                <a:gd name="T41" fmla="*/ 58 h 144"/>
                <a:gd name="T42" fmla="*/ 12 w 90"/>
                <a:gd name="T43" fmla="*/ 64 h 144"/>
                <a:gd name="T44" fmla="*/ 18 w 90"/>
                <a:gd name="T45" fmla="*/ 68 h 144"/>
                <a:gd name="T46" fmla="*/ 25 w 90"/>
                <a:gd name="T47" fmla="*/ 67 h 144"/>
                <a:gd name="T48" fmla="*/ 32 w 90"/>
                <a:gd name="T49" fmla="*/ 66 h 144"/>
                <a:gd name="T50" fmla="*/ 31 w 90"/>
                <a:gd name="T51" fmla="*/ 72 h 144"/>
                <a:gd name="T52" fmla="*/ 36 w 90"/>
                <a:gd name="T53" fmla="*/ 80 h 144"/>
                <a:gd name="T54" fmla="*/ 34 w 90"/>
                <a:gd name="T55" fmla="*/ 85 h 144"/>
                <a:gd name="T56" fmla="*/ 30 w 90"/>
                <a:gd name="T57" fmla="*/ 90 h 144"/>
                <a:gd name="T58" fmla="*/ 18 w 90"/>
                <a:gd name="T59" fmla="*/ 93 h 144"/>
                <a:gd name="T60" fmla="*/ 21 w 90"/>
                <a:gd name="T61" fmla="*/ 96 h 144"/>
                <a:gd name="T62" fmla="*/ 23 w 90"/>
                <a:gd name="T63" fmla="*/ 102 h 144"/>
                <a:gd name="T64" fmla="*/ 13 w 90"/>
                <a:gd name="T65" fmla="*/ 108 h 144"/>
                <a:gd name="T66" fmla="*/ 13 w 90"/>
                <a:gd name="T67" fmla="*/ 117 h 144"/>
                <a:gd name="T68" fmla="*/ 21 w 90"/>
                <a:gd name="T69" fmla="*/ 116 h 144"/>
                <a:gd name="T70" fmla="*/ 25 w 90"/>
                <a:gd name="T71" fmla="*/ 118 h 144"/>
                <a:gd name="T72" fmla="*/ 38 w 90"/>
                <a:gd name="T73" fmla="*/ 118 h 144"/>
                <a:gd name="T74" fmla="*/ 44 w 90"/>
                <a:gd name="T75" fmla="*/ 116 h 144"/>
                <a:gd name="T76" fmla="*/ 38 w 90"/>
                <a:gd name="T77" fmla="*/ 121 h 144"/>
                <a:gd name="T78" fmla="*/ 26 w 90"/>
                <a:gd name="T79" fmla="*/ 123 h 144"/>
                <a:gd name="T80" fmla="*/ 6 w 90"/>
                <a:gd name="T81" fmla="*/ 139 h 144"/>
                <a:gd name="T82" fmla="*/ 16 w 90"/>
                <a:gd name="T83" fmla="*/ 138 h 144"/>
                <a:gd name="T84" fmla="*/ 23 w 90"/>
                <a:gd name="T85" fmla="*/ 138 h 144"/>
                <a:gd name="T86" fmla="*/ 28 w 90"/>
                <a:gd name="T87" fmla="*/ 132 h 144"/>
                <a:gd name="T88" fmla="*/ 73 w 90"/>
                <a:gd name="T89" fmla="*/ 131 h 144"/>
                <a:gd name="T90" fmla="*/ 82 w 90"/>
                <a:gd name="T91" fmla="*/ 123 h 144"/>
                <a:gd name="T92" fmla="*/ 86 w 90"/>
                <a:gd name="T93" fmla="*/ 113 h 144"/>
                <a:gd name="T94" fmla="*/ 90 w 90"/>
                <a:gd name="T95" fmla="*/ 104 h 144"/>
                <a:gd name="T96" fmla="*/ 87 w 90"/>
                <a:gd name="T97" fmla="*/ 9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0" h="144">
                  <a:moveTo>
                    <a:pt x="87" y="99"/>
                  </a:moveTo>
                  <a:cubicBezTo>
                    <a:pt x="87" y="98"/>
                    <a:pt x="86" y="97"/>
                    <a:pt x="84" y="98"/>
                  </a:cubicBezTo>
                  <a:cubicBezTo>
                    <a:pt x="79" y="99"/>
                    <a:pt x="79" y="99"/>
                    <a:pt x="79" y="99"/>
                  </a:cubicBezTo>
                  <a:cubicBezTo>
                    <a:pt x="79" y="99"/>
                    <a:pt x="79" y="99"/>
                    <a:pt x="78" y="99"/>
                  </a:cubicBezTo>
                  <a:cubicBezTo>
                    <a:pt x="74" y="98"/>
                    <a:pt x="74" y="98"/>
                    <a:pt x="74" y="98"/>
                  </a:cubicBezTo>
                  <a:cubicBezTo>
                    <a:pt x="73" y="97"/>
                    <a:pt x="72" y="96"/>
                    <a:pt x="72" y="95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7" y="81"/>
                    <a:pt x="67" y="80"/>
                    <a:pt x="67" y="80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4" y="68"/>
                    <a:pt x="53" y="67"/>
                    <a:pt x="53" y="66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6"/>
                    <a:pt x="50" y="55"/>
                    <a:pt x="50" y="55"/>
                  </a:cubicBezTo>
                  <a:cubicBezTo>
                    <a:pt x="43" y="51"/>
                    <a:pt x="43" y="51"/>
                    <a:pt x="43" y="51"/>
                  </a:cubicBezTo>
                  <a:cubicBezTo>
                    <a:pt x="42" y="50"/>
                    <a:pt x="41" y="50"/>
                    <a:pt x="41" y="50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3"/>
                    <a:pt x="30" y="42"/>
                    <a:pt x="31" y="42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0"/>
                    <a:pt x="43" y="30"/>
                    <a:pt x="43" y="29"/>
                  </a:cubicBezTo>
                  <a:cubicBezTo>
                    <a:pt x="44" y="25"/>
                    <a:pt x="40" y="20"/>
                    <a:pt x="36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6" y="20"/>
                    <a:pt x="24" y="17"/>
                    <a:pt x="25" y="15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1" y="4"/>
                    <a:pt x="30" y="1"/>
                    <a:pt x="27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0"/>
                    <a:pt x="11" y="1"/>
                    <a:pt x="11" y="3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4"/>
                    <a:pt x="7" y="15"/>
                    <a:pt x="6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2" y="15"/>
                    <a:pt x="1" y="16"/>
                    <a:pt x="1" y="1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0" y="29"/>
                    <a:pt x="1" y="30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6" y="35"/>
                    <a:pt x="6" y="37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1" y="40"/>
                    <a:pt x="1" y="44"/>
                    <a:pt x="3" y="47"/>
                  </a:cubicBezTo>
                  <a:cubicBezTo>
                    <a:pt x="4" y="48"/>
                    <a:pt x="5" y="48"/>
                    <a:pt x="6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0" y="46"/>
                    <a:pt x="12" y="47"/>
                    <a:pt x="12" y="49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6"/>
                    <a:pt x="14" y="57"/>
                    <a:pt x="13" y="58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1" y="60"/>
                    <a:pt x="11" y="62"/>
                    <a:pt x="12" y="64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8"/>
                    <a:pt x="17" y="68"/>
                    <a:pt x="18" y="68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3" y="69"/>
                    <a:pt x="24" y="68"/>
                    <a:pt x="25" y="67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9" y="69"/>
                    <a:pt x="29" y="71"/>
                    <a:pt x="31" y="72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8"/>
                    <a:pt x="36" y="80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4"/>
                    <a:pt x="34" y="84"/>
                    <a:pt x="34" y="85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8"/>
                    <a:pt x="32" y="90"/>
                    <a:pt x="30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19" y="90"/>
                    <a:pt x="18" y="91"/>
                    <a:pt x="18" y="93"/>
                  </a:cubicBezTo>
                  <a:cubicBezTo>
                    <a:pt x="18" y="95"/>
                    <a:pt x="19" y="96"/>
                    <a:pt x="20" y="96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23" y="97"/>
                    <a:pt x="25" y="99"/>
                    <a:pt x="24" y="101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103"/>
                    <a:pt x="23" y="103"/>
                    <a:pt x="22" y="104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9" y="109"/>
                    <a:pt x="8" y="114"/>
                    <a:pt x="11" y="117"/>
                  </a:cubicBezTo>
                  <a:cubicBezTo>
                    <a:pt x="11" y="117"/>
                    <a:pt x="12" y="117"/>
                    <a:pt x="13" y="117"/>
                  </a:cubicBezTo>
                  <a:cubicBezTo>
                    <a:pt x="18" y="115"/>
                    <a:pt x="18" y="115"/>
                    <a:pt x="18" y="115"/>
                  </a:cubicBezTo>
                  <a:cubicBezTo>
                    <a:pt x="19" y="115"/>
                    <a:pt x="21" y="115"/>
                    <a:pt x="21" y="116"/>
                  </a:cubicBezTo>
                  <a:cubicBezTo>
                    <a:pt x="23" y="117"/>
                    <a:pt x="23" y="117"/>
                    <a:pt x="23" y="117"/>
                  </a:cubicBezTo>
                  <a:cubicBezTo>
                    <a:pt x="24" y="118"/>
                    <a:pt x="25" y="118"/>
                    <a:pt x="25" y="118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6" y="119"/>
                    <a:pt x="37" y="118"/>
                    <a:pt x="38" y="118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6"/>
                    <a:pt x="44" y="116"/>
                    <a:pt x="44" y="116"/>
                  </a:cubicBezTo>
                  <a:cubicBezTo>
                    <a:pt x="44" y="117"/>
                    <a:pt x="43" y="118"/>
                    <a:pt x="42" y="119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2"/>
                    <a:pt x="37" y="122"/>
                    <a:pt x="37" y="122"/>
                  </a:cubicBezTo>
                  <a:cubicBezTo>
                    <a:pt x="26" y="123"/>
                    <a:pt x="26" y="123"/>
                    <a:pt x="26" y="123"/>
                  </a:cubicBezTo>
                  <a:cubicBezTo>
                    <a:pt x="25" y="123"/>
                    <a:pt x="25" y="123"/>
                    <a:pt x="24" y="123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7" y="143"/>
                    <a:pt x="12" y="144"/>
                    <a:pt x="14" y="140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7" y="138"/>
                    <a:pt x="17" y="138"/>
                    <a:pt x="18" y="138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5" y="139"/>
                    <a:pt x="27" y="137"/>
                    <a:pt x="27" y="135"/>
                  </a:cubicBezTo>
                  <a:cubicBezTo>
                    <a:pt x="27" y="133"/>
                    <a:pt x="27" y="132"/>
                    <a:pt x="28" y="132"/>
                  </a:cubicBezTo>
                  <a:cubicBezTo>
                    <a:pt x="30" y="132"/>
                    <a:pt x="67" y="131"/>
                    <a:pt x="72" y="131"/>
                  </a:cubicBezTo>
                  <a:cubicBezTo>
                    <a:pt x="72" y="131"/>
                    <a:pt x="73" y="131"/>
                    <a:pt x="73" y="131"/>
                  </a:cubicBezTo>
                  <a:cubicBezTo>
                    <a:pt x="75" y="130"/>
                    <a:pt x="81" y="128"/>
                    <a:pt x="82" y="127"/>
                  </a:cubicBezTo>
                  <a:cubicBezTo>
                    <a:pt x="83" y="127"/>
                    <a:pt x="82" y="123"/>
                    <a:pt x="82" y="123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86" y="113"/>
                    <a:pt x="86" y="113"/>
                    <a:pt x="86" y="113"/>
                  </a:cubicBezTo>
                  <a:cubicBezTo>
                    <a:pt x="86" y="113"/>
                    <a:pt x="87" y="112"/>
                    <a:pt x="87" y="111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0" y="103"/>
                    <a:pt x="90" y="101"/>
                    <a:pt x="89" y="100"/>
                  </a:cubicBezTo>
                  <a:lnTo>
                    <a:pt x="87" y="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44">
              <a:extLst>
                <a:ext uri="{FF2B5EF4-FFF2-40B4-BE49-F238E27FC236}">
                  <a16:creationId xmlns:a16="http://schemas.microsoft.com/office/drawing/2014/main" id="{B5DA9DCC-0B2E-4044-9C0D-717DCD334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138" y="3324226"/>
              <a:ext cx="144463" cy="141288"/>
            </a:xfrm>
            <a:custGeom>
              <a:avLst/>
              <a:gdLst>
                <a:gd name="T0" fmla="*/ 39 w 48"/>
                <a:gd name="T1" fmla="*/ 3 h 47"/>
                <a:gd name="T2" fmla="*/ 34 w 48"/>
                <a:gd name="T3" fmla="*/ 2 h 47"/>
                <a:gd name="T4" fmla="*/ 34 w 48"/>
                <a:gd name="T5" fmla="*/ 2 h 47"/>
                <a:gd name="T6" fmla="*/ 27 w 48"/>
                <a:gd name="T7" fmla="*/ 1 h 47"/>
                <a:gd name="T8" fmla="*/ 27 w 48"/>
                <a:gd name="T9" fmla="*/ 0 h 47"/>
                <a:gd name="T10" fmla="*/ 25 w 48"/>
                <a:gd name="T11" fmla="*/ 2 h 47"/>
                <a:gd name="T12" fmla="*/ 14 w 48"/>
                <a:gd name="T13" fmla="*/ 5 h 47"/>
                <a:gd name="T14" fmla="*/ 10 w 48"/>
                <a:gd name="T15" fmla="*/ 4 h 47"/>
                <a:gd name="T16" fmla="*/ 4 w 48"/>
                <a:gd name="T17" fmla="*/ 6 h 47"/>
                <a:gd name="T18" fmla="*/ 1 w 48"/>
                <a:gd name="T19" fmla="*/ 11 h 47"/>
                <a:gd name="T20" fmla="*/ 1 w 48"/>
                <a:gd name="T21" fmla="*/ 15 h 47"/>
                <a:gd name="T22" fmla="*/ 2 w 48"/>
                <a:gd name="T23" fmla="*/ 16 h 47"/>
                <a:gd name="T24" fmla="*/ 7 w 48"/>
                <a:gd name="T25" fmla="*/ 17 h 47"/>
                <a:gd name="T26" fmla="*/ 10 w 48"/>
                <a:gd name="T27" fmla="*/ 16 h 47"/>
                <a:gd name="T28" fmla="*/ 12 w 48"/>
                <a:gd name="T29" fmla="*/ 22 h 47"/>
                <a:gd name="T30" fmla="*/ 9 w 48"/>
                <a:gd name="T31" fmla="*/ 23 h 47"/>
                <a:gd name="T32" fmla="*/ 7 w 48"/>
                <a:gd name="T33" fmla="*/ 25 h 47"/>
                <a:gd name="T34" fmla="*/ 1 w 48"/>
                <a:gd name="T35" fmla="*/ 35 h 47"/>
                <a:gd name="T36" fmla="*/ 1 w 48"/>
                <a:gd name="T37" fmla="*/ 39 h 47"/>
                <a:gd name="T38" fmla="*/ 5 w 48"/>
                <a:gd name="T39" fmla="*/ 44 h 47"/>
                <a:gd name="T40" fmla="*/ 8 w 48"/>
                <a:gd name="T41" fmla="*/ 46 h 47"/>
                <a:gd name="T42" fmla="*/ 12 w 48"/>
                <a:gd name="T43" fmla="*/ 47 h 47"/>
                <a:gd name="T44" fmla="*/ 15 w 48"/>
                <a:gd name="T45" fmla="*/ 46 h 47"/>
                <a:gd name="T46" fmla="*/ 26 w 48"/>
                <a:gd name="T47" fmla="*/ 39 h 47"/>
                <a:gd name="T48" fmla="*/ 27 w 48"/>
                <a:gd name="T49" fmla="*/ 39 h 47"/>
                <a:gd name="T50" fmla="*/ 43 w 48"/>
                <a:gd name="T51" fmla="*/ 35 h 47"/>
                <a:gd name="T52" fmla="*/ 47 w 48"/>
                <a:gd name="T53" fmla="*/ 31 h 47"/>
                <a:gd name="T54" fmla="*/ 48 w 48"/>
                <a:gd name="T55" fmla="*/ 19 h 47"/>
                <a:gd name="T56" fmla="*/ 47 w 48"/>
                <a:gd name="T57" fmla="*/ 16 h 47"/>
                <a:gd name="T58" fmla="*/ 44 w 48"/>
                <a:gd name="T59" fmla="*/ 13 h 47"/>
                <a:gd name="T60" fmla="*/ 44 w 48"/>
                <a:gd name="T61" fmla="*/ 8 h 47"/>
                <a:gd name="T62" fmla="*/ 39 w 48"/>
                <a:gd name="T63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7">
                  <a:moveTo>
                    <a:pt x="39" y="3"/>
                  </a:moveTo>
                  <a:cubicBezTo>
                    <a:pt x="38" y="2"/>
                    <a:pt x="36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1" y="3"/>
                    <a:pt x="29" y="2"/>
                    <a:pt x="27" y="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6" y="1"/>
                    <a:pt x="26" y="1"/>
                    <a:pt x="25" y="2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2" y="5"/>
                    <a:pt x="11" y="5"/>
                    <a:pt x="10" y="4"/>
                  </a:cubicBezTo>
                  <a:cubicBezTo>
                    <a:pt x="8" y="3"/>
                    <a:pt x="5" y="3"/>
                    <a:pt x="4" y="6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2"/>
                    <a:pt x="0" y="14"/>
                    <a:pt x="1" y="1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8"/>
                    <a:pt x="5" y="18"/>
                    <a:pt x="7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4"/>
                    <a:pt x="7" y="24"/>
                    <a:pt x="7" y="2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6"/>
                    <a:pt x="1" y="38"/>
                    <a:pt x="1" y="39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5"/>
                    <a:pt x="6" y="46"/>
                    <a:pt x="8" y="46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3" y="47"/>
                    <a:pt x="14" y="47"/>
                    <a:pt x="15" y="46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5" y="35"/>
                    <a:pt x="47" y="33"/>
                    <a:pt x="47" y="31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8" y="18"/>
                    <a:pt x="48" y="17"/>
                    <a:pt x="47" y="16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3" y="11"/>
                    <a:pt x="43" y="10"/>
                    <a:pt x="44" y="8"/>
                  </a:cubicBezTo>
                  <a:lnTo>
                    <a:pt x="39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45">
              <a:extLst>
                <a:ext uri="{FF2B5EF4-FFF2-40B4-BE49-F238E27FC236}">
                  <a16:creationId xmlns:a16="http://schemas.microsoft.com/office/drawing/2014/main" id="{35470D3A-103E-4D6B-A39E-B4C128C4B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6100" y="3287713"/>
              <a:ext cx="77788" cy="60325"/>
            </a:xfrm>
            <a:custGeom>
              <a:avLst/>
              <a:gdLst>
                <a:gd name="T0" fmla="*/ 7 w 26"/>
                <a:gd name="T1" fmla="*/ 14 h 20"/>
                <a:gd name="T2" fmla="*/ 7 w 26"/>
                <a:gd name="T3" fmla="*/ 14 h 20"/>
                <a:gd name="T4" fmla="*/ 12 w 26"/>
                <a:gd name="T5" fmla="*/ 15 h 20"/>
                <a:gd name="T6" fmla="*/ 17 w 26"/>
                <a:gd name="T7" fmla="*/ 20 h 20"/>
                <a:gd name="T8" fmla="*/ 20 w 26"/>
                <a:gd name="T9" fmla="*/ 18 h 20"/>
                <a:gd name="T10" fmla="*/ 21 w 26"/>
                <a:gd name="T11" fmla="*/ 18 h 20"/>
                <a:gd name="T12" fmla="*/ 25 w 26"/>
                <a:gd name="T13" fmla="*/ 15 h 20"/>
                <a:gd name="T14" fmla="*/ 26 w 26"/>
                <a:gd name="T15" fmla="*/ 12 h 20"/>
                <a:gd name="T16" fmla="*/ 25 w 26"/>
                <a:gd name="T17" fmla="*/ 8 h 20"/>
                <a:gd name="T18" fmla="*/ 19 w 26"/>
                <a:gd name="T19" fmla="*/ 2 h 20"/>
                <a:gd name="T20" fmla="*/ 16 w 26"/>
                <a:gd name="T21" fmla="*/ 1 h 20"/>
                <a:gd name="T22" fmla="*/ 10 w 26"/>
                <a:gd name="T23" fmla="*/ 0 h 20"/>
                <a:gd name="T24" fmla="*/ 6 w 26"/>
                <a:gd name="T25" fmla="*/ 2 h 20"/>
                <a:gd name="T26" fmla="*/ 0 w 26"/>
                <a:gd name="T27" fmla="*/ 12 h 20"/>
                <a:gd name="T28" fmla="*/ 0 w 26"/>
                <a:gd name="T29" fmla="*/ 12 h 20"/>
                <a:gd name="T30" fmla="*/ 0 w 26"/>
                <a:gd name="T31" fmla="*/ 13 h 20"/>
                <a:gd name="T32" fmla="*/ 7 w 26"/>
                <a:gd name="T33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20">
                  <a:moveTo>
                    <a:pt x="7" y="14"/>
                  </a:moveTo>
                  <a:cubicBezTo>
                    <a:pt x="7" y="14"/>
                    <a:pt x="7" y="14"/>
                    <a:pt x="7" y="14"/>
                  </a:cubicBezTo>
                  <a:cubicBezTo>
                    <a:pt x="9" y="14"/>
                    <a:pt x="11" y="14"/>
                    <a:pt x="12" y="15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19"/>
                    <a:pt x="18" y="18"/>
                    <a:pt x="20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3" y="18"/>
                    <a:pt x="24" y="17"/>
                    <a:pt x="25" y="15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1"/>
                    <a:pt x="26" y="9"/>
                    <a:pt x="25" y="8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7" y="1"/>
                    <a:pt x="16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6" y="1"/>
                    <a:pt x="6" y="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4"/>
                    <a:pt x="4" y="15"/>
                    <a:pt x="7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46">
              <a:extLst>
                <a:ext uri="{FF2B5EF4-FFF2-40B4-BE49-F238E27FC236}">
                  <a16:creationId xmlns:a16="http://schemas.microsoft.com/office/drawing/2014/main" id="{695E2C7D-FC50-488A-A079-25C89CB19F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3663" y="3713163"/>
              <a:ext cx="128588" cy="128588"/>
            </a:xfrm>
            <a:custGeom>
              <a:avLst/>
              <a:gdLst>
                <a:gd name="T0" fmla="*/ 43 w 43"/>
                <a:gd name="T1" fmla="*/ 25 h 43"/>
                <a:gd name="T2" fmla="*/ 33 w 43"/>
                <a:gd name="T3" fmla="*/ 43 h 43"/>
                <a:gd name="T4" fmla="*/ 33 w 43"/>
                <a:gd name="T5" fmla="*/ 43 h 43"/>
                <a:gd name="T6" fmla="*/ 4 w 43"/>
                <a:gd name="T7" fmla="*/ 19 h 43"/>
                <a:gd name="T8" fmla="*/ 7 w 43"/>
                <a:gd name="T9" fmla="*/ 14 h 43"/>
                <a:gd name="T10" fmla="*/ 0 w 43"/>
                <a:gd name="T11" fmla="*/ 9 h 43"/>
                <a:gd name="T12" fmla="*/ 2 w 43"/>
                <a:gd name="T13" fmla="*/ 4 h 43"/>
                <a:gd name="T14" fmla="*/ 7 w 43"/>
                <a:gd name="T15" fmla="*/ 4 h 43"/>
                <a:gd name="T16" fmla="*/ 11 w 43"/>
                <a:gd name="T17" fmla="*/ 0 h 43"/>
                <a:gd name="T18" fmla="*/ 31 w 43"/>
                <a:gd name="T19" fmla="*/ 3 h 43"/>
                <a:gd name="T20" fmla="*/ 40 w 43"/>
                <a:gd name="T21" fmla="*/ 9 h 43"/>
                <a:gd name="T22" fmla="*/ 39 w 43"/>
                <a:gd name="T23" fmla="*/ 10 h 43"/>
                <a:gd name="T24" fmla="*/ 39 w 43"/>
                <a:gd name="T25" fmla="*/ 14 h 43"/>
                <a:gd name="T26" fmla="*/ 43 w 43"/>
                <a:gd name="T27" fmla="*/ 23 h 43"/>
                <a:gd name="T28" fmla="*/ 43 w 43"/>
                <a:gd name="T29" fmla="*/ 2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43">
                  <a:moveTo>
                    <a:pt x="43" y="25"/>
                  </a:move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8" y="11"/>
                    <a:pt x="38" y="13"/>
                    <a:pt x="39" y="14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4"/>
                    <a:pt x="43" y="25"/>
                    <a:pt x="43" y="2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47">
              <a:extLst>
                <a:ext uri="{FF2B5EF4-FFF2-40B4-BE49-F238E27FC236}">
                  <a16:creationId xmlns:a16="http://schemas.microsoft.com/office/drawing/2014/main" id="{B5FE6926-C803-438D-A4CA-4A088C71C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6200" y="2636838"/>
              <a:ext cx="338138" cy="182563"/>
            </a:xfrm>
            <a:custGeom>
              <a:avLst/>
              <a:gdLst>
                <a:gd name="T0" fmla="*/ 101 w 113"/>
                <a:gd name="T1" fmla="*/ 45 h 61"/>
                <a:gd name="T2" fmla="*/ 108 w 113"/>
                <a:gd name="T3" fmla="*/ 37 h 61"/>
                <a:gd name="T4" fmla="*/ 109 w 113"/>
                <a:gd name="T5" fmla="*/ 17 h 61"/>
                <a:gd name="T6" fmla="*/ 101 w 113"/>
                <a:gd name="T7" fmla="*/ 6 h 61"/>
                <a:gd name="T8" fmla="*/ 89 w 113"/>
                <a:gd name="T9" fmla="*/ 0 h 61"/>
                <a:gd name="T10" fmla="*/ 69 w 113"/>
                <a:gd name="T11" fmla="*/ 2 h 61"/>
                <a:gd name="T12" fmla="*/ 61 w 113"/>
                <a:gd name="T13" fmla="*/ 6 h 61"/>
                <a:gd name="T14" fmla="*/ 54 w 113"/>
                <a:gd name="T15" fmla="*/ 11 h 61"/>
                <a:gd name="T16" fmla="*/ 48 w 113"/>
                <a:gd name="T17" fmla="*/ 11 h 61"/>
                <a:gd name="T18" fmla="*/ 41 w 113"/>
                <a:gd name="T19" fmla="*/ 10 h 61"/>
                <a:gd name="T20" fmla="*/ 35 w 113"/>
                <a:gd name="T21" fmla="*/ 15 h 61"/>
                <a:gd name="T22" fmla="*/ 28 w 113"/>
                <a:gd name="T23" fmla="*/ 15 h 61"/>
                <a:gd name="T24" fmla="*/ 24 w 113"/>
                <a:gd name="T25" fmla="*/ 10 h 61"/>
                <a:gd name="T26" fmla="*/ 5 w 113"/>
                <a:gd name="T27" fmla="*/ 11 h 61"/>
                <a:gd name="T28" fmla="*/ 3 w 113"/>
                <a:gd name="T29" fmla="*/ 13 h 61"/>
                <a:gd name="T30" fmla="*/ 3 w 113"/>
                <a:gd name="T31" fmla="*/ 25 h 61"/>
                <a:gd name="T32" fmla="*/ 11 w 113"/>
                <a:gd name="T33" fmla="*/ 38 h 61"/>
                <a:gd name="T34" fmla="*/ 20 w 113"/>
                <a:gd name="T35" fmla="*/ 42 h 61"/>
                <a:gd name="T36" fmla="*/ 22 w 113"/>
                <a:gd name="T37" fmla="*/ 42 h 61"/>
                <a:gd name="T38" fmla="*/ 40 w 113"/>
                <a:gd name="T39" fmla="*/ 55 h 61"/>
                <a:gd name="T40" fmla="*/ 58 w 113"/>
                <a:gd name="T41" fmla="*/ 61 h 61"/>
                <a:gd name="T42" fmla="*/ 64 w 113"/>
                <a:gd name="T43" fmla="*/ 61 h 61"/>
                <a:gd name="T44" fmla="*/ 66 w 113"/>
                <a:gd name="T45" fmla="*/ 61 h 61"/>
                <a:gd name="T46" fmla="*/ 99 w 113"/>
                <a:gd name="T47" fmla="*/ 46 h 61"/>
                <a:gd name="T48" fmla="*/ 101 w 113"/>
                <a:gd name="T49" fmla="*/ 4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3" h="61">
                  <a:moveTo>
                    <a:pt x="101" y="45"/>
                  </a:moveTo>
                  <a:cubicBezTo>
                    <a:pt x="108" y="37"/>
                    <a:pt x="108" y="37"/>
                    <a:pt x="108" y="37"/>
                  </a:cubicBezTo>
                  <a:cubicBezTo>
                    <a:pt x="113" y="31"/>
                    <a:pt x="113" y="23"/>
                    <a:pt x="109" y="17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98" y="2"/>
                    <a:pt x="93" y="0"/>
                    <a:pt x="89" y="0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6" y="3"/>
                    <a:pt x="63" y="4"/>
                    <a:pt x="61" y="6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2" y="13"/>
                    <a:pt x="49" y="13"/>
                    <a:pt x="48" y="11"/>
                  </a:cubicBezTo>
                  <a:cubicBezTo>
                    <a:pt x="46" y="9"/>
                    <a:pt x="43" y="8"/>
                    <a:pt x="41" y="10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3" y="17"/>
                    <a:pt x="30" y="17"/>
                    <a:pt x="28" y="15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18" y="4"/>
                    <a:pt x="9" y="4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17"/>
                    <a:pt x="0" y="21"/>
                    <a:pt x="3" y="25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3" y="41"/>
                    <a:pt x="17" y="42"/>
                    <a:pt x="20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2" y="43"/>
                    <a:pt x="33" y="50"/>
                    <a:pt x="40" y="55"/>
                  </a:cubicBezTo>
                  <a:cubicBezTo>
                    <a:pt x="45" y="59"/>
                    <a:pt x="52" y="61"/>
                    <a:pt x="58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1"/>
                    <a:pt x="66" y="61"/>
                    <a:pt x="66" y="61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100" y="46"/>
                    <a:pt x="100" y="45"/>
                    <a:pt x="101" y="4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48">
              <a:extLst>
                <a:ext uri="{FF2B5EF4-FFF2-40B4-BE49-F238E27FC236}">
                  <a16:creationId xmlns:a16="http://schemas.microsoft.com/office/drawing/2014/main" id="{1607B452-D3D1-4256-894C-428E97513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1475" y="4157663"/>
              <a:ext cx="117475" cy="36513"/>
            </a:xfrm>
            <a:custGeom>
              <a:avLst/>
              <a:gdLst>
                <a:gd name="T0" fmla="*/ 38 w 39"/>
                <a:gd name="T1" fmla="*/ 6 h 12"/>
                <a:gd name="T2" fmla="*/ 38 w 39"/>
                <a:gd name="T3" fmla="*/ 6 h 12"/>
                <a:gd name="T4" fmla="*/ 34 w 39"/>
                <a:gd name="T5" fmla="*/ 3 h 12"/>
                <a:gd name="T6" fmla="*/ 22 w 39"/>
                <a:gd name="T7" fmla="*/ 1 h 12"/>
                <a:gd name="T8" fmla="*/ 21 w 39"/>
                <a:gd name="T9" fmla="*/ 1 h 12"/>
                <a:gd name="T10" fmla="*/ 11 w 39"/>
                <a:gd name="T11" fmla="*/ 0 h 12"/>
                <a:gd name="T12" fmla="*/ 0 w 39"/>
                <a:gd name="T13" fmla="*/ 6 h 12"/>
                <a:gd name="T14" fmla="*/ 17 w 39"/>
                <a:gd name="T15" fmla="*/ 6 h 12"/>
                <a:gd name="T16" fmla="*/ 17 w 39"/>
                <a:gd name="T17" fmla="*/ 8 h 12"/>
                <a:gd name="T18" fmla="*/ 22 w 39"/>
                <a:gd name="T19" fmla="*/ 7 h 12"/>
                <a:gd name="T20" fmla="*/ 25 w 39"/>
                <a:gd name="T21" fmla="*/ 7 h 12"/>
                <a:gd name="T22" fmla="*/ 34 w 39"/>
                <a:gd name="T23" fmla="*/ 11 h 12"/>
                <a:gd name="T24" fmla="*/ 38 w 39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12">
                  <a:moveTo>
                    <a:pt x="38" y="6"/>
                  </a:moveTo>
                  <a:cubicBezTo>
                    <a:pt x="38" y="6"/>
                    <a:pt x="38" y="6"/>
                    <a:pt x="38" y="6"/>
                  </a:cubicBezTo>
                  <a:cubicBezTo>
                    <a:pt x="37" y="4"/>
                    <a:pt x="36" y="3"/>
                    <a:pt x="34" y="3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0" y="0"/>
                    <a:pt x="0" y="6"/>
                  </a:cubicBezTo>
                  <a:cubicBezTo>
                    <a:pt x="0" y="7"/>
                    <a:pt x="17" y="6"/>
                    <a:pt x="17" y="6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3" y="7"/>
                    <a:pt x="24" y="7"/>
                    <a:pt x="25" y="7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6" y="12"/>
                    <a:pt x="39" y="9"/>
                    <a:pt x="38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52">
              <a:extLst>
                <a:ext uri="{FF2B5EF4-FFF2-40B4-BE49-F238E27FC236}">
                  <a16:creationId xmlns:a16="http://schemas.microsoft.com/office/drawing/2014/main" id="{69BA69F0-8B4E-42AA-A664-179968E41D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4170363"/>
              <a:ext cx="76200" cy="50800"/>
            </a:xfrm>
            <a:custGeom>
              <a:avLst/>
              <a:gdLst>
                <a:gd name="T0" fmla="*/ 25 w 25"/>
                <a:gd name="T1" fmla="*/ 1 h 17"/>
                <a:gd name="T2" fmla="*/ 25 w 25"/>
                <a:gd name="T3" fmla="*/ 1 h 17"/>
                <a:gd name="T4" fmla="*/ 25 w 25"/>
                <a:gd name="T5" fmla="*/ 2 h 17"/>
                <a:gd name="T6" fmla="*/ 19 w 25"/>
                <a:gd name="T7" fmla="*/ 7 h 17"/>
                <a:gd name="T8" fmla="*/ 19 w 25"/>
                <a:gd name="T9" fmla="*/ 8 h 17"/>
                <a:gd name="T10" fmla="*/ 18 w 25"/>
                <a:gd name="T11" fmla="*/ 10 h 17"/>
                <a:gd name="T12" fmla="*/ 17 w 25"/>
                <a:gd name="T13" fmla="*/ 10 h 17"/>
                <a:gd name="T14" fmla="*/ 12 w 25"/>
                <a:gd name="T15" fmla="*/ 15 h 17"/>
                <a:gd name="T16" fmla="*/ 12 w 25"/>
                <a:gd name="T17" fmla="*/ 15 h 17"/>
                <a:gd name="T18" fmla="*/ 3 w 25"/>
                <a:gd name="T19" fmla="*/ 17 h 17"/>
                <a:gd name="T20" fmla="*/ 2 w 25"/>
                <a:gd name="T21" fmla="*/ 16 h 17"/>
                <a:gd name="T22" fmla="*/ 0 w 25"/>
                <a:gd name="T23" fmla="*/ 10 h 17"/>
                <a:gd name="T24" fmla="*/ 1 w 25"/>
                <a:gd name="T25" fmla="*/ 8 h 17"/>
                <a:gd name="T26" fmla="*/ 7 w 25"/>
                <a:gd name="T27" fmla="*/ 7 h 17"/>
                <a:gd name="T28" fmla="*/ 8 w 25"/>
                <a:gd name="T29" fmla="*/ 6 h 17"/>
                <a:gd name="T30" fmla="*/ 8 w 25"/>
                <a:gd name="T31" fmla="*/ 4 h 17"/>
                <a:gd name="T32" fmla="*/ 9 w 25"/>
                <a:gd name="T33" fmla="*/ 3 h 17"/>
                <a:gd name="T34" fmla="*/ 14 w 25"/>
                <a:gd name="T35" fmla="*/ 3 h 17"/>
                <a:gd name="T36" fmla="*/ 16 w 25"/>
                <a:gd name="T37" fmla="*/ 2 h 17"/>
                <a:gd name="T38" fmla="*/ 17 w 25"/>
                <a:gd name="T39" fmla="*/ 1 h 17"/>
                <a:gd name="T40" fmla="*/ 24 w 25"/>
                <a:gd name="T41" fmla="*/ 0 h 17"/>
                <a:gd name="T42" fmla="*/ 25 w 25"/>
                <a:gd name="T43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17">
                  <a:moveTo>
                    <a:pt x="25" y="1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5" y="1"/>
                    <a:pt x="25" y="2"/>
                    <a:pt x="25" y="2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8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7" y="1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2" y="16"/>
                    <a:pt x="2" y="1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8" y="7"/>
                    <a:pt x="8" y="6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6" y="3"/>
                    <a:pt x="16" y="2"/>
                  </a:cubicBezTo>
                  <a:cubicBezTo>
                    <a:pt x="16" y="1"/>
                    <a:pt x="16" y="1"/>
                    <a:pt x="17" y="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5" y="0"/>
                    <a:pt x="25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BD3BB9-7494-4054-ABD5-BF4DEDF50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7AEFA-B56B-463F-809E-4A0CAC2C214B}" type="datetime1">
              <a:rPr lang="en-US" sz="1000" smtClean="0">
                <a:solidFill>
                  <a:schemeClr val="tx1"/>
                </a:solidFill>
              </a:rPr>
              <a:t>8/17/2020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4D9497-D6ED-4F5D-9AF8-723FC8208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z="1000" smtClean="0">
                <a:solidFill>
                  <a:schemeClr val="tx1"/>
                </a:solidFill>
              </a:rPr>
              <a:t>2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4" name="Rectangle 70">
            <a:extLst>
              <a:ext uri="{FF2B5EF4-FFF2-40B4-BE49-F238E27FC236}">
                <a16:creationId xmlns:a16="http://schemas.microsoft.com/office/drawing/2014/main" id="{2C7F6899-AA89-4ACF-BBC6-9182A564A0B3}"/>
              </a:ext>
            </a:extLst>
          </p:cNvPr>
          <p:cNvSpPr/>
          <p:nvPr/>
        </p:nvSpPr>
        <p:spPr>
          <a:xfrm>
            <a:off x="2054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70">
            <a:extLst>
              <a:ext uri="{FF2B5EF4-FFF2-40B4-BE49-F238E27FC236}">
                <a16:creationId xmlns:a16="http://schemas.microsoft.com/office/drawing/2014/main" id="{46EBEB8D-01EC-4B1A-B44A-BDF60EEB1BDB}"/>
              </a:ext>
            </a:extLst>
          </p:cNvPr>
          <p:cNvSpPr/>
          <p:nvPr/>
        </p:nvSpPr>
        <p:spPr>
          <a:xfrm rot="10800000">
            <a:off x="114830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70">
            <a:extLst>
              <a:ext uri="{FF2B5EF4-FFF2-40B4-BE49-F238E27FC236}">
                <a16:creationId xmlns:a16="http://schemas.microsoft.com/office/drawing/2014/main" id="{0EFEE770-1BB8-4BC8-92D5-8B8941EDBE25}"/>
              </a:ext>
            </a:extLst>
          </p:cNvPr>
          <p:cNvSpPr/>
          <p:nvPr/>
        </p:nvSpPr>
        <p:spPr>
          <a:xfrm flipV="1">
            <a:off x="2054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70">
            <a:extLst>
              <a:ext uri="{FF2B5EF4-FFF2-40B4-BE49-F238E27FC236}">
                <a16:creationId xmlns:a16="http://schemas.microsoft.com/office/drawing/2014/main" id="{68FA4209-A2EF-480B-BBDC-DE5322790CE7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FE3DD1-8761-4FA2-A00F-4C407ED92CBC}"/>
              </a:ext>
            </a:extLst>
          </p:cNvPr>
          <p:cNvSpPr txBox="1"/>
          <p:nvPr/>
        </p:nvSpPr>
        <p:spPr>
          <a:xfrm>
            <a:off x="708963" y="250833"/>
            <a:ext cx="10774074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/>
              <a:t>EUROPE MAP</a:t>
            </a: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CDF3DA65-8AF6-4E2D-9ED4-901BCD313B9B}"/>
              </a:ext>
            </a:extLst>
          </p:cNvPr>
          <p:cNvSpPr/>
          <p:nvPr/>
        </p:nvSpPr>
        <p:spPr>
          <a:xfrm>
            <a:off x="9259079" y="4724523"/>
            <a:ext cx="1337660" cy="13376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25%</a:t>
            </a: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7EA37723-E961-45F9-8264-0CEB976D0869}"/>
              </a:ext>
            </a:extLst>
          </p:cNvPr>
          <p:cNvSpPr/>
          <p:nvPr/>
        </p:nvSpPr>
        <p:spPr>
          <a:xfrm>
            <a:off x="9996677" y="1496348"/>
            <a:ext cx="1337660" cy="13376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75%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C5E98B01-ED45-476F-984E-981036E1E8AF}"/>
              </a:ext>
            </a:extLst>
          </p:cNvPr>
          <p:cNvSpPr/>
          <p:nvPr/>
        </p:nvSpPr>
        <p:spPr>
          <a:xfrm>
            <a:off x="4598645" y="1230732"/>
            <a:ext cx="1337660" cy="13376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60%</a:t>
            </a:r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B02DC289-05CC-405F-AA51-B255D1EA0BA8}"/>
              </a:ext>
            </a:extLst>
          </p:cNvPr>
          <p:cNvSpPr/>
          <p:nvPr/>
        </p:nvSpPr>
        <p:spPr>
          <a:xfrm>
            <a:off x="3552049" y="2982085"/>
            <a:ext cx="1337660" cy="13376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35%</a:t>
            </a: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41156230-1484-4F9D-BA2C-DB139044AA45}"/>
              </a:ext>
            </a:extLst>
          </p:cNvPr>
          <p:cNvSpPr/>
          <p:nvPr/>
        </p:nvSpPr>
        <p:spPr>
          <a:xfrm>
            <a:off x="4588964" y="4724523"/>
            <a:ext cx="1337660" cy="13376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80%</a:t>
            </a:r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id="{FDA8D3E8-2186-4438-BFDB-AD17FC8E38CC}"/>
              </a:ext>
            </a:extLst>
          </p:cNvPr>
          <p:cNvSpPr/>
          <p:nvPr/>
        </p:nvSpPr>
        <p:spPr>
          <a:xfrm>
            <a:off x="7773868" y="1120959"/>
            <a:ext cx="1337660" cy="13376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50%</a:t>
            </a:r>
          </a:p>
        </p:txBody>
      </p:sp>
      <p:graphicFrame>
        <p:nvGraphicFramePr>
          <p:cNvPr id="145" name="Chart 144">
            <a:extLst>
              <a:ext uri="{FF2B5EF4-FFF2-40B4-BE49-F238E27FC236}">
                <a16:creationId xmlns:a16="http://schemas.microsoft.com/office/drawing/2014/main" id="{EA0B9EBD-4401-433C-AC75-B448AD2C0B9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11012266"/>
              </p:ext>
            </p:extLst>
          </p:nvPr>
        </p:nvGraphicFramePr>
        <p:xfrm>
          <a:off x="9192196" y="4672283"/>
          <a:ext cx="1471427" cy="1442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6" name="Chart 135">
            <a:extLst>
              <a:ext uri="{FF2B5EF4-FFF2-40B4-BE49-F238E27FC236}">
                <a16:creationId xmlns:a16="http://schemas.microsoft.com/office/drawing/2014/main" id="{4171B3C2-1025-4009-9B9C-E1A8B5E48A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14966200"/>
              </p:ext>
            </p:extLst>
          </p:nvPr>
        </p:nvGraphicFramePr>
        <p:xfrm>
          <a:off x="9929794" y="1444108"/>
          <a:ext cx="1471427" cy="1442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5" name="Chart 94">
            <a:extLst>
              <a:ext uri="{FF2B5EF4-FFF2-40B4-BE49-F238E27FC236}">
                <a16:creationId xmlns:a16="http://schemas.microsoft.com/office/drawing/2014/main" id="{B97982F3-FD5B-4AA9-8F7D-FC49B24BEF1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86619583"/>
              </p:ext>
            </p:extLst>
          </p:nvPr>
        </p:nvGraphicFramePr>
        <p:xfrm>
          <a:off x="4531761" y="1175077"/>
          <a:ext cx="1471427" cy="1442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3" name="Chart 122">
            <a:extLst>
              <a:ext uri="{FF2B5EF4-FFF2-40B4-BE49-F238E27FC236}">
                <a16:creationId xmlns:a16="http://schemas.microsoft.com/office/drawing/2014/main" id="{8729F048-5449-4CB0-9EF1-55A85FEA61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9229522"/>
              </p:ext>
            </p:extLst>
          </p:nvPr>
        </p:nvGraphicFramePr>
        <p:xfrm>
          <a:off x="4522081" y="4672283"/>
          <a:ext cx="1471427" cy="1442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4" name="Chart 123">
            <a:extLst>
              <a:ext uri="{FF2B5EF4-FFF2-40B4-BE49-F238E27FC236}">
                <a16:creationId xmlns:a16="http://schemas.microsoft.com/office/drawing/2014/main" id="{5075AD8F-CC94-4EFB-97D3-8B0BA81219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5104452"/>
              </p:ext>
            </p:extLst>
          </p:nvPr>
        </p:nvGraphicFramePr>
        <p:xfrm>
          <a:off x="3485166" y="2929845"/>
          <a:ext cx="1471427" cy="1442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32" name="Chart 131">
            <a:extLst>
              <a:ext uri="{FF2B5EF4-FFF2-40B4-BE49-F238E27FC236}">
                <a16:creationId xmlns:a16="http://schemas.microsoft.com/office/drawing/2014/main" id="{F5F30089-ACFB-4866-A02B-2E333F4D4A0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8881192"/>
              </p:ext>
            </p:extLst>
          </p:nvPr>
        </p:nvGraphicFramePr>
        <p:xfrm>
          <a:off x="7706985" y="1068719"/>
          <a:ext cx="1471427" cy="1442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1" name="Oval 100">
            <a:extLst>
              <a:ext uri="{FF2B5EF4-FFF2-40B4-BE49-F238E27FC236}">
                <a16:creationId xmlns:a16="http://schemas.microsoft.com/office/drawing/2014/main" id="{5809B079-AEB2-40B6-B609-D902C26F09C4}"/>
              </a:ext>
            </a:extLst>
          </p:cNvPr>
          <p:cNvSpPr/>
          <p:nvPr/>
        </p:nvSpPr>
        <p:spPr>
          <a:xfrm>
            <a:off x="6301424" y="3327946"/>
            <a:ext cx="60545" cy="6054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5" name="Connector: Elbow 104">
            <a:extLst>
              <a:ext uri="{FF2B5EF4-FFF2-40B4-BE49-F238E27FC236}">
                <a16:creationId xmlns:a16="http://schemas.microsoft.com/office/drawing/2014/main" id="{BE93FF4A-5CAD-4F39-9C78-47240EFADF14}"/>
              </a:ext>
            </a:extLst>
          </p:cNvPr>
          <p:cNvCxnSpPr>
            <a:stCxn id="99" idx="6"/>
            <a:endCxn id="101" idx="2"/>
          </p:cNvCxnSpPr>
          <p:nvPr/>
        </p:nvCxnSpPr>
        <p:spPr>
          <a:xfrm>
            <a:off x="5936305" y="1899562"/>
            <a:ext cx="365119" cy="1458657"/>
          </a:xfrm>
          <a:prstGeom prst="bentConnector3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Oval 106">
            <a:extLst>
              <a:ext uri="{FF2B5EF4-FFF2-40B4-BE49-F238E27FC236}">
                <a16:creationId xmlns:a16="http://schemas.microsoft.com/office/drawing/2014/main" id="{DE60D79F-10DE-4E4C-938B-B462DA33B1C4}"/>
              </a:ext>
            </a:extLst>
          </p:cNvPr>
          <p:cNvSpPr/>
          <p:nvPr/>
        </p:nvSpPr>
        <p:spPr>
          <a:xfrm>
            <a:off x="5987021" y="3918039"/>
            <a:ext cx="60545" cy="6054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2" name="Connector: Elbow 111">
            <a:extLst>
              <a:ext uri="{FF2B5EF4-FFF2-40B4-BE49-F238E27FC236}">
                <a16:creationId xmlns:a16="http://schemas.microsoft.com/office/drawing/2014/main" id="{618398DE-F831-4AE0-A1BB-96E33637158A}"/>
              </a:ext>
            </a:extLst>
          </p:cNvPr>
          <p:cNvCxnSpPr>
            <a:cxnSpLocks/>
            <a:stCxn id="109" idx="6"/>
            <a:endCxn id="107" idx="2"/>
          </p:cNvCxnSpPr>
          <p:nvPr/>
        </p:nvCxnSpPr>
        <p:spPr>
          <a:xfrm>
            <a:off x="4889709" y="3650915"/>
            <a:ext cx="1097312" cy="297397"/>
          </a:xfrm>
          <a:prstGeom prst="bentConnector3">
            <a:avLst>
              <a:gd name="adj1" fmla="val 50000"/>
            </a:avLst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Oval 116">
            <a:extLst>
              <a:ext uri="{FF2B5EF4-FFF2-40B4-BE49-F238E27FC236}">
                <a16:creationId xmlns:a16="http://schemas.microsoft.com/office/drawing/2014/main" id="{4B9216BB-0192-40F6-803B-9633B470003A}"/>
              </a:ext>
            </a:extLst>
          </p:cNvPr>
          <p:cNvSpPr/>
          <p:nvPr/>
        </p:nvSpPr>
        <p:spPr>
          <a:xfrm>
            <a:off x="7096467" y="4965301"/>
            <a:ext cx="60545" cy="6054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0" name="Connector: Elbow 119">
            <a:extLst>
              <a:ext uri="{FF2B5EF4-FFF2-40B4-BE49-F238E27FC236}">
                <a16:creationId xmlns:a16="http://schemas.microsoft.com/office/drawing/2014/main" id="{D0D6FBDA-A032-4049-BC3C-16515957E912}"/>
              </a:ext>
            </a:extLst>
          </p:cNvPr>
          <p:cNvCxnSpPr>
            <a:cxnSpLocks/>
            <a:stCxn id="119" idx="6"/>
            <a:endCxn id="117" idx="2"/>
          </p:cNvCxnSpPr>
          <p:nvPr/>
        </p:nvCxnSpPr>
        <p:spPr>
          <a:xfrm flipV="1">
            <a:off x="5926624" y="4995574"/>
            <a:ext cx="1169843" cy="397779"/>
          </a:xfrm>
          <a:prstGeom prst="bentConnector3">
            <a:avLst>
              <a:gd name="adj1" fmla="val 50000"/>
            </a:avLst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Oval 127">
            <a:extLst>
              <a:ext uri="{FF2B5EF4-FFF2-40B4-BE49-F238E27FC236}">
                <a16:creationId xmlns:a16="http://schemas.microsoft.com/office/drawing/2014/main" id="{39CDCE49-8034-4A2A-A8E6-1CDC2028E8A9}"/>
              </a:ext>
            </a:extLst>
          </p:cNvPr>
          <p:cNvSpPr/>
          <p:nvPr/>
        </p:nvSpPr>
        <p:spPr>
          <a:xfrm>
            <a:off x="7590374" y="2834008"/>
            <a:ext cx="60545" cy="6054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9" name="Connector: Elbow 128">
            <a:extLst>
              <a:ext uri="{FF2B5EF4-FFF2-40B4-BE49-F238E27FC236}">
                <a16:creationId xmlns:a16="http://schemas.microsoft.com/office/drawing/2014/main" id="{6A1406FF-B45D-4250-ABCF-FA634B99B4FC}"/>
              </a:ext>
            </a:extLst>
          </p:cNvPr>
          <p:cNvCxnSpPr>
            <a:cxnSpLocks/>
            <a:stCxn id="126" idx="4"/>
            <a:endCxn id="128" idx="0"/>
          </p:cNvCxnSpPr>
          <p:nvPr/>
        </p:nvCxnSpPr>
        <p:spPr>
          <a:xfrm rot="5400000">
            <a:off x="7843979" y="2235288"/>
            <a:ext cx="375389" cy="822051"/>
          </a:xfrm>
          <a:prstGeom prst="bentConnector3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Oval 137">
            <a:extLst>
              <a:ext uri="{FF2B5EF4-FFF2-40B4-BE49-F238E27FC236}">
                <a16:creationId xmlns:a16="http://schemas.microsoft.com/office/drawing/2014/main" id="{3EFBFD41-E0E4-4060-945B-7F3F9595182C}"/>
              </a:ext>
            </a:extLst>
          </p:cNvPr>
          <p:cNvSpPr/>
          <p:nvPr/>
        </p:nvSpPr>
        <p:spPr>
          <a:xfrm>
            <a:off x="9085363" y="4079475"/>
            <a:ext cx="60545" cy="6054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9" name="Connector: Elbow 138">
            <a:extLst>
              <a:ext uri="{FF2B5EF4-FFF2-40B4-BE49-F238E27FC236}">
                <a16:creationId xmlns:a16="http://schemas.microsoft.com/office/drawing/2014/main" id="{E953362E-8700-476F-BC7A-13103171CD16}"/>
              </a:ext>
            </a:extLst>
          </p:cNvPr>
          <p:cNvCxnSpPr>
            <a:cxnSpLocks/>
            <a:stCxn id="136" idx="2"/>
            <a:endCxn id="138" idx="6"/>
          </p:cNvCxnSpPr>
          <p:nvPr/>
        </p:nvCxnSpPr>
        <p:spPr>
          <a:xfrm rot="5400000">
            <a:off x="9293959" y="2738199"/>
            <a:ext cx="1223499" cy="1519599"/>
          </a:xfrm>
          <a:prstGeom prst="bentConnector2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Oval 146">
            <a:extLst>
              <a:ext uri="{FF2B5EF4-FFF2-40B4-BE49-F238E27FC236}">
                <a16:creationId xmlns:a16="http://schemas.microsoft.com/office/drawing/2014/main" id="{83886C33-1C30-46E0-8E1C-54CD9FC4614E}"/>
              </a:ext>
            </a:extLst>
          </p:cNvPr>
          <p:cNvSpPr/>
          <p:nvPr/>
        </p:nvSpPr>
        <p:spPr>
          <a:xfrm>
            <a:off x="8888182" y="4898774"/>
            <a:ext cx="60545" cy="6054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8" name="Connector: Elbow 147">
            <a:extLst>
              <a:ext uri="{FF2B5EF4-FFF2-40B4-BE49-F238E27FC236}">
                <a16:creationId xmlns:a16="http://schemas.microsoft.com/office/drawing/2014/main" id="{979AC83A-568C-470E-976F-0225D5017AAA}"/>
              </a:ext>
            </a:extLst>
          </p:cNvPr>
          <p:cNvCxnSpPr>
            <a:cxnSpLocks/>
            <a:stCxn id="147" idx="6"/>
            <a:endCxn id="145" idx="0"/>
          </p:cNvCxnSpPr>
          <p:nvPr/>
        </p:nvCxnSpPr>
        <p:spPr>
          <a:xfrm flipV="1">
            <a:off x="8948727" y="4672283"/>
            <a:ext cx="979182" cy="256764"/>
          </a:xfrm>
          <a:prstGeom prst="bentConnector4">
            <a:avLst>
              <a:gd name="adj1" fmla="val 12432"/>
              <a:gd name="adj2" fmla="val 189031"/>
            </a:avLst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DB0F8BC6-10AB-4197-8EC9-39E1202CFB0D}"/>
              </a:ext>
            </a:extLst>
          </p:cNvPr>
          <p:cNvGrpSpPr/>
          <p:nvPr/>
        </p:nvGrpSpPr>
        <p:grpSpPr>
          <a:xfrm>
            <a:off x="701303" y="1512037"/>
            <a:ext cx="2374730" cy="4217570"/>
            <a:chOff x="9234140" y="1432848"/>
            <a:chExt cx="2374730" cy="4217570"/>
          </a:xfrm>
        </p:grpSpPr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59D47B8E-1A4C-4511-96FA-39F2832D4878}"/>
                </a:ext>
              </a:extLst>
            </p:cNvPr>
            <p:cNvSpPr txBox="1"/>
            <p:nvPr/>
          </p:nvSpPr>
          <p:spPr>
            <a:xfrm>
              <a:off x="9234140" y="2418764"/>
              <a:ext cx="2374730" cy="323165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400" dirty="0"/>
                <a:t>“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Ut pulvinar, </a:t>
              </a:r>
              <a:r>
                <a:rPr lang="en-US" sz="1400" dirty="0" err="1"/>
                <a:t>lectus</a:t>
              </a:r>
              <a:r>
                <a:rPr lang="en-US" sz="1400" dirty="0"/>
                <a:t> </a:t>
              </a:r>
              <a:r>
                <a:rPr lang="en-US" sz="1400" dirty="0" err="1"/>
                <a:t>ut</a:t>
              </a:r>
              <a:r>
                <a:rPr lang="en-US" sz="1400" dirty="0"/>
                <a:t> </a:t>
              </a:r>
              <a:r>
                <a:rPr lang="en-US" sz="1400" dirty="0" err="1"/>
                <a:t>sodales</a:t>
              </a:r>
              <a:r>
                <a:rPr lang="en-US" sz="1400" dirty="0"/>
                <a:t> maximus, </a:t>
              </a:r>
              <a:r>
                <a:rPr lang="en-US" sz="1400" dirty="0" err="1"/>
                <a:t>quam</a:t>
              </a:r>
              <a:r>
                <a:rPr lang="en-US" sz="1400" dirty="0"/>
                <a:t> dolor vestibulum </a:t>
              </a:r>
              <a:r>
                <a:rPr lang="en-US" sz="1400" dirty="0" err="1"/>
                <a:t>justo</a:t>
              </a:r>
              <a:r>
                <a:rPr lang="en-US" sz="1400" dirty="0"/>
                <a:t>, vel </a:t>
              </a:r>
              <a:r>
                <a:rPr lang="en-US" sz="1400" dirty="0" err="1"/>
                <a:t>volutpat</a:t>
              </a:r>
              <a:r>
                <a:rPr lang="en-US" sz="1400" dirty="0"/>
                <a:t> </a:t>
              </a:r>
              <a:r>
                <a:rPr lang="en-US" sz="1400" dirty="0" err="1"/>
                <a:t>enim</a:t>
              </a:r>
              <a:r>
                <a:rPr lang="en-US" sz="1400" dirty="0"/>
                <a:t> lorem vitae </a:t>
              </a:r>
              <a:r>
                <a:rPr lang="en-US" sz="1400" dirty="0" err="1"/>
                <a:t>enim</a:t>
              </a:r>
              <a:r>
                <a:rPr lang="en-US" sz="1400" dirty="0"/>
                <a:t>. Integer </a:t>
              </a:r>
              <a:r>
                <a:rPr lang="en-US" sz="1400" dirty="0" err="1"/>
                <a:t>malesuada</a:t>
              </a:r>
              <a:r>
                <a:rPr lang="en-US" sz="1400" dirty="0"/>
                <a:t> </a:t>
              </a:r>
              <a:r>
                <a:rPr lang="en-US" sz="1400" dirty="0" err="1"/>
                <a:t>posuere</a:t>
              </a:r>
              <a:r>
                <a:rPr lang="en-US" sz="1400" dirty="0"/>
                <a:t> </a:t>
              </a:r>
              <a:r>
                <a:rPr lang="en-US" sz="1400" dirty="0" err="1"/>
                <a:t>commodo</a:t>
              </a:r>
              <a:r>
                <a:rPr lang="en-US" sz="1400" dirty="0"/>
                <a:t>. </a:t>
              </a:r>
              <a:r>
                <a:rPr lang="en-US" sz="1400" dirty="0" err="1"/>
                <a:t>Aenean</a:t>
              </a:r>
              <a:r>
                <a:rPr lang="en-US" sz="1400" dirty="0"/>
                <a:t> </a:t>
              </a:r>
              <a:r>
                <a:rPr lang="en-US" sz="1400" dirty="0" err="1"/>
                <a:t>lobortis</a:t>
              </a:r>
              <a:r>
                <a:rPr lang="en-US" sz="1400" dirty="0"/>
                <a:t> ac </a:t>
              </a:r>
              <a:r>
                <a:rPr lang="en-US" sz="1400" dirty="0" err="1"/>
                <a:t>neque</a:t>
              </a:r>
              <a:r>
                <a:rPr lang="en-US" sz="1400" dirty="0"/>
                <a:t> at </a:t>
              </a:r>
              <a:r>
                <a:rPr lang="en-US" sz="1400" dirty="0" err="1"/>
                <a:t>viverra</a:t>
              </a:r>
              <a:r>
                <a:rPr lang="en-US" sz="1400" dirty="0"/>
                <a:t>. Maecenas </a:t>
              </a:r>
              <a:r>
                <a:rPr lang="en-US" sz="1400" dirty="0" err="1"/>
                <a:t>eget</a:t>
              </a:r>
              <a:r>
                <a:rPr lang="en-US" sz="1400" dirty="0"/>
                <a:t> </a:t>
              </a:r>
              <a:r>
                <a:rPr lang="en-US" sz="1400" dirty="0" err="1"/>
                <a:t>egestas</a:t>
              </a:r>
              <a:r>
                <a:rPr lang="en-US" sz="1400" dirty="0"/>
                <a:t> </a:t>
              </a:r>
              <a:r>
                <a:rPr lang="en-US" sz="1400" dirty="0" err="1"/>
                <a:t>massa</a:t>
              </a:r>
              <a:r>
                <a:rPr lang="en-US" sz="1400" dirty="0"/>
                <a:t>, </a:t>
              </a:r>
              <a:r>
                <a:rPr lang="en-US" sz="1400" dirty="0" err="1"/>
                <a:t>eget</a:t>
              </a:r>
              <a:r>
                <a:rPr lang="en-US" sz="1400" dirty="0"/>
                <a:t> </a:t>
              </a:r>
              <a:r>
                <a:rPr lang="en-US" sz="1400" dirty="0" err="1"/>
                <a:t>consequat</a:t>
              </a:r>
              <a:r>
                <a:rPr lang="en-US" sz="1400" dirty="0"/>
                <a:t> ante. </a:t>
              </a:r>
              <a:r>
                <a:rPr lang="en-US" sz="1400" dirty="0" err="1"/>
                <a:t>Aliquam</a:t>
              </a:r>
              <a:r>
                <a:rPr lang="en-US" sz="1400" dirty="0"/>
                <a:t> </a:t>
              </a:r>
              <a:r>
                <a:rPr lang="en-US" sz="1400" dirty="0" err="1"/>
                <a:t>efficitur</a:t>
              </a:r>
              <a:r>
                <a:rPr lang="en-US" sz="1400" dirty="0"/>
                <a:t> </a:t>
              </a:r>
              <a:r>
                <a:rPr lang="en-US" sz="1400" dirty="0" err="1"/>
                <a:t>accumsan</a:t>
              </a:r>
              <a:r>
                <a:rPr lang="en-US" sz="1400" dirty="0"/>
                <a:t> </a:t>
              </a:r>
              <a:r>
                <a:rPr lang="en-US" sz="1400" dirty="0" err="1"/>
                <a:t>rutrum</a:t>
              </a:r>
              <a:r>
                <a:rPr lang="en-US" sz="1400" dirty="0"/>
                <a:t>. </a:t>
              </a:r>
              <a:r>
                <a:rPr lang="en-US" sz="1400" dirty="0" err="1"/>
                <a:t>Donec</a:t>
              </a:r>
              <a:r>
                <a:rPr lang="en-US" sz="1400" dirty="0"/>
                <a:t> at </a:t>
              </a:r>
              <a:r>
                <a:rPr lang="en-US" sz="1400" dirty="0" err="1"/>
                <a:t>lacus</a:t>
              </a:r>
              <a:r>
                <a:rPr lang="en-US" sz="1400" dirty="0"/>
                <a:t> id ligula </a:t>
              </a:r>
              <a:r>
                <a:rPr lang="en-US" sz="1400" dirty="0" err="1"/>
                <a:t>hendrerit</a:t>
              </a:r>
              <a:r>
                <a:rPr lang="en-US" sz="1400" dirty="0"/>
                <a:t> </a:t>
              </a:r>
              <a:r>
                <a:rPr lang="en-US" sz="1400" dirty="0" err="1"/>
                <a:t>scelerisque</a:t>
              </a:r>
              <a:r>
                <a:rPr lang="en-US" sz="1400" dirty="0"/>
                <a:t>. </a:t>
              </a:r>
              <a:r>
                <a:rPr lang="en-US" sz="1400" dirty="0" err="1"/>
                <a:t>Etiam</a:t>
              </a:r>
              <a:r>
                <a:rPr lang="en-US" sz="1400" dirty="0"/>
                <a:t> in </a:t>
              </a:r>
              <a:r>
                <a:rPr lang="en-US" sz="1400" dirty="0" err="1"/>
                <a:t>odio</a:t>
              </a:r>
              <a:r>
                <a:rPr lang="en-US" sz="1400" dirty="0"/>
                <a:t> </a:t>
              </a:r>
              <a:r>
                <a:rPr lang="en-US" sz="1400" dirty="0" err="1"/>
                <a:t>erat</a:t>
              </a:r>
              <a:r>
                <a:rPr lang="en-US" sz="1400" dirty="0"/>
                <a:t>. Maecenas vitae </a:t>
              </a:r>
              <a:r>
                <a:rPr lang="en-US" sz="1400" dirty="0" err="1"/>
                <a:t>sodales</a:t>
              </a:r>
              <a:r>
                <a:rPr lang="en-US" sz="1400" dirty="0"/>
                <a:t> nisi.”</a:t>
              </a:r>
            </a:p>
          </p:txBody>
        </p:sp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919A0050-678A-4B1E-8D76-D850D343365F}"/>
                </a:ext>
              </a:extLst>
            </p:cNvPr>
            <p:cNvSpPr/>
            <p:nvPr/>
          </p:nvSpPr>
          <p:spPr>
            <a:xfrm>
              <a:off x="10034155" y="1432848"/>
              <a:ext cx="774700" cy="7747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32AE2C29-5A87-443B-8960-7FE155F64BEA}"/>
                </a:ext>
              </a:extLst>
            </p:cNvPr>
            <p:cNvGrpSpPr/>
            <p:nvPr/>
          </p:nvGrpSpPr>
          <p:grpSpPr>
            <a:xfrm>
              <a:off x="10278630" y="1713042"/>
              <a:ext cx="285750" cy="214313"/>
              <a:chOff x="2614613" y="809625"/>
              <a:chExt cx="285750" cy="214313"/>
            </a:xfrm>
            <a:solidFill>
              <a:schemeClr val="bg1"/>
            </a:solidFill>
          </p:grpSpPr>
          <p:sp>
            <p:nvSpPr>
              <p:cNvPr id="154" name="Freeform 78">
                <a:extLst>
                  <a:ext uri="{FF2B5EF4-FFF2-40B4-BE49-F238E27FC236}">
                    <a16:creationId xmlns:a16="http://schemas.microsoft.com/office/drawing/2014/main" id="{61DCEDFE-CAF6-4120-A776-9E9C020C18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4613" y="809625"/>
                <a:ext cx="133350" cy="214313"/>
              </a:xfrm>
              <a:custGeom>
                <a:avLst/>
                <a:gdLst>
                  <a:gd name="T0" fmla="*/ 316 w 335"/>
                  <a:gd name="T1" fmla="*/ 47 h 540"/>
                  <a:gd name="T2" fmla="*/ 325 w 335"/>
                  <a:gd name="T3" fmla="*/ 43 h 540"/>
                  <a:gd name="T4" fmla="*/ 331 w 335"/>
                  <a:gd name="T5" fmla="*/ 37 h 540"/>
                  <a:gd name="T6" fmla="*/ 335 w 335"/>
                  <a:gd name="T7" fmla="*/ 28 h 540"/>
                  <a:gd name="T8" fmla="*/ 335 w 335"/>
                  <a:gd name="T9" fmla="*/ 19 h 540"/>
                  <a:gd name="T10" fmla="*/ 331 w 335"/>
                  <a:gd name="T11" fmla="*/ 10 h 540"/>
                  <a:gd name="T12" fmla="*/ 325 w 335"/>
                  <a:gd name="T13" fmla="*/ 4 h 540"/>
                  <a:gd name="T14" fmla="*/ 316 w 335"/>
                  <a:gd name="T15" fmla="*/ 0 h 540"/>
                  <a:gd name="T16" fmla="*/ 294 w 335"/>
                  <a:gd name="T17" fmla="*/ 0 h 540"/>
                  <a:gd name="T18" fmla="*/ 260 w 335"/>
                  <a:gd name="T19" fmla="*/ 3 h 540"/>
                  <a:gd name="T20" fmla="*/ 227 w 335"/>
                  <a:gd name="T21" fmla="*/ 10 h 540"/>
                  <a:gd name="T22" fmla="*/ 198 w 335"/>
                  <a:gd name="T23" fmla="*/ 20 h 540"/>
                  <a:gd name="T24" fmla="*/ 169 w 335"/>
                  <a:gd name="T25" fmla="*/ 33 h 540"/>
                  <a:gd name="T26" fmla="*/ 142 w 335"/>
                  <a:gd name="T27" fmla="*/ 49 h 540"/>
                  <a:gd name="T28" fmla="*/ 117 w 335"/>
                  <a:gd name="T29" fmla="*/ 68 h 540"/>
                  <a:gd name="T30" fmla="*/ 95 w 335"/>
                  <a:gd name="T31" fmla="*/ 89 h 540"/>
                  <a:gd name="T32" fmla="*/ 75 w 335"/>
                  <a:gd name="T33" fmla="*/ 113 h 540"/>
                  <a:gd name="T34" fmla="*/ 57 w 335"/>
                  <a:gd name="T35" fmla="*/ 141 h 540"/>
                  <a:gd name="T36" fmla="*/ 41 w 335"/>
                  <a:gd name="T37" fmla="*/ 170 h 540"/>
                  <a:gd name="T38" fmla="*/ 27 w 335"/>
                  <a:gd name="T39" fmla="*/ 202 h 540"/>
                  <a:gd name="T40" fmla="*/ 17 w 335"/>
                  <a:gd name="T41" fmla="*/ 236 h 540"/>
                  <a:gd name="T42" fmla="*/ 8 w 335"/>
                  <a:gd name="T43" fmla="*/ 272 h 540"/>
                  <a:gd name="T44" fmla="*/ 3 w 335"/>
                  <a:gd name="T45" fmla="*/ 310 h 540"/>
                  <a:gd name="T46" fmla="*/ 0 w 335"/>
                  <a:gd name="T47" fmla="*/ 351 h 540"/>
                  <a:gd name="T48" fmla="*/ 1 w 335"/>
                  <a:gd name="T49" fmla="*/ 390 h 540"/>
                  <a:gd name="T50" fmla="*/ 7 w 335"/>
                  <a:gd name="T51" fmla="*/ 422 h 540"/>
                  <a:gd name="T52" fmla="*/ 20 w 335"/>
                  <a:gd name="T53" fmla="*/ 452 h 540"/>
                  <a:gd name="T54" fmla="*/ 38 w 335"/>
                  <a:gd name="T55" fmla="*/ 478 h 540"/>
                  <a:gd name="T56" fmla="*/ 61 w 335"/>
                  <a:gd name="T57" fmla="*/ 502 h 540"/>
                  <a:gd name="T58" fmla="*/ 88 w 335"/>
                  <a:gd name="T59" fmla="*/ 520 h 540"/>
                  <a:gd name="T60" fmla="*/ 117 w 335"/>
                  <a:gd name="T61" fmla="*/ 532 h 540"/>
                  <a:gd name="T62" fmla="*/ 150 w 335"/>
                  <a:gd name="T63" fmla="*/ 539 h 540"/>
                  <a:gd name="T64" fmla="*/ 185 w 335"/>
                  <a:gd name="T65" fmla="*/ 539 h 540"/>
                  <a:gd name="T66" fmla="*/ 218 w 335"/>
                  <a:gd name="T67" fmla="*/ 532 h 540"/>
                  <a:gd name="T68" fmla="*/ 248 w 335"/>
                  <a:gd name="T69" fmla="*/ 520 h 540"/>
                  <a:gd name="T70" fmla="*/ 274 w 335"/>
                  <a:gd name="T71" fmla="*/ 502 h 540"/>
                  <a:gd name="T72" fmla="*/ 297 w 335"/>
                  <a:gd name="T73" fmla="*/ 478 h 540"/>
                  <a:gd name="T74" fmla="*/ 315 w 335"/>
                  <a:gd name="T75" fmla="*/ 452 h 540"/>
                  <a:gd name="T76" fmla="*/ 328 w 335"/>
                  <a:gd name="T77" fmla="*/ 422 h 540"/>
                  <a:gd name="T78" fmla="*/ 334 w 335"/>
                  <a:gd name="T79" fmla="*/ 390 h 540"/>
                  <a:gd name="T80" fmla="*/ 334 w 335"/>
                  <a:gd name="T81" fmla="*/ 355 h 540"/>
                  <a:gd name="T82" fmla="*/ 328 w 335"/>
                  <a:gd name="T83" fmla="*/ 322 h 540"/>
                  <a:gd name="T84" fmla="*/ 315 w 335"/>
                  <a:gd name="T85" fmla="*/ 292 h 540"/>
                  <a:gd name="T86" fmla="*/ 297 w 335"/>
                  <a:gd name="T87" fmla="*/ 265 h 540"/>
                  <a:gd name="T88" fmla="*/ 274 w 335"/>
                  <a:gd name="T89" fmla="*/ 242 h 540"/>
                  <a:gd name="T90" fmla="*/ 248 w 335"/>
                  <a:gd name="T91" fmla="*/ 224 h 540"/>
                  <a:gd name="T92" fmla="*/ 218 w 335"/>
                  <a:gd name="T93" fmla="*/ 212 h 540"/>
                  <a:gd name="T94" fmla="*/ 185 w 335"/>
                  <a:gd name="T95" fmla="*/ 204 h 540"/>
                  <a:gd name="T96" fmla="*/ 153 w 335"/>
                  <a:gd name="T97" fmla="*/ 204 h 540"/>
                  <a:gd name="T98" fmla="*/ 126 w 335"/>
                  <a:gd name="T99" fmla="*/ 209 h 540"/>
                  <a:gd name="T100" fmla="*/ 99 w 335"/>
                  <a:gd name="T101" fmla="*/ 218 h 540"/>
                  <a:gd name="T102" fmla="*/ 76 w 335"/>
                  <a:gd name="T103" fmla="*/ 232 h 540"/>
                  <a:gd name="T104" fmla="*/ 73 w 335"/>
                  <a:gd name="T105" fmla="*/ 214 h 540"/>
                  <a:gd name="T106" fmla="*/ 94 w 335"/>
                  <a:gd name="T107" fmla="*/ 170 h 540"/>
                  <a:gd name="T108" fmla="*/ 119 w 335"/>
                  <a:gd name="T109" fmla="*/ 133 h 540"/>
                  <a:gd name="T110" fmla="*/ 150 w 335"/>
                  <a:gd name="T111" fmla="*/ 104 h 540"/>
                  <a:gd name="T112" fmla="*/ 183 w 335"/>
                  <a:gd name="T113" fmla="*/ 80 h 540"/>
                  <a:gd name="T114" fmla="*/ 218 w 335"/>
                  <a:gd name="T115" fmla="*/ 64 h 540"/>
                  <a:gd name="T116" fmla="*/ 255 w 335"/>
                  <a:gd name="T117" fmla="*/ 54 h 540"/>
                  <a:gd name="T118" fmla="*/ 293 w 335"/>
                  <a:gd name="T119" fmla="*/ 49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35" h="540">
                    <a:moveTo>
                      <a:pt x="312" y="47"/>
                    </a:moveTo>
                    <a:lnTo>
                      <a:pt x="316" y="47"/>
                    </a:lnTo>
                    <a:lnTo>
                      <a:pt x="321" y="45"/>
                    </a:lnTo>
                    <a:lnTo>
                      <a:pt x="325" y="43"/>
                    </a:lnTo>
                    <a:lnTo>
                      <a:pt x="329" y="41"/>
                    </a:lnTo>
                    <a:lnTo>
                      <a:pt x="331" y="37"/>
                    </a:lnTo>
                    <a:lnTo>
                      <a:pt x="333" y="33"/>
                    </a:lnTo>
                    <a:lnTo>
                      <a:pt x="335" y="28"/>
                    </a:lnTo>
                    <a:lnTo>
                      <a:pt x="335" y="24"/>
                    </a:lnTo>
                    <a:lnTo>
                      <a:pt x="335" y="19"/>
                    </a:lnTo>
                    <a:lnTo>
                      <a:pt x="333" y="15"/>
                    </a:lnTo>
                    <a:lnTo>
                      <a:pt x="331" y="10"/>
                    </a:lnTo>
                    <a:lnTo>
                      <a:pt x="329" y="6"/>
                    </a:lnTo>
                    <a:lnTo>
                      <a:pt x="325" y="4"/>
                    </a:lnTo>
                    <a:lnTo>
                      <a:pt x="321" y="2"/>
                    </a:lnTo>
                    <a:lnTo>
                      <a:pt x="316" y="0"/>
                    </a:lnTo>
                    <a:lnTo>
                      <a:pt x="312" y="0"/>
                    </a:lnTo>
                    <a:lnTo>
                      <a:pt x="294" y="0"/>
                    </a:lnTo>
                    <a:lnTo>
                      <a:pt x="277" y="1"/>
                    </a:lnTo>
                    <a:lnTo>
                      <a:pt x="260" y="3"/>
                    </a:lnTo>
                    <a:lnTo>
                      <a:pt x="244" y="6"/>
                    </a:lnTo>
                    <a:lnTo>
                      <a:pt x="227" y="10"/>
                    </a:lnTo>
                    <a:lnTo>
                      <a:pt x="213" y="15"/>
                    </a:lnTo>
                    <a:lnTo>
                      <a:pt x="198" y="20"/>
                    </a:lnTo>
                    <a:lnTo>
                      <a:pt x="183" y="26"/>
                    </a:lnTo>
                    <a:lnTo>
                      <a:pt x="169" y="33"/>
                    </a:lnTo>
                    <a:lnTo>
                      <a:pt x="155" y="40"/>
                    </a:lnTo>
                    <a:lnTo>
                      <a:pt x="142" y="49"/>
                    </a:lnTo>
                    <a:lnTo>
                      <a:pt x="130" y="58"/>
                    </a:lnTo>
                    <a:lnTo>
                      <a:pt x="117" y="68"/>
                    </a:lnTo>
                    <a:lnTo>
                      <a:pt x="106" y="78"/>
                    </a:lnTo>
                    <a:lnTo>
                      <a:pt x="95" y="89"/>
                    </a:lnTo>
                    <a:lnTo>
                      <a:pt x="84" y="101"/>
                    </a:lnTo>
                    <a:lnTo>
                      <a:pt x="75" y="113"/>
                    </a:lnTo>
                    <a:lnTo>
                      <a:pt x="65" y="127"/>
                    </a:lnTo>
                    <a:lnTo>
                      <a:pt x="57" y="141"/>
                    </a:lnTo>
                    <a:lnTo>
                      <a:pt x="48" y="154"/>
                    </a:lnTo>
                    <a:lnTo>
                      <a:pt x="41" y="170"/>
                    </a:lnTo>
                    <a:lnTo>
                      <a:pt x="34" y="185"/>
                    </a:lnTo>
                    <a:lnTo>
                      <a:pt x="27" y="202"/>
                    </a:lnTo>
                    <a:lnTo>
                      <a:pt x="22" y="218"/>
                    </a:lnTo>
                    <a:lnTo>
                      <a:pt x="17" y="236"/>
                    </a:lnTo>
                    <a:lnTo>
                      <a:pt x="12" y="254"/>
                    </a:lnTo>
                    <a:lnTo>
                      <a:pt x="8" y="272"/>
                    </a:lnTo>
                    <a:lnTo>
                      <a:pt x="5" y="291"/>
                    </a:lnTo>
                    <a:lnTo>
                      <a:pt x="3" y="310"/>
                    </a:lnTo>
                    <a:lnTo>
                      <a:pt x="1" y="330"/>
                    </a:lnTo>
                    <a:lnTo>
                      <a:pt x="0" y="351"/>
                    </a:lnTo>
                    <a:lnTo>
                      <a:pt x="0" y="371"/>
                    </a:lnTo>
                    <a:lnTo>
                      <a:pt x="1" y="390"/>
                    </a:lnTo>
                    <a:lnTo>
                      <a:pt x="3" y="405"/>
                    </a:lnTo>
                    <a:lnTo>
                      <a:pt x="7" y="422"/>
                    </a:lnTo>
                    <a:lnTo>
                      <a:pt x="12" y="437"/>
                    </a:lnTo>
                    <a:lnTo>
                      <a:pt x="20" y="452"/>
                    </a:lnTo>
                    <a:lnTo>
                      <a:pt x="28" y="466"/>
                    </a:lnTo>
                    <a:lnTo>
                      <a:pt x="38" y="478"/>
                    </a:lnTo>
                    <a:lnTo>
                      <a:pt x="48" y="491"/>
                    </a:lnTo>
                    <a:lnTo>
                      <a:pt x="61" y="502"/>
                    </a:lnTo>
                    <a:lnTo>
                      <a:pt x="74" y="511"/>
                    </a:lnTo>
                    <a:lnTo>
                      <a:pt x="88" y="520"/>
                    </a:lnTo>
                    <a:lnTo>
                      <a:pt x="102" y="527"/>
                    </a:lnTo>
                    <a:lnTo>
                      <a:pt x="117" y="532"/>
                    </a:lnTo>
                    <a:lnTo>
                      <a:pt x="134" y="537"/>
                    </a:lnTo>
                    <a:lnTo>
                      <a:pt x="150" y="539"/>
                    </a:lnTo>
                    <a:lnTo>
                      <a:pt x="168" y="540"/>
                    </a:lnTo>
                    <a:lnTo>
                      <a:pt x="185" y="539"/>
                    </a:lnTo>
                    <a:lnTo>
                      <a:pt x="201" y="537"/>
                    </a:lnTo>
                    <a:lnTo>
                      <a:pt x="218" y="532"/>
                    </a:lnTo>
                    <a:lnTo>
                      <a:pt x="233" y="527"/>
                    </a:lnTo>
                    <a:lnTo>
                      <a:pt x="248" y="520"/>
                    </a:lnTo>
                    <a:lnTo>
                      <a:pt x="261" y="511"/>
                    </a:lnTo>
                    <a:lnTo>
                      <a:pt x="274" y="502"/>
                    </a:lnTo>
                    <a:lnTo>
                      <a:pt x="287" y="491"/>
                    </a:lnTo>
                    <a:lnTo>
                      <a:pt x="297" y="478"/>
                    </a:lnTo>
                    <a:lnTo>
                      <a:pt x="307" y="466"/>
                    </a:lnTo>
                    <a:lnTo>
                      <a:pt x="315" y="452"/>
                    </a:lnTo>
                    <a:lnTo>
                      <a:pt x="323" y="437"/>
                    </a:lnTo>
                    <a:lnTo>
                      <a:pt x="328" y="422"/>
                    </a:lnTo>
                    <a:lnTo>
                      <a:pt x="332" y="405"/>
                    </a:lnTo>
                    <a:lnTo>
                      <a:pt x="334" y="390"/>
                    </a:lnTo>
                    <a:lnTo>
                      <a:pt x="335" y="371"/>
                    </a:lnTo>
                    <a:lnTo>
                      <a:pt x="334" y="355"/>
                    </a:lnTo>
                    <a:lnTo>
                      <a:pt x="332" y="338"/>
                    </a:lnTo>
                    <a:lnTo>
                      <a:pt x="328" y="322"/>
                    </a:lnTo>
                    <a:lnTo>
                      <a:pt x="323" y="307"/>
                    </a:lnTo>
                    <a:lnTo>
                      <a:pt x="315" y="292"/>
                    </a:lnTo>
                    <a:lnTo>
                      <a:pt x="307" y="278"/>
                    </a:lnTo>
                    <a:lnTo>
                      <a:pt x="297" y="265"/>
                    </a:lnTo>
                    <a:lnTo>
                      <a:pt x="287" y="253"/>
                    </a:lnTo>
                    <a:lnTo>
                      <a:pt x="274" y="242"/>
                    </a:lnTo>
                    <a:lnTo>
                      <a:pt x="261" y="233"/>
                    </a:lnTo>
                    <a:lnTo>
                      <a:pt x="248" y="224"/>
                    </a:lnTo>
                    <a:lnTo>
                      <a:pt x="233" y="217"/>
                    </a:lnTo>
                    <a:lnTo>
                      <a:pt x="218" y="212"/>
                    </a:lnTo>
                    <a:lnTo>
                      <a:pt x="201" y="207"/>
                    </a:lnTo>
                    <a:lnTo>
                      <a:pt x="185" y="204"/>
                    </a:lnTo>
                    <a:lnTo>
                      <a:pt x="168" y="204"/>
                    </a:lnTo>
                    <a:lnTo>
                      <a:pt x="153" y="204"/>
                    </a:lnTo>
                    <a:lnTo>
                      <a:pt x="140" y="206"/>
                    </a:lnTo>
                    <a:lnTo>
                      <a:pt x="126" y="209"/>
                    </a:lnTo>
                    <a:lnTo>
                      <a:pt x="112" y="213"/>
                    </a:lnTo>
                    <a:lnTo>
                      <a:pt x="99" y="218"/>
                    </a:lnTo>
                    <a:lnTo>
                      <a:pt x="88" y="224"/>
                    </a:lnTo>
                    <a:lnTo>
                      <a:pt x="76" y="232"/>
                    </a:lnTo>
                    <a:lnTo>
                      <a:pt x="64" y="239"/>
                    </a:lnTo>
                    <a:lnTo>
                      <a:pt x="73" y="214"/>
                    </a:lnTo>
                    <a:lnTo>
                      <a:pt x="83" y="191"/>
                    </a:lnTo>
                    <a:lnTo>
                      <a:pt x="94" y="170"/>
                    </a:lnTo>
                    <a:lnTo>
                      <a:pt x="107" y="150"/>
                    </a:lnTo>
                    <a:lnTo>
                      <a:pt x="119" y="133"/>
                    </a:lnTo>
                    <a:lnTo>
                      <a:pt x="134" y="117"/>
                    </a:lnTo>
                    <a:lnTo>
                      <a:pt x="150" y="104"/>
                    </a:lnTo>
                    <a:lnTo>
                      <a:pt x="166" y="91"/>
                    </a:lnTo>
                    <a:lnTo>
                      <a:pt x="183" y="80"/>
                    </a:lnTo>
                    <a:lnTo>
                      <a:pt x="200" y="72"/>
                    </a:lnTo>
                    <a:lnTo>
                      <a:pt x="218" y="64"/>
                    </a:lnTo>
                    <a:lnTo>
                      <a:pt x="237" y="58"/>
                    </a:lnTo>
                    <a:lnTo>
                      <a:pt x="255" y="54"/>
                    </a:lnTo>
                    <a:lnTo>
                      <a:pt x="274" y="51"/>
                    </a:lnTo>
                    <a:lnTo>
                      <a:pt x="293" y="49"/>
                    </a:lnTo>
                    <a:lnTo>
                      <a:pt x="312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Freeform 79">
                <a:extLst>
                  <a:ext uri="{FF2B5EF4-FFF2-40B4-BE49-F238E27FC236}">
                    <a16:creationId xmlns:a16="http://schemas.microsoft.com/office/drawing/2014/main" id="{705EE88C-2A19-458E-81CD-88EB52B3A5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7013" y="809625"/>
                <a:ext cx="133350" cy="214313"/>
              </a:xfrm>
              <a:custGeom>
                <a:avLst/>
                <a:gdLst>
                  <a:gd name="T0" fmla="*/ 154 w 336"/>
                  <a:gd name="T1" fmla="*/ 204 h 540"/>
                  <a:gd name="T2" fmla="*/ 126 w 336"/>
                  <a:gd name="T3" fmla="*/ 209 h 540"/>
                  <a:gd name="T4" fmla="*/ 100 w 336"/>
                  <a:gd name="T5" fmla="*/ 218 h 540"/>
                  <a:gd name="T6" fmla="*/ 76 w 336"/>
                  <a:gd name="T7" fmla="*/ 232 h 540"/>
                  <a:gd name="T8" fmla="*/ 73 w 336"/>
                  <a:gd name="T9" fmla="*/ 214 h 540"/>
                  <a:gd name="T10" fmla="*/ 94 w 336"/>
                  <a:gd name="T11" fmla="*/ 170 h 540"/>
                  <a:gd name="T12" fmla="*/ 120 w 336"/>
                  <a:gd name="T13" fmla="*/ 133 h 540"/>
                  <a:gd name="T14" fmla="*/ 150 w 336"/>
                  <a:gd name="T15" fmla="*/ 104 h 540"/>
                  <a:gd name="T16" fmla="*/ 183 w 336"/>
                  <a:gd name="T17" fmla="*/ 80 h 540"/>
                  <a:gd name="T18" fmla="*/ 218 w 336"/>
                  <a:gd name="T19" fmla="*/ 64 h 540"/>
                  <a:gd name="T20" fmla="*/ 255 w 336"/>
                  <a:gd name="T21" fmla="*/ 54 h 540"/>
                  <a:gd name="T22" fmla="*/ 294 w 336"/>
                  <a:gd name="T23" fmla="*/ 49 h 540"/>
                  <a:gd name="T24" fmla="*/ 317 w 336"/>
                  <a:gd name="T25" fmla="*/ 47 h 540"/>
                  <a:gd name="T26" fmla="*/ 325 w 336"/>
                  <a:gd name="T27" fmla="*/ 43 h 540"/>
                  <a:gd name="T28" fmla="*/ 332 w 336"/>
                  <a:gd name="T29" fmla="*/ 37 h 540"/>
                  <a:gd name="T30" fmla="*/ 336 w 336"/>
                  <a:gd name="T31" fmla="*/ 28 h 540"/>
                  <a:gd name="T32" fmla="*/ 336 w 336"/>
                  <a:gd name="T33" fmla="*/ 19 h 540"/>
                  <a:gd name="T34" fmla="*/ 332 w 336"/>
                  <a:gd name="T35" fmla="*/ 10 h 540"/>
                  <a:gd name="T36" fmla="*/ 325 w 336"/>
                  <a:gd name="T37" fmla="*/ 4 h 540"/>
                  <a:gd name="T38" fmla="*/ 317 w 336"/>
                  <a:gd name="T39" fmla="*/ 0 h 540"/>
                  <a:gd name="T40" fmla="*/ 295 w 336"/>
                  <a:gd name="T41" fmla="*/ 0 h 540"/>
                  <a:gd name="T42" fmla="*/ 261 w 336"/>
                  <a:gd name="T43" fmla="*/ 3 h 540"/>
                  <a:gd name="T44" fmla="*/ 228 w 336"/>
                  <a:gd name="T45" fmla="*/ 10 h 540"/>
                  <a:gd name="T46" fmla="*/ 198 w 336"/>
                  <a:gd name="T47" fmla="*/ 20 h 540"/>
                  <a:gd name="T48" fmla="*/ 170 w 336"/>
                  <a:gd name="T49" fmla="*/ 33 h 540"/>
                  <a:gd name="T50" fmla="*/ 142 w 336"/>
                  <a:gd name="T51" fmla="*/ 49 h 540"/>
                  <a:gd name="T52" fmla="*/ 118 w 336"/>
                  <a:gd name="T53" fmla="*/ 68 h 540"/>
                  <a:gd name="T54" fmla="*/ 96 w 336"/>
                  <a:gd name="T55" fmla="*/ 89 h 540"/>
                  <a:gd name="T56" fmla="*/ 75 w 336"/>
                  <a:gd name="T57" fmla="*/ 113 h 540"/>
                  <a:gd name="T58" fmla="*/ 56 w 336"/>
                  <a:gd name="T59" fmla="*/ 141 h 540"/>
                  <a:gd name="T60" fmla="*/ 42 w 336"/>
                  <a:gd name="T61" fmla="*/ 170 h 540"/>
                  <a:gd name="T62" fmla="*/ 28 w 336"/>
                  <a:gd name="T63" fmla="*/ 202 h 540"/>
                  <a:gd name="T64" fmla="*/ 17 w 336"/>
                  <a:gd name="T65" fmla="*/ 236 h 540"/>
                  <a:gd name="T66" fmla="*/ 9 w 336"/>
                  <a:gd name="T67" fmla="*/ 272 h 540"/>
                  <a:gd name="T68" fmla="*/ 3 w 336"/>
                  <a:gd name="T69" fmla="*/ 310 h 540"/>
                  <a:gd name="T70" fmla="*/ 0 w 336"/>
                  <a:gd name="T71" fmla="*/ 351 h 540"/>
                  <a:gd name="T72" fmla="*/ 0 w 336"/>
                  <a:gd name="T73" fmla="*/ 390 h 540"/>
                  <a:gd name="T74" fmla="*/ 8 w 336"/>
                  <a:gd name="T75" fmla="*/ 422 h 540"/>
                  <a:gd name="T76" fmla="*/ 20 w 336"/>
                  <a:gd name="T77" fmla="*/ 452 h 540"/>
                  <a:gd name="T78" fmla="*/ 38 w 336"/>
                  <a:gd name="T79" fmla="*/ 478 h 540"/>
                  <a:gd name="T80" fmla="*/ 61 w 336"/>
                  <a:gd name="T81" fmla="*/ 502 h 540"/>
                  <a:gd name="T82" fmla="*/ 88 w 336"/>
                  <a:gd name="T83" fmla="*/ 520 h 540"/>
                  <a:gd name="T84" fmla="*/ 118 w 336"/>
                  <a:gd name="T85" fmla="*/ 532 h 540"/>
                  <a:gd name="T86" fmla="*/ 151 w 336"/>
                  <a:gd name="T87" fmla="*/ 539 h 540"/>
                  <a:gd name="T88" fmla="*/ 186 w 336"/>
                  <a:gd name="T89" fmla="*/ 539 h 540"/>
                  <a:gd name="T90" fmla="*/ 218 w 336"/>
                  <a:gd name="T91" fmla="*/ 532 h 540"/>
                  <a:gd name="T92" fmla="*/ 248 w 336"/>
                  <a:gd name="T93" fmla="*/ 520 h 540"/>
                  <a:gd name="T94" fmla="*/ 275 w 336"/>
                  <a:gd name="T95" fmla="*/ 502 h 540"/>
                  <a:gd name="T96" fmla="*/ 298 w 336"/>
                  <a:gd name="T97" fmla="*/ 478 h 540"/>
                  <a:gd name="T98" fmla="*/ 316 w 336"/>
                  <a:gd name="T99" fmla="*/ 452 h 540"/>
                  <a:gd name="T100" fmla="*/ 329 w 336"/>
                  <a:gd name="T101" fmla="*/ 422 h 540"/>
                  <a:gd name="T102" fmla="*/ 335 w 336"/>
                  <a:gd name="T103" fmla="*/ 390 h 540"/>
                  <a:gd name="T104" fmla="*/ 335 w 336"/>
                  <a:gd name="T105" fmla="*/ 355 h 540"/>
                  <a:gd name="T106" fmla="*/ 329 w 336"/>
                  <a:gd name="T107" fmla="*/ 322 h 540"/>
                  <a:gd name="T108" fmla="*/ 316 w 336"/>
                  <a:gd name="T109" fmla="*/ 292 h 540"/>
                  <a:gd name="T110" fmla="*/ 298 w 336"/>
                  <a:gd name="T111" fmla="*/ 265 h 540"/>
                  <a:gd name="T112" fmla="*/ 275 w 336"/>
                  <a:gd name="T113" fmla="*/ 242 h 540"/>
                  <a:gd name="T114" fmla="*/ 248 w 336"/>
                  <a:gd name="T115" fmla="*/ 224 h 540"/>
                  <a:gd name="T116" fmla="*/ 218 w 336"/>
                  <a:gd name="T117" fmla="*/ 212 h 540"/>
                  <a:gd name="T118" fmla="*/ 186 w 336"/>
                  <a:gd name="T119" fmla="*/ 204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36" h="540">
                    <a:moveTo>
                      <a:pt x="168" y="204"/>
                    </a:moveTo>
                    <a:lnTo>
                      <a:pt x="154" y="204"/>
                    </a:lnTo>
                    <a:lnTo>
                      <a:pt x="140" y="206"/>
                    </a:lnTo>
                    <a:lnTo>
                      <a:pt x="126" y="209"/>
                    </a:lnTo>
                    <a:lnTo>
                      <a:pt x="112" y="213"/>
                    </a:lnTo>
                    <a:lnTo>
                      <a:pt x="100" y="218"/>
                    </a:lnTo>
                    <a:lnTo>
                      <a:pt x="88" y="224"/>
                    </a:lnTo>
                    <a:lnTo>
                      <a:pt x="76" y="232"/>
                    </a:lnTo>
                    <a:lnTo>
                      <a:pt x="65" y="239"/>
                    </a:lnTo>
                    <a:lnTo>
                      <a:pt x="73" y="214"/>
                    </a:lnTo>
                    <a:lnTo>
                      <a:pt x="83" y="191"/>
                    </a:lnTo>
                    <a:lnTo>
                      <a:pt x="94" y="170"/>
                    </a:lnTo>
                    <a:lnTo>
                      <a:pt x="107" y="150"/>
                    </a:lnTo>
                    <a:lnTo>
                      <a:pt x="120" y="133"/>
                    </a:lnTo>
                    <a:lnTo>
                      <a:pt x="135" y="117"/>
                    </a:lnTo>
                    <a:lnTo>
                      <a:pt x="150" y="104"/>
                    </a:lnTo>
                    <a:lnTo>
                      <a:pt x="167" y="91"/>
                    </a:lnTo>
                    <a:lnTo>
                      <a:pt x="183" y="80"/>
                    </a:lnTo>
                    <a:lnTo>
                      <a:pt x="200" y="72"/>
                    </a:lnTo>
                    <a:lnTo>
                      <a:pt x="218" y="64"/>
                    </a:lnTo>
                    <a:lnTo>
                      <a:pt x="236" y="58"/>
                    </a:lnTo>
                    <a:lnTo>
                      <a:pt x="255" y="54"/>
                    </a:lnTo>
                    <a:lnTo>
                      <a:pt x="275" y="51"/>
                    </a:lnTo>
                    <a:lnTo>
                      <a:pt x="294" y="49"/>
                    </a:lnTo>
                    <a:lnTo>
                      <a:pt x="313" y="47"/>
                    </a:lnTo>
                    <a:lnTo>
                      <a:pt x="317" y="47"/>
                    </a:lnTo>
                    <a:lnTo>
                      <a:pt x="321" y="45"/>
                    </a:lnTo>
                    <a:lnTo>
                      <a:pt x="325" y="43"/>
                    </a:lnTo>
                    <a:lnTo>
                      <a:pt x="330" y="41"/>
                    </a:lnTo>
                    <a:lnTo>
                      <a:pt x="332" y="37"/>
                    </a:lnTo>
                    <a:lnTo>
                      <a:pt x="334" y="33"/>
                    </a:lnTo>
                    <a:lnTo>
                      <a:pt x="336" y="28"/>
                    </a:lnTo>
                    <a:lnTo>
                      <a:pt x="336" y="24"/>
                    </a:lnTo>
                    <a:lnTo>
                      <a:pt x="336" y="19"/>
                    </a:lnTo>
                    <a:lnTo>
                      <a:pt x="334" y="15"/>
                    </a:lnTo>
                    <a:lnTo>
                      <a:pt x="332" y="10"/>
                    </a:lnTo>
                    <a:lnTo>
                      <a:pt x="330" y="6"/>
                    </a:lnTo>
                    <a:lnTo>
                      <a:pt x="325" y="4"/>
                    </a:lnTo>
                    <a:lnTo>
                      <a:pt x="321" y="2"/>
                    </a:lnTo>
                    <a:lnTo>
                      <a:pt x="317" y="0"/>
                    </a:lnTo>
                    <a:lnTo>
                      <a:pt x="313" y="0"/>
                    </a:lnTo>
                    <a:lnTo>
                      <a:pt x="295" y="0"/>
                    </a:lnTo>
                    <a:lnTo>
                      <a:pt x="278" y="1"/>
                    </a:lnTo>
                    <a:lnTo>
                      <a:pt x="261" y="3"/>
                    </a:lnTo>
                    <a:lnTo>
                      <a:pt x="244" y="6"/>
                    </a:lnTo>
                    <a:lnTo>
                      <a:pt x="228" y="10"/>
                    </a:lnTo>
                    <a:lnTo>
                      <a:pt x="213" y="15"/>
                    </a:lnTo>
                    <a:lnTo>
                      <a:pt x="198" y="20"/>
                    </a:lnTo>
                    <a:lnTo>
                      <a:pt x="183" y="26"/>
                    </a:lnTo>
                    <a:lnTo>
                      <a:pt x="170" y="33"/>
                    </a:lnTo>
                    <a:lnTo>
                      <a:pt x="156" y="40"/>
                    </a:lnTo>
                    <a:lnTo>
                      <a:pt x="142" y="49"/>
                    </a:lnTo>
                    <a:lnTo>
                      <a:pt x="131" y="58"/>
                    </a:lnTo>
                    <a:lnTo>
                      <a:pt x="118" y="68"/>
                    </a:lnTo>
                    <a:lnTo>
                      <a:pt x="106" y="78"/>
                    </a:lnTo>
                    <a:lnTo>
                      <a:pt x="96" y="89"/>
                    </a:lnTo>
                    <a:lnTo>
                      <a:pt x="85" y="101"/>
                    </a:lnTo>
                    <a:lnTo>
                      <a:pt x="75" y="113"/>
                    </a:lnTo>
                    <a:lnTo>
                      <a:pt x="66" y="127"/>
                    </a:lnTo>
                    <a:lnTo>
                      <a:pt x="56" y="141"/>
                    </a:lnTo>
                    <a:lnTo>
                      <a:pt x="49" y="154"/>
                    </a:lnTo>
                    <a:lnTo>
                      <a:pt x="42" y="170"/>
                    </a:lnTo>
                    <a:lnTo>
                      <a:pt x="34" y="185"/>
                    </a:lnTo>
                    <a:lnTo>
                      <a:pt x="28" y="202"/>
                    </a:lnTo>
                    <a:lnTo>
                      <a:pt x="22" y="218"/>
                    </a:lnTo>
                    <a:lnTo>
                      <a:pt x="17" y="236"/>
                    </a:lnTo>
                    <a:lnTo>
                      <a:pt x="13" y="254"/>
                    </a:lnTo>
                    <a:lnTo>
                      <a:pt x="9" y="272"/>
                    </a:lnTo>
                    <a:lnTo>
                      <a:pt x="6" y="291"/>
                    </a:lnTo>
                    <a:lnTo>
                      <a:pt x="3" y="310"/>
                    </a:lnTo>
                    <a:lnTo>
                      <a:pt x="1" y="330"/>
                    </a:lnTo>
                    <a:lnTo>
                      <a:pt x="0" y="351"/>
                    </a:lnTo>
                    <a:lnTo>
                      <a:pt x="0" y="371"/>
                    </a:lnTo>
                    <a:lnTo>
                      <a:pt x="0" y="390"/>
                    </a:lnTo>
                    <a:lnTo>
                      <a:pt x="3" y="405"/>
                    </a:lnTo>
                    <a:lnTo>
                      <a:pt x="8" y="422"/>
                    </a:lnTo>
                    <a:lnTo>
                      <a:pt x="13" y="437"/>
                    </a:lnTo>
                    <a:lnTo>
                      <a:pt x="20" y="452"/>
                    </a:lnTo>
                    <a:lnTo>
                      <a:pt x="29" y="466"/>
                    </a:lnTo>
                    <a:lnTo>
                      <a:pt x="38" y="478"/>
                    </a:lnTo>
                    <a:lnTo>
                      <a:pt x="49" y="491"/>
                    </a:lnTo>
                    <a:lnTo>
                      <a:pt x="61" y="502"/>
                    </a:lnTo>
                    <a:lnTo>
                      <a:pt x="74" y="511"/>
                    </a:lnTo>
                    <a:lnTo>
                      <a:pt x="88" y="520"/>
                    </a:lnTo>
                    <a:lnTo>
                      <a:pt x="103" y="527"/>
                    </a:lnTo>
                    <a:lnTo>
                      <a:pt x="118" y="532"/>
                    </a:lnTo>
                    <a:lnTo>
                      <a:pt x="134" y="537"/>
                    </a:lnTo>
                    <a:lnTo>
                      <a:pt x="151" y="539"/>
                    </a:lnTo>
                    <a:lnTo>
                      <a:pt x="168" y="540"/>
                    </a:lnTo>
                    <a:lnTo>
                      <a:pt x="186" y="539"/>
                    </a:lnTo>
                    <a:lnTo>
                      <a:pt x="201" y="537"/>
                    </a:lnTo>
                    <a:lnTo>
                      <a:pt x="218" y="532"/>
                    </a:lnTo>
                    <a:lnTo>
                      <a:pt x="233" y="527"/>
                    </a:lnTo>
                    <a:lnTo>
                      <a:pt x="248" y="520"/>
                    </a:lnTo>
                    <a:lnTo>
                      <a:pt x="262" y="511"/>
                    </a:lnTo>
                    <a:lnTo>
                      <a:pt x="275" y="502"/>
                    </a:lnTo>
                    <a:lnTo>
                      <a:pt x="287" y="491"/>
                    </a:lnTo>
                    <a:lnTo>
                      <a:pt x="298" y="478"/>
                    </a:lnTo>
                    <a:lnTo>
                      <a:pt x="307" y="466"/>
                    </a:lnTo>
                    <a:lnTo>
                      <a:pt x="316" y="452"/>
                    </a:lnTo>
                    <a:lnTo>
                      <a:pt x="323" y="437"/>
                    </a:lnTo>
                    <a:lnTo>
                      <a:pt x="329" y="422"/>
                    </a:lnTo>
                    <a:lnTo>
                      <a:pt x="333" y="405"/>
                    </a:lnTo>
                    <a:lnTo>
                      <a:pt x="335" y="390"/>
                    </a:lnTo>
                    <a:lnTo>
                      <a:pt x="336" y="371"/>
                    </a:lnTo>
                    <a:lnTo>
                      <a:pt x="335" y="355"/>
                    </a:lnTo>
                    <a:lnTo>
                      <a:pt x="333" y="338"/>
                    </a:lnTo>
                    <a:lnTo>
                      <a:pt x="329" y="322"/>
                    </a:lnTo>
                    <a:lnTo>
                      <a:pt x="323" y="307"/>
                    </a:lnTo>
                    <a:lnTo>
                      <a:pt x="316" y="292"/>
                    </a:lnTo>
                    <a:lnTo>
                      <a:pt x="307" y="278"/>
                    </a:lnTo>
                    <a:lnTo>
                      <a:pt x="298" y="265"/>
                    </a:lnTo>
                    <a:lnTo>
                      <a:pt x="287" y="253"/>
                    </a:lnTo>
                    <a:lnTo>
                      <a:pt x="275" y="242"/>
                    </a:lnTo>
                    <a:lnTo>
                      <a:pt x="262" y="233"/>
                    </a:lnTo>
                    <a:lnTo>
                      <a:pt x="248" y="224"/>
                    </a:lnTo>
                    <a:lnTo>
                      <a:pt x="233" y="217"/>
                    </a:lnTo>
                    <a:lnTo>
                      <a:pt x="218" y="212"/>
                    </a:lnTo>
                    <a:lnTo>
                      <a:pt x="201" y="207"/>
                    </a:lnTo>
                    <a:lnTo>
                      <a:pt x="186" y="204"/>
                    </a:lnTo>
                    <a:lnTo>
                      <a:pt x="168" y="20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579222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Oval 250">
            <a:extLst>
              <a:ext uri="{FF2B5EF4-FFF2-40B4-BE49-F238E27FC236}">
                <a16:creationId xmlns:a16="http://schemas.microsoft.com/office/drawing/2014/main" id="{B7040B08-3489-4D9E-A6D5-CD31246E3799}"/>
              </a:ext>
            </a:extLst>
          </p:cNvPr>
          <p:cNvSpPr/>
          <p:nvPr/>
        </p:nvSpPr>
        <p:spPr>
          <a:xfrm>
            <a:off x="-1322662" y="136527"/>
            <a:ext cx="6584948" cy="65849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3" name="Rectangle: Rounded Corners 232">
            <a:extLst>
              <a:ext uri="{FF2B5EF4-FFF2-40B4-BE49-F238E27FC236}">
                <a16:creationId xmlns:a16="http://schemas.microsoft.com/office/drawing/2014/main" id="{38BC1830-0828-45B0-8117-5E01FBBAF93B}"/>
              </a:ext>
            </a:extLst>
          </p:cNvPr>
          <p:cNvSpPr/>
          <p:nvPr/>
        </p:nvSpPr>
        <p:spPr>
          <a:xfrm>
            <a:off x="5061568" y="5023288"/>
            <a:ext cx="5930282" cy="907001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4" name="Rectangle: Rounded Corners 233">
            <a:extLst>
              <a:ext uri="{FF2B5EF4-FFF2-40B4-BE49-F238E27FC236}">
                <a16:creationId xmlns:a16="http://schemas.microsoft.com/office/drawing/2014/main" id="{E1FFB987-CEE0-4B84-8D88-BEC2C8F681F9}"/>
              </a:ext>
            </a:extLst>
          </p:cNvPr>
          <p:cNvSpPr/>
          <p:nvPr/>
        </p:nvSpPr>
        <p:spPr>
          <a:xfrm>
            <a:off x="5529835" y="2981395"/>
            <a:ext cx="5930282" cy="907001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2" name="Rectangle: Rounded Corners 231">
            <a:extLst>
              <a:ext uri="{FF2B5EF4-FFF2-40B4-BE49-F238E27FC236}">
                <a16:creationId xmlns:a16="http://schemas.microsoft.com/office/drawing/2014/main" id="{29A1ED7D-5033-48C6-8873-2F2C2AB23293}"/>
              </a:ext>
            </a:extLst>
          </p:cNvPr>
          <p:cNvSpPr/>
          <p:nvPr/>
        </p:nvSpPr>
        <p:spPr>
          <a:xfrm>
            <a:off x="5061568" y="925168"/>
            <a:ext cx="5930282" cy="907001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0" name="Oval 219">
            <a:extLst>
              <a:ext uri="{FF2B5EF4-FFF2-40B4-BE49-F238E27FC236}">
                <a16:creationId xmlns:a16="http://schemas.microsoft.com/office/drawing/2014/main" id="{3EB49829-0A41-487F-B974-500A2624368D}"/>
              </a:ext>
            </a:extLst>
          </p:cNvPr>
          <p:cNvSpPr/>
          <p:nvPr/>
        </p:nvSpPr>
        <p:spPr>
          <a:xfrm>
            <a:off x="-2054452" y="-595263"/>
            <a:ext cx="8048526" cy="8048526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4D9497-D6ED-4F5D-9AF8-723FC8208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z="1000" smtClean="0">
                <a:solidFill>
                  <a:schemeClr val="tx1"/>
                </a:solidFill>
              </a:rPr>
              <a:t>3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5" name="Rectangle 70">
            <a:extLst>
              <a:ext uri="{FF2B5EF4-FFF2-40B4-BE49-F238E27FC236}">
                <a16:creationId xmlns:a16="http://schemas.microsoft.com/office/drawing/2014/main" id="{46EBEB8D-01EC-4B1A-B44A-BDF60EEB1BDB}"/>
              </a:ext>
            </a:extLst>
          </p:cNvPr>
          <p:cNvSpPr/>
          <p:nvPr/>
        </p:nvSpPr>
        <p:spPr>
          <a:xfrm rot="10800000">
            <a:off x="114830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70">
            <a:extLst>
              <a:ext uri="{FF2B5EF4-FFF2-40B4-BE49-F238E27FC236}">
                <a16:creationId xmlns:a16="http://schemas.microsoft.com/office/drawing/2014/main" id="{68FA4209-A2EF-480B-BBDC-DE5322790CE7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3" name="Group 222">
            <a:extLst>
              <a:ext uri="{FF2B5EF4-FFF2-40B4-BE49-F238E27FC236}">
                <a16:creationId xmlns:a16="http://schemas.microsoft.com/office/drawing/2014/main" id="{CDF97437-E644-4EBF-9D83-B1FC68C1B97C}"/>
              </a:ext>
            </a:extLst>
          </p:cNvPr>
          <p:cNvGrpSpPr/>
          <p:nvPr/>
        </p:nvGrpSpPr>
        <p:grpSpPr>
          <a:xfrm>
            <a:off x="4994811" y="843644"/>
            <a:ext cx="1070049" cy="1070049"/>
            <a:chOff x="7627217" y="1716585"/>
            <a:chExt cx="825878" cy="825878"/>
          </a:xfrm>
        </p:grpSpPr>
        <p:sp>
          <p:nvSpPr>
            <p:cNvPr id="221" name="Oval 220">
              <a:extLst>
                <a:ext uri="{FF2B5EF4-FFF2-40B4-BE49-F238E27FC236}">
                  <a16:creationId xmlns:a16="http://schemas.microsoft.com/office/drawing/2014/main" id="{99A8F7AA-5B7C-4B00-8D58-0FDA8D0C7210}"/>
                </a:ext>
              </a:extLst>
            </p:cNvPr>
            <p:cNvSpPr/>
            <p:nvPr/>
          </p:nvSpPr>
          <p:spPr>
            <a:xfrm>
              <a:off x="7627217" y="1716585"/>
              <a:ext cx="825878" cy="82587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2" name="Oval 221">
              <a:extLst>
                <a:ext uri="{FF2B5EF4-FFF2-40B4-BE49-F238E27FC236}">
                  <a16:creationId xmlns:a16="http://schemas.microsoft.com/office/drawing/2014/main" id="{B5F317E6-2729-4C98-A8CD-E419A9FB3017}"/>
                </a:ext>
              </a:extLst>
            </p:cNvPr>
            <p:cNvSpPr/>
            <p:nvPr/>
          </p:nvSpPr>
          <p:spPr>
            <a:xfrm>
              <a:off x="8241772" y="2350385"/>
              <a:ext cx="192078" cy="192078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5" name="Group 224">
            <a:extLst>
              <a:ext uri="{FF2B5EF4-FFF2-40B4-BE49-F238E27FC236}">
                <a16:creationId xmlns:a16="http://schemas.microsoft.com/office/drawing/2014/main" id="{8F8D1ED3-2736-4D2C-B00A-D1212439100F}"/>
              </a:ext>
            </a:extLst>
          </p:cNvPr>
          <p:cNvGrpSpPr/>
          <p:nvPr/>
        </p:nvGrpSpPr>
        <p:grpSpPr>
          <a:xfrm>
            <a:off x="5423355" y="2893976"/>
            <a:ext cx="1070049" cy="1070049"/>
            <a:chOff x="7627217" y="1716585"/>
            <a:chExt cx="825878" cy="825878"/>
          </a:xfrm>
        </p:grpSpPr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05CAC969-8FC2-4EB6-A79E-07BF05376F52}"/>
                </a:ext>
              </a:extLst>
            </p:cNvPr>
            <p:cNvSpPr/>
            <p:nvPr/>
          </p:nvSpPr>
          <p:spPr>
            <a:xfrm>
              <a:off x="7627217" y="1716585"/>
              <a:ext cx="825878" cy="82587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7" name="Oval 226">
              <a:extLst>
                <a:ext uri="{FF2B5EF4-FFF2-40B4-BE49-F238E27FC236}">
                  <a16:creationId xmlns:a16="http://schemas.microsoft.com/office/drawing/2014/main" id="{41BD4277-4EE9-4E53-B276-513588161F26}"/>
                </a:ext>
              </a:extLst>
            </p:cNvPr>
            <p:cNvSpPr/>
            <p:nvPr/>
          </p:nvSpPr>
          <p:spPr>
            <a:xfrm>
              <a:off x="8241772" y="2350385"/>
              <a:ext cx="192078" cy="1920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8" name="Group 227">
            <a:extLst>
              <a:ext uri="{FF2B5EF4-FFF2-40B4-BE49-F238E27FC236}">
                <a16:creationId xmlns:a16="http://schemas.microsoft.com/office/drawing/2014/main" id="{19BB436D-4280-40CC-9A5B-509DBD00BCEA}"/>
              </a:ext>
            </a:extLst>
          </p:cNvPr>
          <p:cNvGrpSpPr/>
          <p:nvPr/>
        </p:nvGrpSpPr>
        <p:grpSpPr>
          <a:xfrm>
            <a:off x="4994811" y="4944308"/>
            <a:ext cx="1070049" cy="1070049"/>
            <a:chOff x="7627217" y="1716585"/>
            <a:chExt cx="825878" cy="825878"/>
          </a:xfrm>
        </p:grpSpPr>
        <p:sp>
          <p:nvSpPr>
            <p:cNvPr id="229" name="Oval 228">
              <a:extLst>
                <a:ext uri="{FF2B5EF4-FFF2-40B4-BE49-F238E27FC236}">
                  <a16:creationId xmlns:a16="http://schemas.microsoft.com/office/drawing/2014/main" id="{51879BCF-6A94-42EF-92DF-9969D9350198}"/>
                </a:ext>
              </a:extLst>
            </p:cNvPr>
            <p:cNvSpPr/>
            <p:nvPr/>
          </p:nvSpPr>
          <p:spPr>
            <a:xfrm>
              <a:off x="7627217" y="1716585"/>
              <a:ext cx="825878" cy="82587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0" name="Oval 229">
              <a:extLst>
                <a:ext uri="{FF2B5EF4-FFF2-40B4-BE49-F238E27FC236}">
                  <a16:creationId xmlns:a16="http://schemas.microsoft.com/office/drawing/2014/main" id="{A290477A-95C3-4F21-81B7-A58AA4AD9D9E}"/>
                </a:ext>
              </a:extLst>
            </p:cNvPr>
            <p:cNvSpPr/>
            <p:nvPr/>
          </p:nvSpPr>
          <p:spPr>
            <a:xfrm>
              <a:off x="8241772" y="2350385"/>
              <a:ext cx="192078" cy="192078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35" name="TextBox 234">
            <a:extLst>
              <a:ext uri="{FF2B5EF4-FFF2-40B4-BE49-F238E27FC236}">
                <a16:creationId xmlns:a16="http://schemas.microsoft.com/office/drawing/2014/main" id="{F8AC30B2-2A23-40E5-8EFE-8BBD1E7D1149}"/>
              </a:ext>
            </a:extLst>
          </p:cNvPr>
          <p:cNvSpPr txBox="1"/>
          <p:nvPr/>
        </p:nvSpPr>
        <p:spPr>
          <a:xfrm>
            <a:off x="6285868" y="1055503"/>
            <a:ext cx="4335882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A0240E70-8440-491F-ABF0-3F7A94F0601C}"/>
              </a:ext>
            </a:extLst>
          </p:cNvPr>
          <p:cNvSpPr txBox="1"/>
          <p:nvPr/>
        </p:nvSpPr>
        <p:spPr>
          <a:xfrm>
            <a:off x="6285868" y="5153622"/>
            <a:ext cx="4335882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FE7F7003-3D1B-472D-A1E5-0DDCD09DCAA5}"/>
              </a:ext>
            </a:extLst>
          </p:cNvPr>
          <p:cNvSpPr txBox="1"/>
          <p:nvPr/>
        </p:nvSpPr>
        <p:spPr>
          <a:xfrm>
            <a:off x="6717981" y="3113415"/>
            <a:ext cx="4335882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grpSp>
        <p:nvGrpSpPr>
          <p:cNvPr id="255" name="Group 254">
            <a:extLst>
              <a:ext uri="{FF2B5EF4-FFF2-40B4-BE49-F238E27FC236}">
                <a16:creationId xmlns:a16="http://schemas.microsoft.com/office/drawing/2014/main" id="{6DA2B9F7-9425-433F-8FF1-8AA9524FB9FD}"/>
              </a:ext>
            </a:extLst>
          </p:cNvPr>
          <p:cNvGrpSpPr/>
          <p:nvPr/>
        </p:nvGrpSpPr>
        <p:grpSpPr>
          <a:xfrm>
            <a:off x="5356956" y="1204829"/>
            <a:ext cx="345758" cy="347679"/>
            <a:chOff x="10455275" y="2498725"/>
            <a:chExt cx="285750" cy="287338"/>
          </a:xfrm>
          <a:solidFill>
            <a:schemeClr val="bg1"/>
          </a:solidFill>
        </p:grpSpPr>
        <p:sp>
          <p:nvSpPr>
            <p:cNvPr id="256" name="Freeform 214">
              <a:extLst>
                <a:ext uri="{FF2B5EF4-FFF2-40B4-BE49-F238E27FC236}">
                  <a16:creationId xmlns:a16="http://schemas.microsoft.com/office/drawing/2014/main" id="{0DA9DA44-535C-4298-8985-17DEF6A469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55275" y="2593975"/>
              <a:ext cx="285750" cy="192088"/>
            </a:xfrm>
            <a:custGeom>
              <a:avLst/>
              <a:gdLst>
                <a:gd name="T0" fmla="*/ 812 w 903"/>
                <a:gd name="T1" fmla="*/ 30 h 601"/>
                <a:gd name="T2" fmla="*/ 512 w 903"/>
                <a:gd name="T3" fmla="*/ 571 h 601"/>
                <a:gd name="T4" fmla="*/ 602 w 903"/>
                <a:gd name="T5" fmla="*/ 571 h 601"/>
                <a:gd name="T6" fmla="*/ 301 w 903"/>
                <a:gd name="T7" fmla="*/ 210 h 601"/>
                <a:gd name="T8" fmla="*/ 301 w 903"/>
                <a:gd name="T9" fmla="*/ 571 h 601"/>
                <a:gd name="T10" fmla="*/ 181 w 903"/>
                <a:gd name="T11" fmla="*/ 421 h 601"/>
                <a:gd name="T12" fmla="*/ 888 w 903"/>
                <a:gd name="T13" fmla="*/ 571 h 601"/>
                <a:gd name="T14" fmla="*/ 842 w 903"/>
                <a:gd name="T15" fmla="*/ 12 h 601"/>
                <a:gd name="T16" fmla="*/ 838 w 903"/>
                <a:gd name="T17" fmla="*/ 5 h 601"/>
                <a:gd name="T18" fmla="*/ 830 w 903"/>
                <a:gd name="T19" fmla="*/ 0 h 601"/>
                <a:gd name="T20" fmla="*/ 704 w 903"/>
                <a:gd name="T21" fmla="*/ 0 h 601"/>
                <a:gd name="T22" fmla="*/ 696 w 903"/>
                <a:gd name="T23" fmla="*/ 5 h 601"/>
                <a:gd name="T24" fmla="*/ 692 w 903"/>
                <a:gd name="T25" fmla="*/ 12 h 601"/>
                <a:gd name="T26" fmla="*/ 632 w 903"/>
                <a:gd name="T27" fmla="*/ 571 h 601"/>
                <a:gd name="T28" fmla="*/ 631 w 903"/>
                <a:gd name="T29" fmla="*/ 280 h 601"/>
                <a:gd name="T30" fmla="*/ 626 w 903"/>
                <a:gd name="T31" fmla="*/ 274 h 601"/>
                <a:gd name="T32" fmla="*/ 617 w 903"/>
                <a:gd name="T33" fmla="*/ 270 h 601"/>
                <a:gd name="T34" fmla="*/ 491 w 903"/>
                <a:gd name="T35" fmla="*/ 271 h 601"/>
                <a:gd name="T36" fmla="*/ 484 w 903"/>
                <a:gd name="T37" fmla="*/ 278 h 601"/>
                <a:gd name="T38" fmla="*/ 482 w 903"/>
                <a:gd name="T39" fmla="*/ 285 h 601"/>
                <a:gd name="T40" fmla="*/ 421 w 903"/>
                <a:gd name="T41" fmla="*/ 195 h 601"/>
                <a:gd name="T42" fmla="*/ 419 w 903"/>
                <a:gd name="T43" fmla="*/ 187 h 601"/>
                <a:gd name="T44" fmla="*/ 412 w 903"/>
                <a:gd name="T45" fmla="*/ 181 h 601"/>
                <a:gd name="T46" fmla="*/ 286 w 903"/>
                <a:gd name="T47" fmla="*/ 180 h 601"/>
                <a:gd name="T48" fmla="*/ 277 w 903"/>
                <a:gd name="T49" fmla="*/ 184 h 601"/>
                <a:gd name="T50" fmla="*/ 272 w 903"/>
                <a:gd name="T51" fmla="*/ 190 h 601"/>
                <a:gd name="T52" fmla="*/ 271 w 903"/>
                <a:gd name="T53" fmla="*/ 571 h 601"/>
                <a:gd name="T54" fmla="*/ 211 w 903"/>
                <a:gd name="T55" fmla="*/ 403 h 601"/>
                <a:gd name="T56" fmla="*/ 207 w 903"/>
                <a:gd name="T57" fmla="*/ 396 h 601"/>
                <a:gd name="T58" fmla="*/ 199 w 903"/>
                <a:gd name="T59" fmla="*/ 391 h 601"/>
                <a:gd name="T60" fmla="*/ 73 w 903"/>
                <a:gd name="T61" fmla="*/ 391 h 601"/>
                <a:gd name="T62" fmla="*/ 65 w 903"/>
                <a:gd name="T63" fmla="*/ 396 h 601"/>
                <a:gd name="T64" fmla="*/ 61 w 903"/>
                <a:gd name="T65" fmla="*/ 403 h 601"/>
                <a:gd name="T66" fmla="*/ 16 w 903"/>
                <a:gd name="T67" fmla="*/ 571 h 601"/>
                <a:gd name="T68" fmla="*/ 7 w 903"/>
                <a:gd name="T69" fmla="*/ 573 h 601"/>
                <a:gd name="T70" fmla="*/ 2 w 903"/>
                <a:gd name="T71" fmla="*/ 581 h 601"/>
                <a:gd name="T72" fmla="*/ 1 w 903"/>
                <a:gd name="T73" fmla="*/ 590 h 601"/>
                <a:gd name="T74" fmla="*/ 5 w 903"/>
                <a:gd name="T75" fmla="*/ 597 h 601"/>
                <a:gd name="T76" fmla="*/ 13 w 903"/>
                <a:gd name="T77" fmla="*/ 601 h 601"/>
                <a:gd name="T78" fmla="*/ 196 w 903"/>
                <a:gd name="T79" fmla="*/ 601 h 601"/>
                <a:gd name="T80" fmla="*/ 497 w 903"/>
                <a:gd name="T81" fmla="*/ 601 h 601"/>
                <a:gd name="T82" fmla="*/ 827 w 903"/>
                <a:gd name="T83" fmla="*/ 601 h 601"/>
                <a:gd name="T84" fmla="*/ 893 w 903"/>
                <a:gd name="T85" fmla="*/ 600 h 601"/>
                <a:gd name="T86" fmla="*/ 900 w 903"/>
                <a:gd name="T87" fmla="*/ 595 h 601"/>
                <a:gd name="T88" fmla="*/ 903 w 903"/>
                <a:gd name="T89" fmla="*/ 586 h 601"/>
                <a:gd name="T90" fmla="*/ 900 w 903"/>
                <a:gd name="T91" fmla="*/ 578 h 601"/>
                <a:gd name="T92" fmla="*/ 893 w 903"/>
                <a:gd name="T93" fmla="*/ 572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3" h="601">
                  <a:moveTo>
                    <a:pt x="722" y="571"/>
                  </a:moveTo>
                  <a:lnTo>
                    <a:pt x="722" y="30"/>
                  </a:lnTo>
                  <a:lnTo>
                    <a:pt x="812" y="30"/>
                  </a:lnTo>
                  <a:lnTo>
                    <a:pt x="812" y="571"/>
                  </a:lnTo>
                  <a:lnTo>
                    <a:pt x="722" y="571"/>
                  </a:lnTo>
                  <a:close/>
                  <a:moveTo>
                    <a:pt x="512" y="571"/>
                  </a:moveTo>
                  <a:lnTo>
                    <a:pt x="512" y="300"/>
                  </a:lnTo>
                  <a:lnTo>
                    <a:pt x="602" y="300"/>
                  </a:lnTo>
                  <a:lnTo>
                    <a:pt x="602" y="571"/>
                  </a:lnTo>
                  <a:lnTo>
                    <a:pt x="512" y="571"/>
                  </a:lnTo>
                  <a:close/>
                  <a:moveTo>
                    <a:pt x="301" y="571"/>
                  </a:moveTo>
                  <a:lnTo>
                    <a:pt x="301" y="210"/>
                  </a:lnTo>
                  <a:lnTo>
                    <a:pt x="391" y="210"/>
                  </a:lnTo>
                  <a:lnTo>
                    <a:pt x="391" y="571"/>
                  </a:lnTo>
                  <a:lnTo>
                    <a:pt x="301" y="571"/>
                  </a:lnTo>
                  <a:close/>
                  <a:moveTo>
                    <a:pt x="91" y="571"/>
                  </a:moveTo>
                  <a:lnTo>
                    <a:pt x="91" y="421"/>
                  </a:lnTo>
                  <a:lnTo>
                    <a:pt x="181" y="421"/>
                  </a:lnTo>
                  <a:lnTo>
                    <a:pt x="181" y="571"/>
                  </a:lnTo>
                  <a:lnTo>
                    <a:pt x="91" y="571"/>
                  </a:lnTo>
                  <a:close/>
                  <a:moveTo>
                    <a:pt x="888" y="571"/>
                  </a:moveTo>
                  <a:lnTo>
                    <a:pt x="842" y="571"/>
                  </a:lnTo>
                  <a:lnTo>
                    <a:pt x="842" y="15"/>
                  </a:lnTo>
                  <a:lnTo>
                    <a:pt x="842" y="12"/>
                  </a:lnTo>
                  <a:lnTo>
                    <a:pt x="841" y="9"/>
                  </a:lnTo>
                  <a:lnTo>
                    <a:pt x="840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3" y="1"/>
                  </a:lnTo>
                  <a:lnTo>
                    <a:pt x="830" y="0"/>
                  </a:lnTo>
                  <a:lnTo>
                    <a:pt x="827" y="0"/>
                  </a:lnTo>
                  <a:lnTo>
                    <a:pt x="707" y="0"/>
                  </a:lnTo>
                  <a:lnTo>
                    <a:pt x="704" y="0"/>
                  </a:lnTo>
                  <a:lnTo>
                    <a:pt x="702" y="1"/>
                  </a:lnTo>
                  <a:lnTo>
                    <a:pt x="698" y="3"/>
                  </a:lnTo>
                  <a:lnTo>
                    <a:pt x="696" y="5"/>
                  </a:lnTo>
                  <a:lnTo>
                    <a:pt x="694" y="7"/>
                  </a:lnTo>
                  <a:lnTo>
                    <a:pt x="693" y="9"/>
                  </a:lnTo>
                  <a:lnTo>
                    <a:pt x="692" y="12"/>
                  </a:lnTo>
                  <a:lnTo>
                    <a:pt x="692" y="15"/>
                  </a:lnTo>
                  <a:lnTo>
                    <a:pt x="692" y="571"/>
                  </a:lnTo>
                  <a:lnTo>
                    <a:pt x="632" y="571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1" y="280"/>
                  </a:lnTo>
                  <a:lnTo>
                    <a:pt x="630" y="278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2" y="271"/>
                  </a:lnTo>
                  <a:lnTo>
                    <a:pt x="620" y="271"/>
                  </a:lnTo>
                  <a:lnTo>
                    <a:pt x="617" y="270"/>
                  </a:lnTo>
                  <a:lnTo>
                    <a:pt x="497" y="270"/>
                  </a:lnTo>
                  <a:lnTo>
                    <a:pt x="494" y="271"/>
                  </a:lnTo>
                  <a:lnTo>
                    <a:pt x="491" y="271"/>
                  </a:lnTo>
                  <a:lnTo>
                    <a:pt x="488" y="274"/>
                  </a:lnTo>
                  <a:lnTo>
                    <a:pt x="486" y="275"/>
                  </a:lnTo>
                  <a:lnTo>
                    <a:pt x="484" y="278"/>
                  </a:lnTo>
                  <a:lnTo>
                    <a:pt x="483" y="280"/>
                  </a:lnTo>
                  <a:lnTo>
                    <a:pt x="482" y="283"/>
                  </a:lnTo>
                  <a:lnTo>
                    <a:pt x="482" y="285"/>
                  </a:lnTo>
                  <a:lnTo>
                    <a:pt x="482" y="571"/>
                  </a:lnTo>
                  <a:lnTo>
                    <a:pt x="421" y="571"/>
                  </a:lnTo>
                  <a:lnTo>
                    <a:pt x="421" y="195"/>
                  </a:lnTo>
                  <a:lnTo>
                    <a:pt x="421" y="192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4"/>
                  </a:lnTo>
                  <a:lnTo>
                    <a:pt x="412" y="181"/>
                  </a:lnTo>
                  <a:lnTo>
                    <a:pt x="409" y="180"/>
                  </a:lnTo>
                  <a:lnTo>
                    <a:pt x="406" y="180"/>
                  </a:lnTo>
                  <a:lnTo>
                    <a:pt x="286" y="180"/>
                  </a:lnTo>
                  <a:lnTo>
                    <a:pt x="283" y="180"/>
                  </a:lnTo>
                  <a:lnTo>
                    <a:pt x="281" y="181"/>
                  </a:lnTo>
                  <a:lnTo>
                    <a:pt x="277" y="184"/>
                  </a:lnTo>
                  <a:lnTo>
                    <a:pt x="275" y="185"/>
                  </a:lnTo>
                  <a:lnTo>
                    <a:pt x="274" y="187"/>
                  </a:lnTo>
                  <a:lnTo>
                    <a:pt x="272" y="190"/>
                  </a:lnTo>
                  <a:lnTo>
                    <a:pt x="271" y="192"/>
                  </a:lnTo>
                  <a:lnTo>
                    <a:pt x="271" y="195"/>
                  </a:lnTo>
                  <a:lnTo>
                    <a:pt x="271" y="571"/>
                  </a:lnTo>
                  <a:lnTo>
                    <a:pt x="211" y="571"/>
                  </a:lnTo>
                  <a:lnTo>
                    <a:pt x="211" y="406"/>
                  </a:lnTo>
                  <a:lnTo>
                    <a:pt x="211" y="403"/>
                  </a:lnTo>
                  <a:lnTo>
                    <a:pt x="210" y="400"/>
                  </a:lnTo>
                  <a:lnTo>
                    <a:pt x="209" y="398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2"/>
                  </a:lnTo>
                  <a:lnTo>
                    <a:pt x="199" y="391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1"/>
                  </a:lnTo>
                  <a:lnTo>
                    <a:pt x="70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8"/>
                  </a:lnTo>
                  <a:lnTo>
                    <a:pt x="62" y="400"/>
                  </a:lnTo>
                  <a:lnTo>
                    <a:pt x="61" y="403"/>
                  </a:lnTo>
                  <a:lnTo>
                    <a:pt x="61" y="406"/>
                  </a:lnTo>
                  <a:lnTo>
                    <a:pt x="61" y="571"/>
                  </a:lnTo>
                  <a:lnTo>
                    <a:pt x="16" y="571"/>
                  </a:lnTo>
                  <a:lnTo>
                    <a:pt x="13" y="571"/>
                  </a:lnTo>
                  <a:lnTo>
                    <a:pt x="10" y="572"/>
                  </a:lnTo>
                  <a:lnTo>
                    <a:pt x="7" y="573"/>
                  </a:lnTo>
                  <a:lnTo>
                    <a:pt x="5" y="576"/>
                  </a:lnTo>
                  <a:lnTo>
                    <a:pt x="3" y="578"/>
                  </a:lnTo>
                  <a:lnTo>
                    <a:pt x="2" y="581"/>
                  </a:lnTo>
                  <a:lnTo>
                    <a:pt x="1" y="583"/>
                  </a:lnTo>
                  <a:lnTo>
                    <a:pt x="0" y="586"/>
                  </a:lnTo>
                  <a:lnTo>
                    <a:pt x="1" y="590"/>
                  </a:lnTo>
                  <a:lnTo>
                    <a:pt x="2" y="593"/>
                  </a:lnTo>
                  <a:lnTo>
                    <a:pt x="3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10" y="600"/>
                  </a:lnTo>
                  <a:lnTo>
                    <a:pt x="13" y="601"/>
                  </a:lnTo>
                  <a:lnTo>
                    <a:pt x="16" y="601"/>
                  </a:lnTo>
                  <a:lnTo>
                    <a:pt x="76" y="601"/>
                  </a:lnTo>
                  <a:lnTo>
                    <a:pt x="196" y="601"/>
                  </a:lnTo>
                  <a:lnTo>
                    <a:pt x="286" y="601"/>
                  </a:lnTo>
                  <a:lnTo>
                    <a:pt x="406" y="601"/>
                  </a:lnTo>
                  <a:lnTo>
                    <a:pt x="497" y="601"/>
                  </a:lnTo>
                  <a:lnTo>
                    <a:pt x="617" y="601"/>
                  </a:lnTo>
                  <a:lnTo>
                    <a:pt x="707" y="601"/>
                  </a:lnTo>
                  <a:lnTo>
                    <a:pt x="827" y="601"/>
                  </a:lnTo>
                  <a:lnTo>
                    <a:pt x="888" y="601"/>
                  </a:lnTo>
                  <a:lnTo>
                    <a:pt x="890" y="601"/>
                  </a:lnTo>
                  <a:lnTo>
                    <a:pt x="893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900" y="595"/>
                  </a:lnTo>
                  <a:lnTo>
                    <a:pt x="901" y="593"/>
                  </a:lnTo>
                  <a:lnTo>
                    <a:pt x="902" y="590"/>
                  </a:lnTo>
                  <a:lnTo>
                    <a:pt x="903" y="586"/>
                  </a:lnTo>
                  <a:lnTo>
                    <a:pt x="902" y="583"/>
                  </a:lnTo>
                  <a:lnTo>
                    <a:pt x="901" y="581"/>
                  </a:lnTo>
                  <a:lnTo>
                    <a:pt x="900" y="578"/>
                  </a:lnTo>
                  <a:lnTo>
                    <a:pt x="898" y="576"/>
                  </a:lnTo>
                  <a:lnTo>
                    <a:pt x="896" y="573"/>
                  </a:lnTo>
                  <a:lnTo>
                    <a:pt x="893" y="572"/>
                  </a:lnTo>
                  <a:lnTo>
                    <a:pt x="890" y="571"/>
                  </a:lnTo>
                  <a:lnTo>
                    <a:pt x="888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215">
              <a:extLst>
                <a:ext uri="{FF2B5EF4-FFF2-40B4-BE49-F238E27FC236}">
                  <a16:creationId xmlns:a16="http://schemas.microsoft.com/office/drawing/2014/main" id="{82B1B54F-FAF6-4D01-84DD-E035BBA38F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74325" y="2498725"/>
              <a:ext cx="252413" cy="157163"/>
            </a:xfrm>
            <a:custGeom>
              <a:avLst/>
              <a:gdLst>
                <a:gd name="T0" fmla="*/ 83 w 796"/>
                <a:gd name="T1" fmla="*/ 417 h 496"/>
                <a:gd name="T2" fmla="*/ 89 w 796"/>
                <a:gd name="T3" fmla="*/ 431 h 496"/>
                <a:gd name="T4" fmla="*/ 76 w 796"/>
                <a:gd name="T5" fmla="*/ 461 h 496"/>
                <a:gd name="T6" fmla="*/ 43 w 796"/>
                <a:gd name="T7" fmla="*/ 461 h 496"/>
                <a:gd name="T8" fmla="*/ 30 w 796"/>
                <a:gd name="T9" fmla="*/ 430 h 496"/>
                <a:gd name="T10" fmla="*/ 54 w 796"/>
                <a:gd name="T11" fmla="*/ 407 h 496"/>
                <a:gd name="T12" fmla="*/ 302 w 796"/>
                <a:gd name="T13" fmla="*/ 216 h 496"/>
                <a:gd name="T14" fmla="*/ 315 w 796"/>
                <a:gd name="T15" fmla="*/ 247 h 496"/>
                <a:gd name="T16" fmla="*/ 291 w 796"/>
                <a:gd name="T17" fmla="*/ 270 h 496"/>
                <a:gd name="T18" fmla="*/ 260 w 796"/>
                <a:gd name="T19" fmla="*/ 257 h 496"/>
                <a:gd name="T20" fmla="*/ 260 w 796"/>
                <a:gd name="T21" fmla="*/ 224 h 496"/>
                <a:gd name="T22" fmla="*/ 511 w 796"/>
                <a:gd name="T23" fmla="*/ 301 h 496"/>
                <a:gd name="T24" fmla="*/ 530 w 796"/>
                <a:gd name="T25" fmla="*/ 308 h 496"/>
                <a:gd name="T26" fmla="*/ 541 w 796"/>
                <a:gd name="T27" fmla="*/ 331 h 496"/>
                <a:gd name="T28" fmla="*/ 523 w 796"/>
                <a:gd name="T29" fmla="*/ 359 h 496"/>
                <a:gd name="T30" fmla="*/ 490 w 796"/>
                <a:gd name="T31" fmla="*/ 353 h 496"/>
                <a:gd name="T32" fmla="*/ 483 w 796"/>
                <a:gd name="T33" fmla="*/ 320 h 496"/>
                <a:gd name="T34" fmla="*/ 511 w 796"/>
                <a:gd name="T35" fmla="*/ 301 h 496"/>
                <a:gd name="T36" fmla="*/ 757 w 796"/>
                <a:gd name="T37" fmla="*/ 39 h 496"/>
                <a:gd name="T38" fmla="*/ 764 w 796"/>
                <a:gd name="T39" fmla="*/ 72 h 496"/>
                <a:gd name="T40" fmla="*/ 736 w 796"/>
                <a:gd name="T41" fmla="*/ 90 h 496"/>
                <a:gd name="T42" fmla="*/ 708 w 796"/>
                <a:gd name="T43" fmla="*/ 72 h 496"/>
                <a:gd name="T44" fmla="*/ 716 w 796"/>
                <a:gd name="T45" fmla="*/ 39 h 496"/>
                <a:gd name="T46" fmla="*/ 60 w 796"/>
                <a:gd name="T47" fmla="*/ 496 h 496"/>
                <a:gd name="T48" fmla="*/ 93 w 796"/>
                <a:gd name="T49" fmla="*/ 487 h 496"/>
                <a:gd name="T50" fmla="*/ 115 w 796"/>
                <a:gd name="T51" fmla="*/ 460 h 496"/>
                <a:gd name="T52" fmla="*/ 118 w 796"/>
                <a:gd name="T53" fmla="*/ 422 h 496"/>
                <a:gd name="T54" fmla="*/ 276 w 796"/>
                <a:gd name="T55" fmla="*/ 300 h 496"/>
                <a:gd name="T56" fmla="*/ 318 w 796"/>
                <a:gd name="T57" fmla="*/ 291 h 496"/>
                <a:gd name="T58" fmla="*/ 451 w 796"/>
                <a:gd name="T59" fmla="*/ 331 h 496"/>
                <a:gd name="T60" fmla="*/ 461 w 796"/>
                <a:gd name="T61" fmla="*/ 365 h 496"/>
                <a:gd name="T62" fmla="*/ 487 w 796"/>
                <a:gd name="T63" fmla="*/ 387 h 496"/>
                <a:gd name="T64" fmla="*/ 523 w 796"/>
                <a:gd name="T65" fmla="*/ 390 h 496"/>
                <a:gd name="T66" fmla="*/ 554 w 796"/>
                <a:gd name="T67" fmla="*/ 373 h 496"/>
                <a:gd name="T68" fmla="*/ 570 w 796"/>
                <a:gd name="T69" fmla="*/ 343 h 496"/>
                <a:gd name="T70" fmla="*/ 559 w 796"/>
                <a:gd name="T71" fmla="*/ 296 h 496"/>
                <a:gd name="T72" fmla="*/ 742 w 796"/>
                <a:gd name="T73" fmla="*/ 120 h 496"/>
                <a:gd name="T74" fmla="*/ 775 w 796"/>
                <a:gd name="T75" fmla="*/ 106 h 496"/>
                <a:gd name="T76" fmla="*/ 794 w 796"/>
                <a:gd name="T77" fmla="*/ 79 h 496"/>
                <a:gd name="T78" fmla="*/ 794 w 796"/>
                <a:gd name="T79" fmla="*/ 43 h 496"/>
                <a:gd name="T80" fmla="*/ 775 w 796"/>
                <a:gd name="T81" fmla="*/ 14 h 496"/>
                <a:gd name="T82" fmla="*/ 742 w 796"/>
                <a:gd name="T83" fmla="*/ 0 h 496"/>
                <a:gd name="T84" fmla="*/ 708 w 796"/>
                <a:gd name="T85" fmla="*/ 8 h 496"/>
                <a:gd name="T86" fmla="*/ 683 w 796"/>
                <a:gd name="T87" fmla="*/ 31 h 496"/>
                <a:gd name="T88" fmla="*/ 677 w 796"/>
                <a:gd name="T89" fmla="*/ 70 h 496"/>
                <a:gd name="T90" fmla="*/ 524 w 796"/>
                <a:gd name="T91" fmla="*/ 272 h 496"/>
                <a:gd name="T92" fmla="*/ 483 w 796"/>
                <a:gd name="T93" fmla="*/ 278 h 496"/>
                <a:gd name="T94" fmla="*/ 345 w 796"/>
                <a:gd name="T95" fmla="*/ 245 h 496"/>
                <a:gd name="T96" fmla="*/ 339 w 796"/>
                <a:gd name="T97" fmla="*/ 212 h 496"/>
                <a:gd name="T98" fmla="*/ 314 w 796"/>
                <a:gd name="T99" fmla="*/ 188 h 496"/>
                <a:gd name="T100" fmla="*/ 280 w 796"/>
                <a:gd name="T101" fmla="*/ 181 h 496"/>
                <a:gd name="T102" fmla="*/ 247 w 796"/>
                <a:gd name="T103" fmla="*/ 194 h 496"/>
                <a:gd name="T104" fmla="*/ 228 w 796"/>
                <a:gd name="T105" fmla="*/ 223 h 496"/>
                <a:gd name="T106" fmla="*/ 229 w 796"/>
                <a:gd name="T107" fmla="*/ 262 h 496"/>
                <a:gd name="T108" fmla="*/ 60 w 796"/>
                <a:gd name="T109" fmla="*/ 376 h 496"/>
                <a:gd name="T110" fmla="*/ 26 w 796"/>
                <a:gd name="T111" fmla="*/ 387 h 496"/>
                <a:gd name="T112" fmla="*/ 4 w 796"/>
                <a:gd name="T113" fmla="*/ 413 h 496"/>
                <a:gd name="T114" fmla="*/ 1 w 796"/>
                <a:gd name="T115" fmla="*/ 448 h 496"/>
                <a:gd name="T116" fmla="*/ 17 w 796"/>
                <a:gd name="T117" fmla="*/ 479 h 496"/>
                <a:gd name="T118" fmla="*/ 47 w 796"/>
                <a:gd name="T119" fmla="*/ 495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96" h="496">
                  <a:moveTo>
                    <a:pt x="60" y="406"/>
                  </a:moveTo>
                  <a:lnTo>
                    <a:pt x="66" y="407"/>
                  </a:lnTo>
                  <a:lnTo>
                    <a:pt x="73" y="410"/>
                  </a:lnTo>
                  <a:lnTo>
                    <a:pt x="78" y="413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6" y="421"/>
                  </a:lnTo>
                  <a:lnTo>
                    <a:pt x="88" y="426"/>
                  </a:lnTo>
                  <a:lnTo>
                    <a:pt x="89" y="431"/>
                  </a:lnTo>
                  <a:lnTo>
                    <a:pt x="90" y="436"/>
                  </a:lnTo>
                  <a:lnTo>
                    <a:pt x="89" y="443"/>
                  </a:lnTo>
                  <a:lnTo>
                    <a:pt x="88" y="448"/>
                  </a:lnTo>
                  <a:lnTo>
                    <a:pt x="85" y="453"/>
                  </a:lnTo>
                  <a:lnTo>
                    <a:pt x="81" y="458"/>
                  </a:lnTo>
                  <a:lnTo>
                    <a:pt x="76" y="461"/>
                  </a:lnTo>
                  <a:lnTo>
                    <a:pt x="72" y="464"/>
                  </a:lnTo>
                  <a:lnTo>
                    <a:pt x="65" y="466"/>
                  </a:lnTo>
                  <a:lnTo>
                    <a:pt x="60" y="466"/>
                  </a:lnTo>
                  <a:lnTo>
                    <a:pt x="54" y="466"/>
                  </a:lnTo>
                  <a:lnTo>
                    <a:pt x="48" y="464"/>
                  </a:lnTo>
                  <a:lnTo>
                    <a:pt x="43" y="461"/>
                  </a:lnTo>
                  <a:lnTo>
                    <a:pt x="39" y="458"/>
                  </a:lnTo>
                  <a:lnTo>
                    <a:pt x="34" y="453"/>
                  </a:lnTo>
                  <a:lnTo>
                    <a:pt x="32" y="448"/>
                  </a:lnTo>
                  <a:lnTo>
                    <a:pt x="30" y="443"/>
                  </a:lnTo>
                  <a:lnTo>
                    <a:pt x="30" y="436"/>
                  </a:lnTo>
                  <a:lnTo>
                    <a:pt x="30" y="430"/>
                  </a:lnTo>
                  <a:lnTo>
                    <a:pt x="32" y="425"/>
                  </a:lnTo>
                  <a:lnTo>
                    <a:pt x="34" y="419"/>
                  </a:lnTo>
                  <a:lnTo>
                    <a:pt x="39" y="415"/>
                  </a:lnTo>
                  <a:lnTo>
                    <a:pt x="43" y="412"/>
                  </a:lnTo>
                  <a:lnTo>
                    <a:pt x="48" y="409"/>
                  </a:lnTo>
                  <a:lnTo>
                    <a:pt x="54" y="407"/>
                  </a:lnTo>
                  <a:lnTo>
                    <a:pt x="60" y="406"/>
                  </a:lnTo>
                  <a:lnTo>
                    <a:pt x="60" y="406"/>
                  </a:lnTo>
                  <a:close/>
                  <a:moveTo>
                    <a:pt x="285" y="211"/>
                  </a:moveTo>
                  <a:lnTo>
                    <a:pt x="291" y="211"/>
                  </a:lnTo>
                  <a:lnTo>
                    <a:pt x="297" y="214"/>
                  </a:lnTo>
                  <a:lnTo>
                    <a:pt x="302" y="216"/>
                  </a:lnTo>
                  <a:lnTo>
                    <a:pt x="306" y="220"/>
                  </a:lnTo>
                  <a:lnTo>
                    <a:pt x="311" y="224"/>
                  </a:lnTo>
                  <a:lnTo>
                    <a:pt x="313" y="230"/>
                  </a:lnTo>
                  <a:lnTo>
                    <a:pt x="315" y="235"/>
                  </a:lnTo>
                  <a:lnTo>
                    <a:pt x="315" y="241"/>
                  </a:lnTo>
                  <a:lnTo>
                    <a:pt x="315" y="247"/>
                  </a:lnTo>
                  <a:lnTo>
                    <a:pt x="313" y="253"/>
                  </a:lnTo>
                  <a:lnTo>
                    <a:pt x="311" y="257"/>
                  </a:lnTo>
                  <a:lnTo>
                    <a:pt x="306" y="262"/>
                  </a:lnTo>
                  <a:lnTo>
                    <a:pt x="302" y="266"/>
                  </a:lnTo>
                  <a:lnTo>
                    <a:pt x="297" y="268"/>
                  </a:lnTo>
                  <a:lnTo>
                    <a:pt x="291" y="270"/>
                  </a:lnTo>
                  <a:lnTo>
                    <a:pt x="285" y="271"/>
                  </a:lnTo>
                  <a:lnTo>
                    <a:pt x="280" y="270"/>
                  </a:lnTo>
                  <a:lnTo>
                    <a:pt x="273" y="268"/>
                  </a:lnTo>
                  <a:lnTo>
                    <a:pt x="269" y="266"/>
                  </a:lnTo>
                  <a:lnTo>
                    <a:pt x="264" y="262"/>
                  </a:lnTo>
                  <a:lnTo>
                    <a:pt x="260" y="257"/>
                  </a:lnTo>
                  <a:lnTo>
                    <a:pt x="257" y="253"/>
                  </a:lnTo>
                  <a:lnTo>
                    <a:pt x="256" y="247"/>
                  </a:lnTo>
                  <a:lnTo>
                    <a:pt x="255" y="241"/>
                  </a:lnTo>
                  <a:lnTo>
                    <a:pt x="256" y="235"/>
                  </a:lnTo>
                  <a:lnTo>
                    <a:pt x="257" y="230"/>
                  </a:lnTo>
                  <a:lnTo>
                    <a:pt x="260" y="224"/>
                  </a:lnTo>
                  <a:lnTo>
                    <a:pt x="264" y="220"/>
                  </a:lnTo>
                  <a:lnTo>
                    <a:pt x="269" y="216"/>
                  </a:lnTo>
                  <a:lnTo>
                    <a:pt x="273" y="214"/>
                  </a:lnTo>
                  <a:lnTo>
                    <a:pt x="280" y="211"/>
                  </a:lnTo>
                  <a:lnTo>
                    <a:pt x="285" y="211"/>
                  </a:lnTo>
                  <a:close/>
                  <a:moveTo>
                    <a:pt x="511" y="301"/>
                  </a:moveTo>
                  <a:lnTo>
                    <a:pt x="516" y="301"/>
                  </a:lnTo>
                  <a:lnTo>
                    <a:pt x="521" y="302"/>
                  </a:lnTo>
                  <a:lnTo>
                    <a:pt x="526" y="306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5" y="313"/>
                  </a:lnTo>
                  <a:lnTo>
                    <a:pt x="538" y="319"/>
                  </a:lnTo>
                  <a:lnTo>
                    <a:pt x="540" y="325"/>
                  </a:lnTo>
                  <a:lnTo>
                    <a:pt x="541" y="331"/>
                  </a:lnTo>
                  <a:lnTo>
                    <a:pt x="540" y="337"/>
                  </a:lnTo>
                  <a:lnTo>
                    <a:pt x="539" y="343"/>
                  </a:lnTo>
                  <a:lnTo>
                    <a:pt x="536" y="347"/>
                  </a:lnTo>
                  <a:lnTo>
                    <a:pt x="532" y="353"/>
                  </a:lnTo>
                  <a:lnTo>
                    <a:pt x="527" y="356"/>
                  </a:lnTo>
                  <a:lnTo>
                    <a:pt x="523" y="359"/>
                  </a:lnTo>
                  <a:lnTo>
                    <a:pt x="516" y="360"/>
                  </a:lnTo>
                  <a:lnTo>
                    <a:pt x="511" y="361"/>
                  </a:lnTo>
                  <a:lnTo>
                    <a:pt x="505" y="360"/>
                  </a:lnTo>
                  <a:lnTo>
                    <a:pt x="499" y="359"/>
                  </a:lnTo>
                  <a:lnTo>
                    <a:pt x="494" y="356"/>
                  </a:lnTo>
                  <a:lnTo>
                    <a:pt x="490" y="353"/>
                  </a:lnTo>
                  <a:lnTo>
                    <a:pt x="486" y="349"/>
                  </a:lnTo>
                  <a:lnTo>
                    <a:pt x="483" y="343"/>
                  </a:lnTo>
                  <a:lnTo>
                    <a:pt x="481" y="337"/>
                  </a:lnTo>
                  <a:lnTo>
                    <a:pt x="481" y="331"/>
                  </a:lnTo>
                  <a:lnTo>
                    <a:pt x="481" y="325"/>
                  </a:lnTo>
                  <a:lnTo>
                    <a:pt x="483" y="320"/>
                  </a:lnTo>
                  <a:lnTo>
                    <a:pt x="486" y="314"/>
                  </a:lnTo>
                  <a:lnTo>
                    <a:pt x="490" y="310"/>
                  </a:lnTo>
                  <a:lnTo>
                    <a:pt x="494" y="307"/>
                  </a:lnTo>
                  <a:lnTo>
                    <a:pt x="499" y="304"/>
                  </a:lnTo>
                  <a:lnTo>
                    <a:pt x="505" y="301"/>
                  </a:lnTo>
                  <a:lnTo>
                    <a:pt x="511" y="301"/>
                  </a:lnTo>
                  <a:lnTo>
                    <a:pt x="511" y="301"/>
                  </a:lnTo>
                  <a:close/>
                  <a:moveTo>
                    <a:pt x="736" y="30"/>
                  </a:moveTo>
                  <a:lnTo>
                    <a:pt x="742" y="31"/>
                  </a:lnTo>
                  <a:lnTo>
                    <a:pt x="748" y="33"/>
                  </a:lnTo>
                  <a:lnTo>
                    <a:pt x="753" y="36"/>
                  </a:lnTo>
                  <a:lnTo>
                    <a:pt x="757" y="39"/>
                  </a:lnTo>
                  <a:lnTo>
                    <a:pt x="762" y="43"/>
                  </a:lnTo>
                  <a:lnTo>
                    <a:pt x="764" y="49"/>
                  </a:lnTo>
                  <a:lnTo>
                    <a:pt x="766" y="55"/>
                  </a:lnTo>
                  <a:lnTo>
                    <a:pt x="766" y="60"/>
                  </a:lnTo>
                  <a:lnTo>
                    <a:pt x="766" y="67"/>
                  </a:lnTo>
                  <a:lnTo>
                    <a:pt x="764" y="72"/>
                  </a:lnTo>
                  <a:lnTo>
                    <a:pt x="762" y="78"/>
                  </a:lnTo>
                  <a:lnTo>
                    <a:pt x="757" y="82"/>
                  </a:lnTo>
                  <a:lnTo>
                    <a:pt x="753" y="85"/>
                  </a:lnTo>
                  <a:lnTo>
                    <a:pt x="748" y="88"/>
                  </a:lnTo>
                  <a:lnTo>
                    <a:pt x="742" y="90"/>
                  </a:lnTo>
                  <a:lnTo>
                    <a:pt x="736" y="90"/>
                  </a:lnTo>
                  <a:lnTo>
                    <a:pt x="731" y="90"/>
                  </a:lnTo>
                  <a:lnTo>
                    <a:pt x="724" y="88"/>
                  </a:lnTo>
                  <a:lnTo>
                    <a:pt x="720" y="85"/>
                  </a:lnTo>
                  <a:lnTo>
                    <a:pt x="716" y="82"/>
                  </a:lnTo>
                  <a:lnTo>
                    <a:pt x="711" y="78"/>
                  </a:lnTo>
                  <a:lnTo>
                    <a:pt x="708" y="72"/>
                  </a:lnTo>
                  <a:lnTo>
                    <a:pt x="707" y="67"/>
                  </a:lnTo>
                  <a:lnTo>
                    <a:pt x="706" y="60"/>
                  </a:lnTo>
                  <a:lnTo>
                    <a:pt x="707" y="55"/>
                  </a:lnTo>
                  <a:lnTo>
                    <a:pt x="708" y="49"/>
                  </a:lnTo>
                  <a:lnTo>
                    <a:pt x="711" y="43"/>
                  </a:lnTo>
                  <a:lnTo>
                    <a:pt x="716" y="39"/>
                  </a:lnTo>
                  <a:lnTo>
                    <a:pt x="720" y="36"/>
                  </a:lnTo>
                  <a:lnTo>
                    <a:pt x="724" y="33"/>
                  </a:lnTo>
                  <a:lnTo>
                    <a:pt x="731" y="31"/>
                  </a:lnTo>
                  <a:lnTo>
                    <a:pt x="736" y="30"/>
                  </a:lnTo>
                  <a:lnTo>
                    <a:pt x="736" y="30"/>
                  </a:lnTo>
                  <a:close/>
                  <a:moveTo>
                    <a:pt x="60" y="496"/>
                  </a:moveTo>
                  <a:lnTo>
                    <a:pt x="66" y="496"/>
                  </a:lnTo>
                  <a:lnTo>
                    <a:pt x="72" y="495"/>
                  </a:lnTo>
                  <a:lnTo>
                    <a:pt x="77" y="494"/>
                  </a:lnTo>
                  <a:lnTo>
                    <a:pt x="84" y="492"/>
                  </a:lnTo>
                  <a:lnTo>
                    <a:pt x="89" y="489"/>
                  </a:lnTo>
                  <a:lnTo>
                    <a:pt x="93" y="487"/>
                  </a:lnTo>
                  <a:lnTo>
                    <a:pt x="98" y="482"/>
                  </a:lnTo>
                  <a:lnTo>
                    <a:pt x="102" y="479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3" y="465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8"/>
                  </a:lnTo>
                  <a:lnTo>
                    <a:pt x="120" y="443"/>
                  </a:lnTo>
                  <a:lnTo>
                    <a:pt x="120" y="436"/>
                  </a:lnTo>
                  <a:lnTo>
                    <a:pt x="119" y="429"/>
                  </a:lnTo>
                  <a:lnTo>
                    <a:pt x="118" y="422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1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6" y="300"/>
                  </a:lnTo>
                  <a:lnTo>
                    <a:pt x="285" y="301"/>
                  </a:lnTo>
                  <a:lnTo>
                    <a:pt x="292" y="300"/>
                  </a:lnTo>
                  <a:lnTo>
                    <a:pt x="300" y="299"/>
                  </a:lnTo>
                  <a:lnTo>
                    <a:pt x="306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6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1"/>
                  </a:lnTo>
                  <a:lnTo>
                    <a:pt x="451" y="338"/>
                  </a:lnTo>
                  <a:lnTo>
                    <a:pt x="452" y="343"/>
                  </a:lnTo>
                  <a:lnTo>
                    <a:pt x="453" y="350"/>
                  </a:lnTo>
                  <a:lnTo>
                    <a:pt x="455" y="355"/>
                  </a:lnTo>
                  <a:lnTo>
                    <a:pt x="457" y="360"/>
                  </a:lnTo>
                  <a:lnTo>
                    <a:pt x="461" y="365"/>
                  </a:lnTo>
                  <a:lnTo>
                    <a:pt x="464" y="370"/>
                  </a:lnTo>
                  <a:lnTo>
                    <a:pt x="468" y="374"/>
                  </a:lnTo>
                  <a:lnTo>
                    <a:pt x="472" y="377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7" y="387"/>
                  </a:lnTo>
                  <a:lnTo>
                    <a:pt x="493" y="388"/>
                  </a:lnTo>
                  <a:lnTo>
                    <a:pt x="498" y="390"/>
                  </a:lnTo>
                  <a:lnTo>
                    <a:pt x="505" y="391"/>
                  </a:lnTo>
                  <a:lnTo>
                    <a:pt x="511" y="391"/>
                  </a:lnTo>
                  <a:lnTo>
                    <a:pt x="517" y="391"/>
                  </a:lnTo>
                  <a:lnTo>
                    <a:pt x="523" y="390"/>
                  </a:lnTo>
                  <a:lnTo>
                    <a:pt x="529" y="388"/>
                  </a:lnTo>
                  <a:lnTo>
                    <a:pt x="535" y="387"/>
                  </a:lnTo>
                  <a:lnTo>
                    <a:pt x="540" y="384"/>
                  </a:lnTo>
                  <a:lnTo>
                    <a:pt x="544" y="381"/>
                  </a:lnTo>
                  <a:lnTo>
                    <a:pt x="550" y="377"/>
                  </a:lnTo>
                  <a:lnTo>
                    <a:pt x="554" y="373"/>
                  </a:lnTo>
                  <a:lnTo>
                    <a:pt x="557" y="370"/>
                  </a:lnTo>
                  <a:lnTo>
                    <a:pt x="560" y="365"/>
                  </a:lnTo>
                  <a:lnTo>
                    <a:pt x="564" y="360"/>
                  </a:lnTo>
                  <a:lnTo>
                    <a:pt x="567" y="355"/>
                  </a:lnTo>
                  <a:lnTo>
                    <a:pt x="568" y="350"/>
                  </a:lnTo>
                  <a:lnTo>
                    <a:pt x="570" y="343"/>
                  </a:lnTo>
                  <a:lnTo>
                    <a:pt x="571" y="338"/>
                  </a:lnTo>
                  <a:lnTo>
                    <a:pt x="571" y="331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59" y="296"/>
                  </a:lnTo>
                  <a:lnTo>
                    <a:pt x="710" y="115"/>
                  </a:lnTo>
                  <a:lnTo>
                    <a:pt x="717" y="117"/>
                  </a:lnTo>
                  <a:lnTo>
                    <a:pt x="723" y="119"/>
                  </a:lnTo>
                  <a:lnTo>
                    <a:pt x="730" y="120"/>
                  </a:lnTo>
                  <a:lnTo>
                    <a:pt x="736" y="120"/>
                  </a:lnTo>
                  <a:lnTo>
                    <a:pt x="742" y="120"/>
                  </a:lnTo>
                  <a:lnTo>
                    <a:pt x="749" y="119"/>
                  </a:lnTo>
                  <a:lnTo>
                    <a:pt x="754" y="118"/>
                  </a:lnTo>
                  <a:lnTo>
                    <a:pt x="760" y="116"/>
                  </a:lnTo>
                  <a:lnTo>
                    <a:pt x="765" y="114"/>
                  </a:lnTo>
                  <a:lnTo>
                    <a:pt x="770" y="111"/>
                  </a:lnTo>
                  <a:lnTo>
                    <a:pt x="775" y="106"/>
                  </a:lnTo>
                  <a:lnTo>
                    <a:pt x="779" y="103"/>
                  </a:lnTo>
                  <a:lnTo>
                    <a:pt x="783" y="99"/>
                  </a:lnTo>
                  <a:lnTo>
                    <a:pt x="786" y="95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4" y="79"/>
                  </a:lnTo>
                  <a:lnTo>
                    <a:pt x="795" y="73"/>
                  </a:lnTo>
                  <a:lnTo>
                    <a:pt x="796" y="67"/>
                  </a:lnTo>
                  <a:lnTo>
                    <a:pt x="796" y="60"/>
                  </a:lnTo>
                  <a:lnTo>
                    <a:pt x="796" y="54"/>
                  </a:lnTo>
                  <a:lnTo>
                    <a:pt x="795" y="49"/>
                  </a:lnTo>
                  <a:lnTo>
                    <a:pt x="794" y="43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6" y="27"/>
                  </a:lnTo>
                  <a:lnTo>
                    <a:pt x="783" y="23"/>
                  </a:lnTo>
                  <a:lnTo>
                    <a:pt x="779" y="19"/>
                  </a:lnTo>
                  <a:lnTo>
                    <a:pt x="775" y="14"/>
                  </a:lnTo>
                  <a:lnTo>
                    <a:pt x="770" y="11"/>
                  </a:lnTo>
                  <a:lnTo>
                    <a:pt x="765" y="8"/>
                  </a:lnTo>
                  <a:lnTo>
                    <a:pt x="760" y="5"/>
                  </a:lnTo>
                  <a:lnTo>
                    <a:pt x="754" y="4"/>
                  </a:lnTo>
                  <a:lnTo>
                    <a:pt x="749" y="1"/>
                  </a:lnTo>
                  <a:lnTo>
                    <a:pt x="742" y="0"/>
                  </a:lnTo>
                  <a:lnTo>
                    <a:pt x="736" y="0"/>
                  </a:lnTo>
                  <a:lnTo>
                    <a:pt x="731" y="0"/>
                  </a:lnTo>
                  <a:lnTo>
                    <a:pt x="724" y="1"/>
                  </a:lnTo>
                  <a:lnTo>
                    <a:pt x="719" y="4"/>
                  </a:lnTo>
                  <a:lnTo>
                    <a:pt x="712" y="5"/>
                  </a:lnTo>
                  <a:lnTo>
                    <a:pt x="708" y="8"/>
                  </a:lnTo>
                  <a:lnTo>
                    <a:pt x="703" y="11"/>
                  </a:lnTo>
                  <a:lnTo>
                    <a:pt x="698" y="14"/>
                  </a:lnTo>
                  <a:lnTo>
                    <a:pt x="694" y="19"/>
                  </a:lnTo>
                  <a:lnTo>
                    <a:pt x="690" y="22"/>
                  </a:lnTo>
                  <a:lnTo>
                    <a:pt x="687" y="27"/>
                  </a:lnTo>
                  <a:lnTo>
                    <a:pt x="683" y="31"/>
                  </a:lnTo>
                  <a:lnTo>
                    <a:pt x="681" y="37"/>
                  </a:lnTo>
                  <a:lnTo>
                    <a:pt x="679" y="43"/>
                  </a:lnTo>
                  <a:lnTo>
                    <a:pt x="677" y="49"/>
                  </a:lnTo>
                  <a:lnTo>
                    <a:pt x="676" y="54"/>
                  </a:lnTo>
                  <a:lnTo>
                    <a:pt x="676" y="60"/>
                  </a:lnTo>
                  <a:lnTo>
                    <a:pt x="677" y="70"/>
                  </a:lnTo>
                  <a:lnTo>
                    <a:pt x="679" y="80"/>
                  </a:lnTo>
                  <a:lnTo>
                    <a:pt x="682" y="88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0" y="275"/>
                  </a:lnTo>
                  <a:lnTo>
                    <a:pt x="524" y="272"/>
                  </a:lnTo>
                  <a:lnTo>
                    <a:pt x="517" y="271"/>
                  </a:lnTo>
                  <a:lnTo>
                    <a:pt x="511" y="271"/>
                  </a:lnTo>
                  <a:lnTo>
                    <a:pt x="504" y="271"/>
                  </a:lnTo>
                  <a:lnTo>
                    <a:pt x="496" y="272"/>
                  </a:lnTo>
                  <a:lnTo>
                    <a:pt x="490" y="275"/>
                  </a:lnTo>
                  <a:lnTo>
                    <a:pt x="483" y="278"/>
                  </a:lnTo>
                  <a:lnTo>
                    <a:pt x="478" y="281"/>
                  </a:lnTo>
                  <a:lnTo>
                    <a:pt x="472" y="285"/>
                  </a:lnTo>
                  <a:lnTo>
                    <a:pt x="467" y="291"/>
                  </a:lnTo>
                  <a:lnTo>
                    <a:pt x="463" y="296"/>
                  </a:lnTo>
                  <a:lnTo>
                    <a:pt x="345" y="249"/>
                  </a:lnTo>
                  <a:lnTo>
                    <a:pt x="345" y="245"/>
                  </a:lnTo>
                  <a:lnTo>
                    <a:pt x="345" y="241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2"/>
                  </a:lnTo>
                  <a:lnTo>
                    <a:pt x="335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2"/>
                  </a:lnTo>
                  <a:lnTo>
                    <a:pt x="291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2"/>
                  </a:lnTo>
                  <a:lnTo>
                    <a:pt x="268" y="184"/>
                  </a:lnTo>
                  <a:lnTo>
                    <a:pt x="261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7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2" y="212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1"/>
                  </a:lnTo>
                  <a:lnTo>
                    <a:pt x="226" y="248"/>
                  </a:lnTo>
                  <a:lnTo>
                    <a:pt x="227" y="255"/>
                  </a:lnTo>
                  <a:lnTo>
                    <a:pt x="229" y="262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3"/>
                  </a:lnTo>
                  <a:lnTo>
                    <a:pt x="78" y="380"/>
                  </a:lnTo>
                  <a:lnTo>
                    <a:pt x="69" y="377"/>
                  </a:lnTo>
                  <a:lnTo>
                    <a:pt x="60" y="376"/>
                  </a:lnTo>
                  <a:lnTo>
                    <a:pt x="54" y="376"/>
                  </a:lnTo>
                  <a:lnTo>
                    <a:pt x="47" y="377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4"/>
                  </a:lnTo>
                  <a:lnTo>
                    <a:pt x="26" y="387"/>
                  </a:lnTo>
                  <a:lnTo>
                    <a:pt x="21" y="390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10" y="403"/>
                  </a:lnTo>
                  <a:lnTo>
                    <a:pt x="6" y="407"/>
                  </a:lnTo>
                  <a:lnTo>
                    <a:pt x="4" y="413"/>
                  </a:lnTo>
                  <a:lnTo>
                    <a:pt x="2" y="418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6"/>
                  </a:lnTo>
                  <a:lnTo>
                    <a:pt x="0" y="443"/>
                  </a:lnTo>
                  <a:lnTo>
                    <a:pt x="1" y="448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5"/>
                  </a:lnTo>
                  <a:lnTo>
                    <a:pt x="10" y="470"/>
                  </a:lnTo>
                  <a:lnTo>
                    <a:pt x="13" y="475"/>
                  </a:lnTo>
                  <a:lnTo>
                    <a:pt x="17" y="479"/>
                  </a:lnTo>
                  <a:lnTo>
                    <a:pt x="21" y="482"/>
                  </a:lnTo>
                  <a:lnTo>
                    <a:pt x="26" y="487"/>
                  </a:lnTo>
                  <a:lnTo>
                    <a:pt x="31" y="489"/>
                  </a:lnTo>
                  <a:lnTo>
                    <a:pt x="36" y="492"/>
                  </a:lnTo>
                  <a:lnTo>
                    <a:pt x="42" y="494"/>
                  </a:lnTo>
                  <a:lnTo>
                    <a:pt x="47" y="495"/>
                  </a:lnTo>
                  <a:lnTo>
                    <a:pt x="54" y="496"/>
                  </a:lnTo>
                  <a:lnTo>
                    <a:pt x="60" y="4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8" name="Group 257">
            <a:extLst>
              <a:ext uri="{FF2B5EF4-FFF2-40B4-BE49-F238E27FC236}">
                <a16:creationId xmlns:a16="http://schemas.microsoft.com/office/drawing/2014/main" id="{54A713FE-0681-4AC3-9131-A8FB43F34CAA}"/>
              </a:ext>
            </a:extLst>
          </p:cNvPr>
          <p:cNvGrpSpPr/>
          <p:nvPr/>
        </p:nvGrpSpPr>
        <p:grpSpPr>
          <a:xfrm>
            <a:off x="5356956" y="5329504"/>
            <a:ext cx="345758" cy="299657"/>
            <a:chOff x="4892675" y="1935163"/>
            <a:chExt cx="285750" cy="247650"/>
          </a:xfrm>
          <a:solidFill>
            <a:schemeClr val="bg1"/>
          </a:solidFill>
        </p:grpSpPr>
        <p:sp>
          <p:nvSpPr>
            <p:cNvPr id="259" name="Freeform 185">
              <a:extLst>
                <a:ext uri="{FF2B5EF4-FFF2-40B4-BE49-F238E27FC236}">
                  <a16:creationId xmlns:a16="http://schemas.microsoft.com/office/drawing/2014/main" id="{4897E088-DE01-4ACE-A0D8-0F0A9D006A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2675" y="2020888"/>
              <a:ext cx="66675" cy="114300"/>
            </a:xfrm>
            <a:custGeom>
              <a:avLst/>
              <a:gdLst>
                <a:gd name="T0" fmla="*/ 30 w 210"/>
                <a:gd name="T1" fmla="*/ 30 h 360"/>
                <a:gd name="T2" fmla="*/ 180 w 210"/>
                <a:gd name="T3" fmla="*/ 30 h 360"/>
                <a:gd name="T4" fmla="*/ 180 w 210"/>
                <a:gd name="T5" fmla="*/ 123 h 360"/>
                <a:gd name="T6" fmla="*/ 180 w 210"/>
                <a:gd name="T7" fmla="*/ 135 h 360"/>
                <a:gd name="T8" fmla="*/ 180 w 210"/>
                <a:gd name="T9" fmla="*/ 146 h 360"/>
                <a:gd name="T10" fmla="*/ 179 w 210"/>
                <a:gd name="T11" fmla="*/ 157 h 360"/>
                <a:gd name="T12" fmla="*/ 177 w 210"/>
                <a:gd name="T13" fmla="*/ 167 h 360"/>
                <a:gd name="T14" fmla="*/ 174 w 210"/>
                <a:gd name="T15" fmla="*/ 175 h 360"/>
                <a:gd name="T16" fmla="*/ 171 w 210"/>
                <a:gd name="T17" fmla="*/ 178 h 360"/>
                <a:gd name="T18" fmla="*/ 168 w 210"/>
                <a:gd name="T19" fmla="*/ 180 h 360"/>
                <a:gd name="T20" fmla="*/ 165 w 210"/>
                <a:gd name="T21" fmla="*/ 180 h 360"/>
                <a:gd name="T22" fmla="*/ 150 w 210"/>
                <a:gd name="T23" fmla="*/ 180 h 360"/>
                <a:gd name="T24" fmla="*/ 150 w 210"/>
                <a:gd name="T25" fmla="*/ 330 h 360"/>
                <a:gd name="T26" fmla="*/ 60 w 210"/>
                <a:gd name="T27" fmla="*/ 330 h 360"/>
                <a:gd name="T28" fmla="*/ 60 w 210"/>
                <a:gd name="T29" fmla="*/ 180 h 360"/>
                <a:gd name="T30" fmla="*/ 45 w 210"/>
                <a:gd name="T31" fmla="*/ 180 h 360"/>
                <a:gd name="T32" fmla="*/ 40 w 210"/>
                <a:gd name="T33" fmla="*/ 179 h 360"/>
                <a:gd name="T34" fmla="*/ 38 w 210"/>
                <a:gd name="T35" fmla="*/ 178 h 360"/>
                <a:gd name="T36" fmla="*/ 35 w 210"/>
                <a:gd name="T37" fmla="*/ 173 h 360"/>
                <a:gd name="T38" fmla="*/ 33 w 210"/>
                <a:gd name="T39" fmla="*/ 168 h 360"/>
                <a:gd name="T40" fmla="*/ 32 w 210"/>
                <a:gd name="T41" fmla="*/ 162 h 360"/>
                <a:gd name="T42" fmla="*/ 31 w 210"/>
                <a:gd name="T43" fmla="*/ 154 h 360"/>
                <a:gd name="T44" fmla="*/ 30 w 210"/>
                <a:gd name="T45" fmla="*/ 138 h 360"/>
                <a:gd name="T46" fmla="*/ 30 w 210"/>
                <a:gd name="T47" fmla="*/ 123 h 360"/>
                <a:gd name="T48" fmla="*/ 30 w 210"/>
                <a:gd name="T49" fmla="*/ 30 h 360"/>
                <a:gd name="T50" fmla="*/ 0 w 210"/>
                <a:gd name="T51" fmla="*/ 123 h 360"/>
                <a:gd name="T52" fmla="*/ 0 w 210"/>
                <a:gd name="T53" fmla="*/ 143 h 360"/>
                <a:gd name="T54" fmla="*/ 2 w 210"/>
                <a:gd name="T55" fmla="*/ 164 h 360"/>
                <a:gd name="T56" fmla="*/ 4 w 210"/>
                <a:gd name="T57" fmla="*/ 175 h 360"/>
                <a:gd name="T58" fmla="*/ 7 w 210"/>
                <a:gd name="T59" fmla="*/ 183 h 360"/>
                <a:gd name="T60" fmla="*/ 12 w 210"/>
                <a:gd name="T61" fmla="*/ 192 h 360"/>
                <a:gd name="T62" fmla="*/ 17 w 210"/>
                <a:gd name="T63" fmla="*/ 199 h 360"/>
                <a:gd name="T64" fmla="*/ 23 w 210"/>
                <a:gd name="T65" fmla="*/ 203 h 360"/>
                <a:gd name="T66" fmla="*/ 30 w 210"/>
                <a:gd name="T67" fmla="*/ 208 h 360"/>
                <a:gd name="T68" fmla="*/ 30 w 210"/>
                <a:gd name="T69" fmla="*/ 360 h 360"/>
                <a:gd name="T70" fmla="*/ 180 w 210"/>
                <a:gd name="T71" fmla="*/ 360 h 360"/>
                <a:gd name="T72" fmla="*/ 180 w 210"/>
                <a:gd name="T73" fmla="*/ 208 h 360"/>
                <a:gd name="T74" fmla="*/ 184 w 210"/>
                <a:gd name="T75" fmla="*/ 206 h 360"/>
                <a:gd name="T76" fmla="*/ 187 w 210"/>
                <a:gd name="T77" fmla="*/ 203 h 360"/>
                <a:gd name="T78" fmla="*/ 192 w 210"/>
                <a:gd name="T79" fmla="*/ 200 h 360"/>
                <a:gd name="T80" fmla="*/ 195 w 210"/>
                <a:gd name="T81" fmla="*/ 197 h 360"/>
                <a:gd name="T82" fmla="*/ 198 w 210"/>
                <a:gd name="T83" fmla="*/ 193 h 360"/>
                <a:gd name="T84" fmla="*/ 201 w 210"/>
                <a:gd name="T85" fmla="*/ 187 h 360"/>
                <a:gd name="T86" fmla="*/ 203 w 210"/>
                <a:gd name="T87" fmla="*/ 181 h 360"/>
                <a:gd name="T88" fmla="*/ 206 w 210"/>
                <a:gd name="T89" fmla="*/ 175 h 360"/>
                <a:gd name="T90" fmla="*/ 209 w 210"/>
                <a:gd name="T91" fmla="*/ 162 h 360"/>
                <a:gd name="T92" fmla="*/ 210 w 210"/>
                <a:gd name="T93" fmla="*/ 149 h 360"/>
                <a:gd name="T94" fmla="*/ 210 w 210"/>
                <a:gd name="T95" fmla="*/ 136 h 360"/>
                <a:gd name="T96" fmla="*/ 210 w 210"/>
                <a:gd name="T97" fmla="*/ 123 h 360"/>
                <a:gd name="T98" fmla="*/ 210 w 210"/>
                <a:gd name="T99" fmla="*/ 0 h 360"/>
                <a:gd name="T100" fmla="*/ 0 w 210"/>
                <a:gd name="T101" fmla="*/ 0 h 360"/>
                <a:gd name="T102" fmla="*/ 0 w 210"/>
                <a:gd name="T103" fmla="*/ 123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0" h="360">
                  <a:moveTo>
                    <a:pt x="30" y="30"/>
                  </a:moveTo>
                  <a:lnTo>
                    <a:pt x="180" y="30"/>
                  </a:lnTo>
                  <a:lnTo>
                    <a:pt x="180" y="123"/>
                  </a:lnTo>
                  <a:lnTo>
                    <a:pt x="180" y="135"/>
                  </a:lnTo>
                  <a:lnTo>
                    <a:pt x="180" y="146"/>
                  </a:lnTo>
                  <a:lnTo>
                    <a:pt x="179" y="157"/>
                  </a:lnTo>
                  <a:lnTo>
                    <a:pt x="177" y="167"/>
                  </a:lnTo>
                  <a:lnTo>
                    <a:pt x="174" y="175"/>
                  </a:lnTo>
                  <a:lnTo>
                    <a:pt x="171" y="178"/>
                  </a:lnTo>
                  <a:lnTo>
                    <a:pt x="168" y="180"/>
                  </a:lnTo>
                  <a:lnTo>
                    <a:pt x="165" y="180"/>
                  </a:lnTo>
                  <a:lnTo>
                    <a:pt x="150" y="180"/>
                  </a:lnTo>
                  <a:lnTo>
                    <a:pt x="150" y="330"/>
                  </a:lnTo>
                  <a:lnTo>
                    <a:pt x="60" y="330"/>
                  </a:lnTo>
                  <a:lnTo>
                    <a:pt x="60" y="180"/>
                  </a:lnTo>
                  <a:lnTo>
                    <a:pt x="45" y="180"/>
                  </a:lnTo>
                  <a:lnTo>
                    <a:pt x="40" y="179"/>
                  </a:lnTo>
                  <a:lnTo>
                    <a:pt x="38" y="178"/>
                  </a:lnTo>
                  <a:lnTo>
                    <a:pt x="35" y="173"/>
                  </a:lnTo>
                  <a:lnTo>
                    <a:pt x="33" y="168"/>
                  </a:lnTo>
                  <a:lnTo>
                    <a:pt x="32" y="162"/>
                  </a:lnTo>
                  <a:lnTo>
                    <a:pt x="31" y="154"/>
                  </a:lnTo>
                  <a:lnTo>
                    <a:pt x="30" y="138"/>
                  </a:lnTo>
                  <a:lnTo>
                    <a:pt x="30" y="123"/>
                  </a:lnTo>
                  <a:lnTo>
                    <a:pt x="30" y="30"/>
                  </a:lnTo>
                  <a:close/>
                  <a:moveTo>
                    <a:pt x="0" y="123"/>
                  </a:moveTo>
                  <a:lnTo>
                    <a:pt x="0" y="143"/>
                  </a:lnTo>
                  <a:lnTo>
                    <a:pt x="2" y="164"/>
                  </a:lnTo>
                  <a:lnTo>
                    <a:pt x="4" y="175"/>
                  </a:lnTo>
                  <a:lnTo>
                    <a:pt x="7" y="183"/>
                  </a:lnTo>
                  <a:lnTo>
                    <a:pt x="12" y="192"/>
                  </a:lnTo>
                  <a:lnTo>
                    <a:pt x="17" y="199"/>
                  </a:lnTo>
                  <a:lnTo>
                    <a:pt x="23" y="203"/>
                  </a:lnTo>
                  <a:lnTo>
                    <a:pt x="30" y="208"/>
                  </a:lnTo>
                  <a:lnTo>
                    <a:pt x="30" y="360"/>
                  </a:lnTo>
                  <a:lnTo>
                    <a:pt x="180" y="360"/>
                  </a:lnTo>
                  <a:lnTo>
                    <a:pt x="180" y="208"/>
                  </a:lnTo>
                  <a:lnTo>
                    <a:pt x="184" y="206"/>
                  </a:lnTo>
                  <a:lnTo>
                    <a:pt x="187" y="203"/>
                  </a:lnTo>
                  <a:lnTo>
                    <a:pt x="192" y="200"/>
                  </a:lnTo>
                  <a:lnTo>
                    <a:pt x="195" y="197"/>
                  </a:lnTo>
                  <a:lnTo>
                    <a:pt x="198" y="193"/>
                  </a:lnTo>
                  <a:lnTo>
                    <a:pt x="201" y="187"/>
                  </a:lnTo>
                  <a:lnTo>
                    <a:pt x="203" y="181"/>
                  </a:lnTo>
                  <a:lnTo>
                    <a:pt x="206" y="175"/>
                  </a:lnTo>
                  <a:lnTo>
                    <a:pt x="209" y="162"/>
                  </a:lnTo>
                  <a:lnTo>
                    <a:pt x="210" y="149"/>
                  </a:lnTo>
                  <a:lnTo>
                    <a:pt x="210" y="136"/>
                  </a:lnTo>
                  <a:lnTo>
                    <a:pt x="210" y="123"/>
                  </a:lnTo>
                  <a:lnTo>
                    <a:pt x="210" y="0"/>
                  </a:lnTo>
                  <a:lnTo>
                    <a:pt x="0" y="0"/>
                  </a:lnTo>
                  <a:lnTo>
                    <a:pt x="0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186">
              <a:extLst>
                <a:ext uri="{FF2B5EF4-FFF2-40B4-BE49-F238E27FC236}">
                  <a16:creationId xmlns:a16="http://schemas.microsoft.com/office/drawing/2014/main" id="{ECEB652B-5CB7-4268-B067-AC7D5BDAB7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11750" y="2020888"/>
              <a:ext cx="66675" cy="114300"/>
            </a:xfrm>
            <a:custGeom>
              <a:avLst/>
              <a:gdLst>
                <a:gd name="T0" fmla="*/ 181 w 212"/>
                <a:gd name="T1" fmla="*/ 120 h 360"/>
                <a:gd name="T2" fmla="*/ 180 w 212"/>
                <a:gd name="T3" fmla="*/ 130 h 360"/>
                <a:gd name="T4" fmla="*/ 179 w 212"/>
                <a:gd name="T5" fmla="*/ 138 h 360"/>
                <a:gd name="T6" fmla="*/ 177 w 212"/>
                <a:gd name="T7" fmla="*/ 146 h 360"/>
                <a:gd name="T8" fmla="*/ 175 w 212"/>
                <a:gd name="T9" fmla="*/ 152 h 360"/>
                <a:gd name="T10" fmla="*/ 173 w 212"/>
                <a:gd name="T11" fmla="*/ 157 h 360"/>
                <a:gd name="T12" fmla="*/ 170 w 212"/>
                <a:gd name="T13" fmla="*/ 161 h 360"/>
                <a:gd name="T14" fmla="*/ 168 w 212"/>
                <a:gd name="T15" fmla="*/ 164 h 360"/>
                <a:gd name="T16" fmla="*/ 166 w 212"/>
                <a:gd name="T17" fmla="*/ 165 h 360"/>
                <a:gd name="T18" fmla="*/ 151 w 212"/>
                <a:gd name="T19" fmla="*/ 165 h 360"/>
                <a:gd name="T20" fmla="*/ 151 w 212"/>
                <a:gd name="T21" fmla="*/ 330 h 360"/>
                <a:gd name="T22" fmla="*/ 60 w 212"/>
                <a:gd name="T23" fmla="*/ 330 h 360"/>
                <a:gd name="T24" fmla="*/ 60 w 212"/>
                <a:gd name="T25" fmla="*/ 180 h 360"/>
                <a:gd name="T26" fmla="*/ 59 w 212"/>
                <a:gd name="T27" fmla="*/ 166 h 360"/>
                <a:gd name="T28" fmla="*/ 45 w 212"/>
                <a:gd name="T29" fmla="*/ 165 h 360"/>
                <a:gd name="T30" fmla="*/ 44 w 212"/>
                <a:gd name="T31" fmla="*/ 164 h 360"/>
                <a:gd name="T32" fmla="*/ 42 w 212"/>
                <a:gd name="T33" fmla="*/ 162 h 360"/>
                <a:gd name="T34" fmla="*/ 40 w 212"/>
                <a:gd name="T35" fmla="*/ 158 h 360"/>
                <a:gd name="T36" fmla="*/ 37 w 212"/>
                <a:gd name="T37" fmla="*/ 154 h 360"/>
                <a:gd name="T38" fmla="*/ 35 w 212"/>
                <a:gd name="T39" fmla="*/ 148 h 360"/>
                <a:gd name="T40" fmla="*/ 32 w 212"/>
                <a:gd name="T41" fmla="*/ 139 h 360"/>
                <a:gd name="T42" fmla="*/ 31 w 212"/>
                <a:gd name="T43" fmla="*/ 131 h 360"/>
                <a:gd name="T44" fmla="*/ 30 w 212"/>
                <a:gd name="T45" fmla="*/ 120 h 360"/>
                <a:gd name="T46" fmla="*/ 30 w 212"/>
                <a:gd name="T47" fmla="*/ 30 h 360"/>
                <a:gd name="T48" fmla="*/ 181 w 212"/>
                <a:gd name="T49" fmla="*/ 30 h 360"/>
                <a:gd name="T50" fmla="*/ 181 w 212"/>
                <a:gd name="T51" fmla="*/ 120 h 360"/>
                <a:gd name="T52" fmla="*/ 0 w 212"/>
                <a:gd name="T53" fmla="*/ 0 h 360"/>
                <a:gd name="T54" fmla="*/ 0 w 212"/>
                <a:gd name="T55" fmla="*/ 120 h 360"/>
                <a:gd name="T56" fmla="*/ 1 w 212"/>
                <a:gd name="T57" fmla="*/ 133 h 360"/>
                <a:gd name="T58" fmla="*/ 2 w 212"/>
                <a:gd name="T59" fmla="*/ 145 h 360"/>
                <a:gd name="T60" fmla="*/ 6 w 212"/>
                <a:gd name="T61" fmla="*/ 155 h 360"/>
                <a:gd name="T62" fmla="*/ 9 w 212"/>
                <a:gd name="T63" fmla="*/ 165 h 360"/>
                <a:gd name="T64" fmla="*/ 13 w 212"/>
                <a:gd name="T65" fmla="*/ 173 h 360"/>
                <a:gd name="T66" fmla="*/ 19 w 212"/>
                <a:gd name="T67" fmla="*/ 181 h 360"/>
                <a:gd name="T68" fmla="*/ 24 w 212"/>
                <a:gd name="T69" fmla="*/ 186 h 360"/>
                <a:gd name="T70" fmla="*/ 30 w 212"/>
                <a:gd name="T71" fmla="*/ 192 h 360"/>
                <a:gd name="T72" fmla="*/ 30 w 212"/>
                <a:gd name="T73" fmla="*/ 360 h 360"/>
                <a:gd name="T74" fmla="*/ 181 w 212"/>
                <a:gd name="T75" fmla="*/ 360 h 360"/>
                <a:gd name="T76" fmla="*/ 181 w 212"/>
                <a:gd name="T77" fmla="*/ 191 h 360"/>
                <a:gd name="T78" fmla="*/ 188 w 212"/>
                <a:gd name="T79" fmla="*/ 186 h 360"/>
                <a:gd name="T80" fmla="*/ 194 w 212"/>
                <a:gd name="T81" fmla="*/ 180 h 360"/>
                <a:gd name="T82" fmla="*/ 199 w 212"/>
                <a:gd name="T83" fmla="*/ 171 h 360"/>
                <a:gd name="T84" fmla="*/ 203 w 212"/>
                <a:gd name="T85" fmla="*/ 163 h 360"/>
                <a:gd name="T86" fmla="*/ 207 w 212"/>
                <a:gd name="T87" fmla="*/ 152 h 360"/>
                <a:gd name="T88" fmla="*/ 209 w 212"/>
                <a:gd name="T89" fmla="*/ 142 h 360"/>
                <a:gd name="T90" fmla="*/ 210 w 212"/>
                <a:gd name="T91" fmla="*/ 131 h 360"/>
                <a:gd name="T92" fmla="*/ 212 w 212"/>
                <a:gd name="T93" fmla="*/ 120 h 360"/>
                <a:gd name="T94" fmla="*/ 212 w 212"/>
                <a:gd name="T95" fmla="*/ 0 h 360"/>
                <a:gd name="T96" fmla="*/ 0 w 212"/>
                <a:gd name="T97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12" h="360">
                  <a:moveTo>
                    <a:pt x="181" y="120"/>
                  </a:moveTo>
                  <a:lnTo>
                    <a:pt x="180" y="130"/>
                  </a:lnTo>
                  <a:lnTo>
                    <a:pt x="179" y="138"/>
                  </a:lnTo>
                  <a:lnTo>
                    <a:pt x="177" y="146"/>
                  </a:lnTo>
                  <a:lnTo>
                    <a:pt x="175" y="152"/>
                  </a:lnTo>
                  <a:lnTo>
                    <a:pt x="173" y="157"/>
                  </a:lnTo>
                  <a:lnTo>
                    <a:pt x="170" y="161"/>
                  </a:lnTo>
                  <a:lnTo>
                    <a:pt x="168" y="164"/>
                  </a:lnTo>
                  <a:lnTo>
                    <a:pt x="166" y="165"/>
                  </a:lnTo>
                  <a:lnTo>
                    <a:pt x="151" y="165"/>
                  </a:lnTo>
                  <a:lnTo>
                    <a:pt x="151" y="330"/>
                  </a:lnTo>
                  <a:lnTo>
                    <a:pt x="60" y="330"/>
                  </a:lnTo>
                  <a:lnTo>
                    <a:pt x="60" y="180"/>
                  </a:lnTo>
                  <a:lnTo>
                    <a:pt x="59" y="166"/>
                  </a:lnTo>
                  <a:lnTo>
                    <a:pt x="45" y="165"/>
                  </a:lnTo>
                  <a:lnTo>
                    <a:pt x="44" y="164"/>
                  </a:lnTo>
                  <a:lnTo>
                    <a:pt x="42" y="162"/>
                  </a:lnTo>
                  <a:lnTo>
                    <a:pt x="40" y="158"/>
                  </a:lnTo>
                  <a:lnTo>
                    <a:pt x="37" y="154"/>
                  </a:lnTo>
                  <a:lnTo>
                    <a:pt x="35" y="148"/>
                  </a:lnTo>
                  <a:lnTo>
                    <a:pt x="32" y="139"/>
                  </a:lnTo>
                  <a:lnTo>
                    <a:pt x="31" y="131"/>
                  </a:lnTo>
                  <a:lnTo>
                    <a:pt x="30" y="120"/>
                  </a:lnTo>
                  <a:lnTo>
                    <a:pt x="30" y="30"/>
                  </a:lnTo>
                  <a:lnTo>
                    <a:pt x="181" y="30"/>
                  </a:lnTo>
                  <a:lnTo>
                    <a:pt x="181" y="120"/>
                  </a:lnTo>
                  <a:close/>
                  <a:moveTo>
                    <a:pt x="0" y="0"/>
                  </a:moveTo>
                  <a:lnTo>
                    <a:pt x="0" y="120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6" y="155"/>
                  </a:lnTo>
                  <a:lnTo>
                    <a:pt x="9" y="165"/>
                  </a:lnTo>
                  <a:lnTo>
                    <a:pt x="13" y="173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0" y="192"/>
                  </a:lnTo>
                  <a:lnTo>
                    <a:pt x="30" y="360"/>
                  </a:lnTo>
                  <a:lnTo>
                    <a:pt x="181" y="360"/>
                  </a:lnTo>
                  <a:lnTo>
                    <a:pt x="181" y="191"/>
                  </a:lnTo>
                  <a:lnTo>
                    <a:pt x="188" y="186"/>
                  </a:lnTo>
                  <a:lnTo>
                    <a:pt x="194" y="180"/>
                  </a:lnTo>
                  <a:lnTo>
                    <a:pt x="199" y="171"/>
                  </a:lnTo>
                  <a:lnTo>
                    <a:pt x="203" y="163"/>
                  </a:lnTo>
                  <a:lnTo>
                    <a:pt x="207" y="152"/>
                  </a:lnTo>
                  <a:lnTo>
                    <a:pt x="209" y="142"/>
                  </a:lnTo>
                  <a:lnTo>
                    <a:pt x="210" y="131"/>
                  </a:lnTo>
                  <a:lnTo>
                    <a:pt x="212" y="120"/>
                  </a:lnTo>
                  <a:lnTo>
                    <a:pt x="21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187">
              <a:extLst>
                <a:ext uri="{FF2B5EF4-FFF2-40B4-BE49-F238E27FC236}">
                  <a16:creationId xmlns:a16="http://schemas.microsoft.com/office/drawing/2014/main" id="{80BE6BAA-80A9-4B90-95A9-CA6793BBF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7925" y="2020888"/>
              <a:ext cx="95250" cy="161925"/>
            </a:xfrm>
            <a:custGeom>
              <a:avLst/>
              <a:gdLst>
                <a:gd name="T0" fmla="*/ 270 w 300"/>
                <a:gd name="T1" fmla="*/ 30 h 511"/>
                <a:gd name="T2" fmla="*/ 270 w 300"/>
                <a:gd name="T3" fmla="*/ 218 h 511"/>
                <a:gd name="T4" fmla="*/ 266 w 300"/>
                <a:gd name="T5" fmla="*/ 239 h 511"/>
                <a:gd name="T6" fmla="*/ 259 w 300"/>
                <a:gd name="T7" fmla="*/ 253 h 511"/>
                <a:gd name="T8" fmla="*/ 253 w 300"/>
                <a:gd name="T9" fmla="*/ 260 h 511"/>
                <a:gd name="T10" fmla="*/ 244 w 300"/>
                <a:gd name="T11" fmla="*/ 267 h 511"/>
                <a:gd name="T12" fmla="*/ 233 w 300"/>
                <a:gd name="T13" fmla="*/ 270 h 511"/>
                <a:gd name="T14" fmla="*/ 210 w 300"/>
                <a:gd name="T15" fmla="*/ 270 h 511"/>
                <a:gd name="T16" fmla="*/ 90 w 300"/>
                <a:gd name="T17" fmla="*/ 481 h 511"/>
                <a:gd name="T18" fmla="*/ 75 w 300"/>
                <a:gd name="T19" fmla="*/ 270 h 511"/>
                <a:gd name="T20" fmla="*/ 61 w 300"/>
                <a:gd name="T21" fmla="*/ 269 h 511"/>
                <a:gd name="T22" fmla="*/ 51 w 300"/>
                <a:gd name="T23" fmla="*/ 264 h 511"/>
                <a:gd name="T24" fmla="*/ 43 w 300"/>
                <a:gd name="T25" fmla="*/ 257 h 511"/>
                <a:gd name="T26" fmla="*/ 38 w 300"/>
                <a:gd name="T27" fmla="*/ 249 h 511"/>
                <a:gd name="T28" fmla="*/ 31 w 300"/>
                <a:gd name="T29" fmla="*/ 229 h 511"/>
                <a:gd name="T30" fmla="*/ 30 w 300"/>
                <a:gd name="T31" fmla="*/ 210 h 511"/>
                <a:gd name="T32" fmla="*/ 0 w 300"/>
                <a:gd name="T33" fmla="*/ 210 h 511"/>
                <a:gd name="T34" fmla="*/ 1 w 300"/>
                <a:gd name="T35" fmla="*/ 228 h 511"/>
                <a:gd name="T36" fmla="*/ 3 w 300"/>
                <a:gd name="T37" fmla="*/ 244 h 511"/>
                <a:gd name="T38" fmla="*/ 9 w 300"/>
                <a:gd name="T39" fmla="*/ 258 h 511"/>
                <a:gd name="T40" fmla="*/ 16 w 300"/>
                <a:gd name="T41" fmla="*/ 270 h 511"/>
                <a:gd name="T42" fmla="*/ 25 w 300"/>
                <a:gd name="T43" fmla="*/ 281 h 511"/>
                <a:gd name="T44" fmla="*/ 34 w 300"/>
                <a:gd name="T45" fmla="*/ 289 h 511"/>
                <a:gd name="T46" fmla="*/ 46 w 300"/>
                <a:gd name="T47" fmla="*/ 295 h 511"/>
                <a:gd name="T48" fmla="*/ 60 w 300"/>
                <a:gd name="T49" fmla="*/ 299 h 511"/>
                <a:gd name="T50" fmla="*/ 240 w 300"/>
                <a:gd name="T51" fmla="*/ 511 h 511"/>
                <a:gd name="T52" fmla="*/ 247 w 300"/>
                <a:gd name="T53" fmla="*/ 297 h 511"/>
                <a:gd name="T54" fmla="*/ 259 w 300"/>
                <a:gd name="T55" fmla="*/ 292 h 511"/>
                <a:gd name="T56" fmla="*/ 271 w 300"/>
                <a:gd name="T57" fmla="*/ 285 h 511"/>
                <a:gd name="T58" fmla="*/ 280 w 300"/>
                <a:gd name="T59" fmla="*/ 275 h 511"/>
                <a:gd name="T60" fmla="*/ 288 w 300"/>
                <a:gd name="T61" fmla="*/ 265 h 511"/>
                <a:gd name="T62" fmla="*/ 294 w 300"/>
                <a:gd name="T63" fmla="*/ 251 h 511"/>
                <a:gd name="T64" fmla="*/ 298 w 300"/>
                <a:gd name="T65" fmla="*/ 236 h 511"/>
                <a:gd name="T66" fmla="*/ 300 w 300"/>
                <a:gd name="T67" fmla="*/ 220 h 511"/>
                <a:gd name="T68" fmla="*/ 300 w 300"/>
                <a:gd name="T69" fmla="*/ 0 h 511"/>
                <a:gd name="T70" fmla="*/ 0 w 300"/>
                <a:gd name="T71" fmla="*/ 21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0" h="511">
                  <a:moveTo>
                    <a:pt x="30" y="30"/>
                  </a:moveTo>
                  <a:lnTo>
                    <a:pt x="270" y="30"/>
                  </a:lnTo>
                  <a:lnTo>
                    <a:pt x="270" y="210"/>
                  </a:lnTo>
                  <a:lnTo>
                    <a:pt x="270" y="218"/>
                  </a:lnTo>
                  <a:lnTo>
                    <a:pt x="269" y="229"/>
                  </a:lnTo>
                  <a:lnTo>
                    <a:pt x="266" y="239"/>
                  </a:lnTo>
                  <a:lnTo>
                    <a:pt x="263" y="249"/>
                  </a:lnTo>
                  <a:lnTo>
                    <a:pt x="259" y="253"/>
                  </a:lnTo>
                  <a:lnTo>
                    <a:pt x="256" y="257"/>
                  </a:lnTo>
                  <a:lnTo>
                    <a:pt x="253" y="260"/>
                  </a:lnTo>
                  <a:lnTo>
                    <a:pt x="249" y="264"/>
                  </a:lnTo>
                  <a:lnTo>
                    <a:pt x="244" y="267"/>
                  </a:lnTo>
                  <a:lnTo>
                    <a:pt x="238" y="269"/>
                  </a:lnTo>
                  <a:lnTo>
                    <a:pt x="233" y="270"/>
                  </a:lnTo>
                  <a:lnTo>
                    <a:pt x="225" y="270"/>
                  </a:lnTo>
                  <a:lnTo>
                    <a:pt x="210" y="270"/>
                  </a:lnTo>
                  <a:lnTo>
                    <a:pt x="210" y="481"/>
                  </a:lnTo>
                  <a:lnTo>
                    <a:pt x="90" y="481"/>
                  </a:lnTo>
                  <a:lnTo>
                    <a:pt x="90" y="270"/>
                  </a:lnTo>
                  <a:lnTo>
                    <a:pt x="75" y="270"/>
                  </a:lnTo>
                  <a:lnTo>
                    <a:pt x="68" y="270"/>
                  </a:lnTo>
                  <a:lnTo>
                    <a:pt x="61" y="269"/>
                  </a:lnTo>
                  <a:lnTo>
                    <a:pt x="56" y="267"/>
                  </a:lnTo>
                  <a:lnTo>
                    <a:pt x="51" y="264"/>
                  </a:lnTo>
                  <a:lnTo>
                    <a:pt x="47" y="260"/>
                  </a:lnTo>
                  <a:lnTo>
                    <a:pt x="43" y="257"/>
                  </a:lnTo>
                  <a:lnTo>
                    <a:pt x="40" y="253"/>
                  </a:lnTo>
                  <a:lnTo>
                    <a:pt x="38" y="249"/>
                  </a:lnTo>
                  <a:lnTo>
                    <a:pt x="33" y="239"/>
                  </a:lnTo>
                  <a:lnTo>
                    <a:pt x="31" y="229"/>
                  </a:lnTo>
                  <a:lnTo>
                    <a:pt x="30" y="218"/>
                  </a:lnTo>
                  <a:lnTo>
                    <a:pt x="30" y="210"/>
                  </a:lnTo>
                  <a:lnTo>
                    <a:pt x="30" y="30"/>
                  </a:lnTo>
                  <a:close/>
                  <a:moveTo>
                    <a:pt x="0" y="210"/>
                  </a:moveTo>
                  <a:lnTo>
                    <a:pt x="0" y="218"/>
                  </a:lnTo>
                  <a:lnTo>
                    <a:pt x="1" y="228"/>
                  </a:lnTo>
                  <a:lnTo>
                    <a:pt x="2" y="236"/>
                  </a:lnTo>
                  <a:lnTo>
                    <a:pt x="3" y="244"/>
                  </a:lnTo>
                  <a:lnTo>
                    <a:pt x="6" y="251"/>
                  </a:lnTo>
                  <a:lnTo>
                    <a:pt x="9" y="258"/>
                  </a:lnTo>
                  <a:lnTo>
                    <a:pt x="12" y="265"/>
                  </a:lnTo>
                  <a:lnTo>
                    <a:pt x="16" y="270"/>
                  </a:lnTo>
                  <a:lnTo>
                    <a:pt x="19" y="275"/>
                  </a:lnTo>
                  <a:lnTo>
                    <a:pt x="25" y="281"/>
                  </a:lnTo>
                  <a:lnTo>
                    <a:pt x="29" y="285"/>
                  </a:lnTo>
                  <a:lnTo>
                    <a:pt x="34" y="289"/>
                  </a:lnTo>
                  <a:lnTo>
                    <a:pt x="41" y="292"/>
                  </a:lnTo>
                  <a:lnTo>
                    <a:pt x="46" y="295"/>
                  </a:lnTo>
                  <a:lnTo>
                    <a:pt x="53" y="297"/>
                  </a:lnTo>
                  <a:lnTo>
                    <a:pt x="60" y="299"/>
                  </a:lnTo>
                  <a:lnTo>
                    <a:pt x="60" y="511"/>
                  </a:lnTo>
                  <a:lnTo>
                    <a:pt x="240" y="511"/>
                  </a:lnTo>
                  <a:lnTo>
                    <a:pt x="240" y="299"/>
                  </a:lnTo>
                  <a:lnTo>
                    <a:pt x="247" y="297"/>
                  </a:lnTo>
                  <a:lnTo>
                    <a:pt x="254" y="295"/>
                  </a:lnTo>
                  <a:lnTo>
                    <a:pt x="259" y="292"/>
                  </a:lnTo>
                  <a:lnTo>
                    <a:pt x="266" y="289"/>
                  </a:lnTo>
                  <a:lnTo>
                    <a:pt x="271" y="285"/>
                  </a:lnTo>
                  <a:lnTo>
                    <a:pt x="276" y="281"/>
                  </a:lnTo>
                  <a:lnTo>
                    <a:pt x="280" y="275"/>
                  </a:lnTo>
                  <a:lnTo>
                    <a:pt x="284" y="270"/>
                  </a:lnTo>
                  <a:lnTo>
                    <a:pt x="288" y="265"/>
                  </a:lnTo>
                  <a:lnTo>
                    <a:pt x="292" y="258"/>
                  </a:lnTo>
                  <a:lnTo>
                    <a:pt x="294" y="251"/>
                  </a:lnTo>
                  <a:lnTo>
                    <a:pt x="296" y="244"/>
                  </a:lnTo>
                  <a:lnTo>
                    <a:pt x="298" y="236"/>
                  </a:lnTo>
                  <a:lnTo>
                    <a:pt x="299" y="228"/>
                  </a:lnTo>
                  <a:lnTo>
                    <a:pt x="300" y="220"/>
                  </a:lnTo>
                  <a:lnTo>
                    <a:pt x="300" y="210"/>
                  </a:lnTo>
                  <a:lnTo>
                    <a:pt x="300" y="0"/>
                  </a:lnTo>
                  <a:lnTo>
                    <a:pt x="0" y="0"/>
                  </a:lnTo>
                  <a:lnTo>
                    <a:pt x="0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188">
              <a:extLst>
                <a:ext uri="{FF2B5EF4-FFF2-40B4-BE49-F238E27FC236}">
                  <a16:creationId xmlns:a16="http://schemas.microsoft.com/office/drawing/2014/main" id="{34E26852-13DD-4B19-A545-4443F12DEA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1275" y="1963738"/>
              <a:ext cx="47625" cy="47625"/>
            </a:xfrm>
            <a:custGeom>
              <a:avLst/>
              <a:gdLst>
                <a:gd name="T0" fmla="*/ 85 w 151"/>
                <a:gd name="T1" fmla="*/ 31 h 151"/>
                <a:gd name="T2" fmla="*/ 101 w 151"/>
                <a:gd name="T3" fmla="*/ 38 h 151"/>
                <a:gd name="T4" fmla="*/ 113 w 151"/>
                <a:gd name="T5" fmla="*/ 50 h 151"/>
                <a:gd name="T6" fmla="*/ 120 w 151"/>
                <a:gd name="T7" fmla="*/ 66 h 151"/>
                <a:gd name="T8" fmla="*/ 120 w 151"/>
                <a:gd name="T9" fmla="*/ 84 h 151"/>
                <a:gd name="T10" fmla="*/ 113 w 151"/>
                <a:gd name="T11" fmla="*/ 100 h 151"/>
                <a:gd name="T12" fmla="*/ 101 w 151"/>
                <a:gd name="T13" fmla="*/ 112 h 151"/>
                <a:gd name="T14" fmla="*/ 85 w 151"/>
                <a:gd name="T15" fmla="*/ 120 h 151"/>
                <a:gd name="T16" fmla="*/ 67 w 151"/>
                <a:gd name="T17" fmla="*/ 120 h 151"/>
                <a:gd name="T18" fmla="*/ 51 w 151"/>
                <a:gd name="T19" fmla="*/ 112 h 151"/>
                <a:gd name="T20" fmla="*/ 39 w 151"/>
                <a:gd name="T21" fmla="*/ 100 h 151"/>
                <a:gd name="T22" fmla="*/ 31 w 151"/>
                <a:gd name="T23" fmla="*/ 84 h 151"/>
                <a:gd name="T24" fmla="*/ 31 w 151"/>
                <a:gd name="T25" fmla="*/ 66 h 151"/>
                <a:gd name="T26" fmla="*/ 39 w 151"/>
                <a:gd name="T27" fmla="*/ 50 h 151"/>
                <a:gd name="T28" fmla="*/ 51 w 151"/>
                <a:gd name="T29" fmla="*/ 38 h 151"/>
                <a:gd name="T30" fmla="*/ 67 w 151"/>
                <a:gd name="T31" fmla="*/ 31 h 151"/>
                <a:gd name="T32" fmla="*/ 76 w 151"/>
                <a:gd name="T33" fmla="*/ 151 h 151"/>
                <a:gd name="T34" fmla="*/ 91 w 151"/>
                <a:gd name="T35" fmla="*/ 149 h 151"/>
                <a:gd name="T36" fmla="*/ 105 w 151"/>
                <a:gd name="T37" fmla="*/ 144 h 151"/>
                <a:gd name="T38" fmla="*/ 118 w 151"/>
                <a:gd name="T39" fmla="*/ 138 h 151"/>
                <a:gd name="T40" fmla="*/ 129 w 151"/>
                <a:gd name="T41" fmla="*/ 128 h 151"/>
                <a:gd name="T42" fmla="*/ 139 w 151"/>
                <a:gd name="T43" fmla="*/ 118 h 151"/>
                <a:gd name="T44" fmla="*/ 145 w 151"/>
                <a:gd name="T45" fmla="*/ 105 h 151"/>
                <a:gd name="T46" fmla="*/ 149 w 151"/>
                <a:gd name="T47" fmla="*/ 91 h 151"/>
                <a:gd name="T48" fmla="*/ 151 w 151"/>
                <a:gd name="T49" fmla="*/ 75 h 151"/>
                <a:gd name="T50" fmla="*/ 149 w 151"/>
                <a:gd name="T51" fmla="*/ 60 h 151"/>
                <a:gd name="T52" fmla="*/ 145 w 151"/>
                <a:gd name="T53" fmla="*/ 46 h 151"/>
                <a:gd name="T54" fmla="*/ 139 w 151"/>
                <a:gd name="T55" fmla="*/ 33 h 151"/>
                <a:gd name="T56" fmla="*/ 129 w 151"/>
                <a:gd name="T57" fmla="*/ 22 h 151"/>
                <a:gd name="T58" fmla="*/ 118 w 151"/>
                <a:gd name="T59" fmla="*/ 12 h 151"/>
                <a:gd name="T60" fmla="*/ 105 w 151"/>
                <a:gd name="T61" fmla="*/ 6 h 151"/>
                <a:gd name="T62" fmla="*/ 91 w 151"/>
                <a:gd name="T63" fmla="*/ 2 h 151"/>
                <a:gd name="T64" fmla="*/ 76 w 151"/>
                <a:gd name="T65" fmla="*/ 0 h 151"/>
                <a:gd name="T66" fmla="*/ 60 w 151"/>
                <a:gd name="T67" fmla="*/ 2 h 151"/>
                <a:gd name="T68" fmla="*/ 46 w 151"/>
                <a:gd name="T69" fmla="*/ 6 h 151"/>
                <a:gd name="T70" fmla="*/ 34 w 151"/>
                <a:gd name="T71" fmla="*/ 12 h 151"/>
                <a:gd name="T72" fmla="*/ 23 w 151"/>
                <a:gd name="T73" fmla="*/ 22 h 151"/>
                <a:gd name="T74" fmla="*/ 13 w 151"/>
                <a:gd name="T75" fmla="*/ 33 h 151"/>
                <a:gd name="T76" fmla="*/ 7 w 151"/>
                <a:gd name="T77" fmla="*/ 46 h 151"/>
                <a:gd name="T78" fmla="*/ 2 w 151"/>
                <a:gd name="T79" fmla="*/ 60 h 151"/>
                <a:gd name="T80" fmla="*/ 0 w 151"/>
                <a:gd name="T81" fmla="*/ 75 h 151"/>
                <a:gd name="T82" fmla="*/ 2 w 151"/>
                <a:gd name="T83" fmla="*/ 91 h 151"/>
                <a:gd name="T84" fmla="*/ 7 w 151"/>
                <a:gd name="T85" fmla="*/ 105 h 151"/>
                <a:gd name="T86" fmla="*/ 13 w 151"/>
                <a:gd name="T87" fmla="*/ 118 h 151"/>
                <a:gd name="T88" fmla="*/ 23 w 151"/>
                <a:gd name="T89" fmla="*/ 128 h 151"/>
                <a:gd name="T90" fmla="*/ 34 w 151"/>
                <a:gd name="T91" fmla="*/ 138 h 151"/>
                <a:gd name="T92" fmla="*/ 46 w 151"/>
                <a:gd name="T93" fmla="*/ 144 h 151"/>
                <a:gd name="T94" fmla="*/ 60 w 151"/>
                <a:gd name="T95" fmla="*/ 149 h 151"/>
                <a:gd name="T96" fmla="*/ 76 w 151"/>
                <a:gd name="T97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1" h="151">
                  <a:moveTo>
                    <a:pt x="76" y="30"/>
                  </a:moveTo>
                  <a:lnTo>
                    <a:pt x="85" y="31"/>
                  </a:lnTo>
                  <a:lnTo>
                    <a:pt x="94" y="34"/>
                  </a:lnTo>
                  <a:lnTo>
                    <a:pt x="101" y="38"/>
                  </a:lnTo>
                  <a:lnTo>
                    <a:pt x="108" y="44"/>
                  </a:lnTo>
                  <a:lnTo>
                    <a:pt x="113" y="50"/>
                  </a:lnTo>
                  <a:lnTo>
                    <a:pt x="117" y="57"/>
                  </a:lnTo>
                  <a:lnTo>
                    <a:pt x="120" y="66"/>
                  </a:lnTo>
                  <a:lnTo>
                    <a:pt x="121" y="75"/>
                  </a:lnTo>
                  <a:lnTo>
                    <a:pt x="120" y="84"/>
                  </a:lnTo>
                  <a:lnTo>
                    <a:pt x="117" y="93"/>
                  </a:lnTo>
                  <a:lnTo>
                    <a:pt x="113" y="100"/>
                  </a:lnTo>
                  <a:lnTo>
                    <a:pt x="108" y="107"/>
                  </a:lnTo>
                  <a:lnTo>
                    <a:pt x="101" y="112"/>
                  </a:lnTo>
                  <a:lnTo>
                    <a:pt x="94" y="116"/>
                  </a:lnTo>
                  <a:lnTo>
                    <a:pt x="85" y="120"/>
                  </a:lnTo>
                  <a:lnTo>
                    <a:pt x="76" y="121"/>
                  </a:lnTo>
                  <a:lnTo>
                    <a:pt x="67" y="120"/>
                  </a:lnTo>
                  <a:lnTo>
                    <a:pt x="58" y="116"/>
                  </a:lnTo>
                  <a:lnTo>
                    <a:pt x="51" y="112"/>
                  </a:lnTo>
                  <a:lnTo>
                    <a:pt x="44" y="107"/>
                  </a:lnTo>
                  <a:lnTo>
                    <a:pt x="39" y="100"/>
                  </a:lnTo>
                  <a:lnTo>
                    <a:pt x="35" y="93"/>
                  </a:lnTo>
                  <a:lnTo>
                    <a:pt x="31" y="84"/>
                  </a:lnTo>
                  <a:lnTo>
                    <a:pt x="30" y="75"/>
                  </a:lnTo>
                  <a:lnTo>
                    <a:pt x="31" y="66"/>
                  </a:lnTo>
                  <a:lnTo>
                    <a:pt x="35" y="57"/>
                  </a:lnTo>
                  <a:lnTo>
                    <a:pt x="39" y="50"/>
                  </a:lnTo>
                  <a:lnTo>
                    <a:pt x="44" y="44"/>
                  </a:lnTo>
                  <a:lnTo>
                    <a:pt x="51" y="38"/>
                  </a:lnTo>
                  <a:lnTo>
                    <a:pt x="58" y="34"/>
                  </a:lnTo>
                  <a:lnTo>
                    <a:pt x="67" y="31"/>
                  </a:lnTo>
                  <a:lnTo>
                    <a:pt x="76" y="30"/>
                  </a:lnTo>
                  <a:close/>
                  <a:moveTo>
                    <a:pt x="76" y="151"/>
                  </a:moveTo>
                  <a:lnTo>
                    <a:pt x="84" y="150"/>
                  </a:lnTo>
                  <a:lnTo>
                    <a:pt x="91" y="149"/>
                  </a:lnTo>
                  <a:lnTo>
                    <a:pt x="98" y="146"/>
                  </a:lnTo>
                  <a:lnTo>
                    <a:pt x="105" y="144"/>
                  </a:lnTo>
                  <a:lnTo>
                    <a:pt x="112" y="141"/>
                  </a:lnTo>
                  <a:lnTo>
                    <a:pt x="118" y="138"/>
                  </a:lnTo>
                  <a:lnTo>
                    <a:pt x="124" y="134"/>
                  </a:lnTo>
                  <a:lnTo>
                    <a:pt x="129" y="128"/>
                  </a:lnTo>
                  <a:lnTo>
                    <a:pt x="134" y="123"/>
                  </a:lnTo>
                  <a:lnTo>
                    <a:pt x="139" y="118"/>
                  </a:lnTo>
                  <a:lnTo>
                    <a:pt x="142" y="111"/>
                  </a:lnTo>
                  <a:lnTo>
                    <a:pt x="145" y="105"/>
                  </a:lnTo>
                  <a:lnTo>
                    <a:pt x="148" y="97"/>
                  </a:lnTo>
                  <a:lnTo>
                    <a:pt x="149" y="91"/>
                  </a:lnTo>
                  <a:lnTo>
                    <a:pt x="150" y="83"/>
                  </a:lnTo>
                  <a:lnTo>
                    <a:pt x="151" y="75"/>
                  </a:lnTo>
                  <a:lnTo>
                    <a:pt x="150" y="67"/>
                  </a:lnTo>
                  <a:lnTo>
                    <a:pt x="149" y="60"/>
                  </a:lnTo>
                  <a:lnTo>
                    <a:pt x="148" y="53"/>
                  </a:lnTo>
                  <a:lnTo>
                    <a:pt x="145" y="46"/>
                  </a:lnTo>
                  <a:lnTo>
                    <a:pt x="142" y="39"/>
                  </a:lnTo>
                  <a:lnTo>
                    <a:pt x="139" y="33"/>
                  </a:lnTo>
                  <a:lnTo>
                    <a:pt x="134" y="27"/>
                  </a:lnTo>
                  <a:lnTo>
                    <a:pt x="129" y="22"/>
                  </a:lnTo>
                  <a:lnTo>
                    <a:pt x="124" y="17"/>
                  </a:lnTo>
                  <a:lnTo>
                    <a:pt x="118" y="12"/>
                  </a:lnTo>
                  <a:lnTo>
                    <a:pt x="112" y="9"/>
                  </a:lnTo>
                  <a:lnTo>
                    <a:pt x="105" y="6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4" y="1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60" y="2"/>
                  </a:lnTo>
                  <a:lnTo>
                    <a:pt x="54" y="4"/>
                  </a:lnTo>
                  <a:lnTo>
                    <a:pt x="46" y="6"/>
                  </a:lnTo>
                  <a:lnTo>
                    <a:pt x="40" y="9"/>
                  </a:lnTo>
                  <a:lnTo>
                    <a:pt x="34" y="12"/>
                  </a:lnTo>
                  <a:lnTo>
                    <a:pt x="28" y="17"/>
                  </a:lnTo>
                  <a:lnTo>
                    <a:pt x="23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10" y="39"/>
                  </a:lnTo>
                  <a:lnTo>
                    <a:pt x="7" y="46"/>
                  </a:lnTo>
                  <a:lnTo>
                    <a:pt x="5" y="53"/>
                  </a:lnTo>
                  <a:lnTo>
                    <a:pt x="2" y="60"/>
                  </a:lnTo>
                  <a:lnTo>
                    <a:pt x="1" y="67"/>
                  </a:lnTo>
                  <a:lnTo>
                    <a:pt x="0" y="75"/>
                  </a:lnTo>
                  <a:lnTo>
                    <a:pt x="1" y="83"/>
                  </a:lnTo>
                  <a:lnTo>
                    <a:pt x="2" y="91"/>
                  </a:lnTo>
                  <a:lnTo>
                    <a:pt x="5" y="97"/>
                  </a:lnTo>
                  <a:lnTo>
                    <a:pt x="7" y="105"/>
                  </a:lnTo>
                  <a:lnTo>
                    <a:pt x="10" y="111"/>
                  </a:lnTo>
                  <a:lnTo>
                    <a:pt x="13" y="118"/>
                  </a:lnTo>
                  <a:lnTo>
                    <a:pt x="17" y="123"/>
                  </a:lnTo>
                  <a:lnTo>
                    <a:pt x="23" y="128"/>
                  </a:lnTo>
                  <a:lnTo>
                    <a:pt x="28" y="134"/>
                  </a:lnTo>
                  <a:lnTo>
                    <a:pt x="34" y="138"/>
                  </a:lnTo>
                  <a:lnTo>
                    <a:pt x="40" y="141"/>
                  </a:lnTo>
                  <a:lnTo>
                    <a:pt x="46" y="144"/>
                  </a:lnTo>
                  <a:lnTo>
                    <a:pt x="54" y="146"/>
                  </a:lnTo>
                  <a:lnTo>
                    <a:pt x="60" y="149"/>
                  </a:lnTo>
                  <a:lnTo>
                    <a:pt x="68" y="150"/>
                  </a:lnTo>
                  <a:lnTo>
                    <a:pt x="76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189">
              <a:extLst>
                <a:ext uri="{FF2B5EF4-FFF2-40B4-BE49-F238E27FC236}">
                  <a16:creationId xmlns:a16="http://schemas.microsoft.com/office/drawing/2014/main" id="{3876482A-FB04-4C76-A271-75887E9F0E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2200" y="1963738"/>
              <a:ext cx="47625" cy="47625"/>
            </a:xfrm>
            <a:custGeom>
              <a:avLst/>
              <a:gdLst>
                <a:gd name="T0" fmla="*/ 84 w 150"/>
                <a:gd name="T1" fmla="*/ 31 h 151"/>
                <a:gd name="T2" fmla="*/ 101 w 150"/>
                <a:gd name="T3" fmla="*/ 38 h 151"/>
                <a:gd name="T4" fmla="*/ 112 w 150"/>
                <a:gd name="T5" fmla="*/ 50 h 151"/>
                <a:gd name="T6" fmla="*/ 119 w 150"/>
                <a:gd name="T7" fmla="*/ 66 h 151"/>
                <a:gd name="T8" fmla="*/ 119 w 150"/>
                <a:gd name="T9" fmla="*/ 84 h 151"/>
                <a:gd name="T10" fmla="*/ 112 w 150"/>
                <a:gd name="T11" fmla="*/ 100 h 151"/>
                <a:gd name="T12" fmla="*/ 101 w 150"/>
                <a:gd name="T13" fmla="*/ 112 h 151"/>
                <a:gd name="T14" fmla="*/ 84 w 150"/>
                <a:gd name="T15" fmla="*/ 120 h 151"/>
                <a:gd name="T16" fmla="*/ 66 w 150"/>
                <a:gd name="T17" fmla="*/ 120 h 151"/>
                <a:gd name="T18" fmla="*/ 50 w 150"/>
                <a:gd name="T19" fmla="*/ 112 h 151"/>
                <a:gd name="T20" fmla="*/ 37 w 150"/>
                <a:gd name="T21" fmla="*/ 100 h 151"/>
                <a:gd name="T22" fmla="*/ 31 w 150"/>
                <a:gd name="T23" fmla="*/ 84 h 151"/>
                <a:gd name="T24" fmla="*/ 31 w 150"/>
                <a:gd name="T25" fmla="*/ 66 h 151"/>
                <a:gd name="T26" fmla="*/ 37 w 150"/>
                <a:gd name="T27" fmla="*/ 50 h 151"/>
                <a:gd name="T28" fmla="*/ 50 w 150"/>
                <a:gd name="T29" fmla="*/ 38 h 151"/>
                <a:gd name="T30" fmla="*/ 66 w 150"/>
                <a:gd name="T31" fmla="*/ 31 h 151"/>
                <a:gd name="T32" fmla="*/ 75 w 150"/>
                <a:gd name="T33" fmla="*/ 151 h 151"/>
                <a:gd name="T34" fmla="*/ 90 w 150"/>
                <a:gd name="T35" fmla="*/ 149 h 151"/>
                <a:gd name="T36" fmla="*/ 105 w 150"/>
                <a:gd name="T37" fmla="*/ 144 h 151"/>
                <a:gd name="T38" fmla="*/ 117 w 150"/>
                <a:gd name="T39" fmla="*/ 138 h 151"/>
                <a:gd name="T40" fmla="*/ 128 w 150"/>
                <a:gd name="T41" fmla="*/ 128 h 151"/>
                <a:gd name="T42" fmla="*/ 137 w 150"/>
                <a:gd name="T43" fmla="*/ 118 h 151"/>
                <a:gd name="T44" fmla="*/ 144 w 150"/>
                <a:gd name="T45" fmla="*/ 105 h 151"/>
                <a:gd name="T46" fmla="*/ 149 w 150"/>
                <a:gd name="T47" fmla="*/ 91 h 151"/>
                <a:gd name="T48" fmla="*/ 150 w 150"/>
                <a:gd name="T49" fmla="*/ 75 h 151"/>
                <a:gd name="T50" fmla="*/ 149 w 150"/>
                <a:gd name="T51" fmla="*/ 60 h 151"/>
                <a:gd name="T52" fmla="*/ 144 w 150"/>
                <a:gd name="T53" fmla="*/ 46 h 151"/>
                <a:gd name="T54" fmla="*/ 137 w 150"/>
                <a:gd name="T55" fmla="*/ 33 h 151"/>
                <a:gd name="T56" fmla="*/ 128 w 150"/>
                <a:gd name="T57" fmla="*/ 22 h 151"/>
                <a:gd name="T58" fmla="*/ 117 w 150"/>
                <a:gd name="T59" fmla="*/ 12 h 151"/>
                <a:gd name="T60" fmla="*/ 105 w 150"/>
                <a:gd name="T61" fmla="*/ 6 h 151"/>
                <a:gd name="T62" fmla="*/ 90 w 150"/>
                <a:gd name="T63" fmla="*/ 2 h 151"/>
                <a:gd name="T64" fmla="*/ 75 w 150"/>
                <a:gd name="T65" fmla="*/ 0 h 151"/>
                <a:gd name="T66" fmla="*/ 60 w 150"/>
                <a:gd name="T67" fmla="*/ 2 h 151"/>
                <a:gd name="T68" fmla="*/ 46 w 150"/>
                <a:gd name="T69" fmla="*/ 6 h 151"/>
                <a:gd name="T70" fmla="*/ 33 w 150"/>
                <a:gd name="T71" fmla="*/ 12 h 151"/>
                <a:gd name="T72" fmla="*/ 22 w 150"/>
                <a:gd name="T73" fmla="*/ 22 h 151"/>
                <a:gd name="T74" fmla="*/ 13 w 150"/>
                <a:gd name="T75" fmla="*/ 33 h 151"/>
                <a:gd name="T76" fmla="*/ 6 w 150"/>
                <a:gd name="T77" fmla="*/ 46 h 151"/>
                <a:gd name="T78" fmla="*/ 2 w 150"/>
                <a:gd name="T79" fmla="*/ 60 h 151"/>
                <a:gd name="T80" fmla="*/ 0 w 150"/>
                <a:gd name="T81" fmla="*/ 75 h 151"/>
                <a:gd name="T82" fmla="*/ 2 w 150"/>
                <a:gd name="T83" fmla="*/ 91 h 151"/>
                <a:gd name="T84" fmla="*/ 6 w 150"/>
                <a:gd name="T85" fmla="*/ 105 h 151"/>
                <a:gd name="T86" fmla="*/ 13 w 150"/>
                <a:gd name="T87" fmla="*/ 118 h 151"/>
                <a:gd name="T88" fmla="*/ 22 w 150"/>
                <a:gd name="T89" fmla="*/ 128 h 151"/>
                <a:gd name="T90" fmla="*/ 33 w 150"/>
                <a:gd name="T91" fmla="*/ 138 h 151"/>
                <a:gd name="T92" fmla="*/ 46 w 150"/>
                <a:gd name="T93" fmla="*/ 144 h 151"/>
                <a:gd name="T94" fmla="*/ 60 w 150"/>
                <a:gd name="T95" fmla="*/ 149 h 151"/>
                <a:gd name="T96" fmla="*/ 75 w 150"/>
                <a:gd name="T97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0" h="151">
                  <a:moveTo>
                    <a:pt x="75" y="30"/>
                  </a:moveTo>
                  <a:lnTo>
                    <a:pt x="84" y="31"/>
                  </a:lnTo>
                  <a:lnTo>
                    <a:pt x="93" y="34"/>
                  </a:lnTo>
                  <a:lnTo>
                    <a:pt x="101" y="38"/>
                  </a:lnTo>
                  <a:lnTo>
                    <a:pt x="107" y="44"/>
                  </a:lnTo>
                  <a:lnTo>
                    <a:pt x="112" y="50"/>
                  </a:lnTo>
                  <a:lnTo>
                    <a:pt x="117" y="57"/>
                  </a:lnTo>
                  <a:lnTo>
                    <a:pt x="119" y="66"/>
                  </a:lnTo>
                  <a:lnTo>
                    <a:pt x="120" y="75"/>
                  </a:lnTo>
                  <a:lnTo>
                    <a:pt x="119" y="84"/>
                  </a:lnTo>
                  <a:lnTo>
                    <a:pt x="117" y="93"/>
                  </a:lnTo>
                  <a:lnTo>
                    <a:pt x="112" y="100"/>
                  </a:lnTo>
                  <a:lnTo>
                    <a:pt x="107" y="107"/>
                  </a:lnTo>
                  <a:lnTo>
                    <a:pt x="101" y="112"/>
                  </a:lnTo>
                  <a:lnTo>
                    <a:pt x="93" y="116"/>
                  </a:lnTo>
                  <a:lnTo>
                    <a:pt x="84" y="120"/>
                  </a:lnTo>
                  <a:lnTo>
                    <a:pt x="75" y="121"/>
                  </a:lnTo>
                  <a:lnTo>
                    <a:pt x="66" y="120"/>
                  </a:lnTo>
                  <a:lnTo>
                    <a:pt x="58" y="116"/>
                  </a:lnTo>
                  <a:lnTo>
                    <a:pt x="50" y="112"/>
                  </a:lnTo>
                  <a:lnTo>
                    <a:pt x="44" y="107"/>
                  </a:lnTo>
                  <a:lnTo>
                    <a:pt x="37" y="100"/>
                  </a:lnTo>
                  <a:lnTo>
                    <a:pt x="33" y="93"/>
                  </a:lnTo>
                  <a:lnTo>
                    <a:pt x="31" y="84"/>
                  </a:lnTo>
                  <a:lnTo>
                    <a:pt x="30" y="75"/>
                  </a:lnTo>
                  <a:lnTo>
                    <a:pt x="31" y="66"/>
                  </a:lnTo>
                  <a:lnTo>
                    <a:pt x="33" y="57"/>
                  </a:lnTo>
                  <a:lnTo>
                    <a:pt x="37" y="50"/>
                  </a:lnTo>
                  <a:lnTo>
                    <a:pt x="44" y="44"/>
                  </a:lnTo>
                  <a:lnTo>
                    <a:pt x="50" y="38"/>
                  </a:lnTo>
                  <a:lnTo>
                    <a:pt x="58" y="34"/>
                  </a:lnTo>
                  <a:lnTo>
                    <a:pt x="66" y="31"/>
                  </a:lnTo>
                  <a:lnTo>
                    <a:pt x="75" y="30"/>
                  </a:lnTo>
                  <a:close/>
                  <a:moveTo>
                    <a:pt x="75" y="151"/>
                  </a:moveTo>
                  <a:lnTo>
                    <a:pt x="82" y="150"/>
                  </a:lnTo>
                  <a:lnTo>
                    <a:pt x="90" y="149"/>
                  </a:lnTo>
                  <a:lnTo>
                    <a:pt x="97" y="146"/>
                  </a:lnTo>
                  <a:lnTo>
                    <a:pt x="105" y="144"/>
                  </a:lnTo>
                  <a:lnTo>
                    <a:pt x="111" y="141"/>
                  </a:lnTo>
                  <a:lnTo>
                    <a:pt x="117" y="138"/>
                  </a:lnTo>
                  <a:lnTo>
                    <a:pt x="123" y="134"/>
                  </a:lnTo>
                  <a:lnTo>
                    <a:pt x="128" y="128"/>
                  </a:lnTo>
                  <a:lnTo>
                    <a:pt x="133" y="123"/>
                  </a:lnTo>
                  <a:lnTo>
                    <a:pt x="137" y="118"/>
                  </a:lnTo>
                  <a:lnTo>
                    <a:pt x="141" y="111"/>
                  </a:lnTo>
                  <a:lnTo>
                    <a:pt x="144" y="105"/>
                  </a:lnTo>
                  <a:lnTo>
                    <a:pt x="147" y="97"/>
                  </a:lnTo>
                  <a:lnTo>
                    <a:pt x="149" y="91"/>
                  </a:lnTo>
                  <a:lnTo>
                    <a:pt x="150" y="83"/>
                  </a:lnTo>
                  <a:lnTo>
                    <a:pt x="150" y="75"/>
                  </a:lnTo>
                  <a:lnTo>
                    <a:pt x="150" y="67"/>
                  </a:lnTo>
                  <a:lnTo>
                    <a:pt x="149" y="60"/>
                  </a:lnTo>
                  <a:lnTo>
                    <a:pt x="147" y="53"/>
                  </a:lnTo>
                  <a:lnTo>
                    <a:pt x="144" y="46"/>
                  </a:lnTo>
                  <a:lnTo>
                    <a:pt x="141" y="39"/>
                  </a:lnTo>
                  <a:lnTo>
                    <a:pt x="137" y="33"/>
                  </a:lnTo>
                  <a:lnTo>
                    <a:pt x="133" y="27"/>
                  </a:lnTo>
                  <a:lnTo>
                    <a:pt x="128" y="22"/>
                  </a:lnTo>
                  <a:lnTo>
                    <a:pt x="123" y="17"/>
                  </a:lnTo>
                  <a:lnTo>
                    <a:pt x="117" y="12"/>
                  </a:lnTo>
                  <a:lnTo>
                    <a:pt x="111" y="9"/>
                  </a:lnTo>
                  <a:lnTo>
                    <a:pt x="105" y="6"/>
                  </a:lnTo>
                  <a:lnTo>
                    <a:pt x="97" y="4"/>
                  </a:lnTo>
                  <a:lnTo>
                    <a:pt x="90" y="2"/>
                  </a:lnTo>
                  <a:lnTo>
                    <a:pt x="82" y="1"/>
                  </a:lnTo>
                  <a:lnTo>
                    <a:pt x="75" y="0"/>
                  </a:lnTo>
                  <a:lnTo>
                    <a:pt x="67" y="1"/>
                  </a:lnTo>
                  <a:lnTo>
                    <a:pt x="60" y="2"/>
                  </a:lnTo>
                  <a:lnTo>
                    <a:pt x="52" y="4"/>
                  </a:lnTo>
                  <a:lnTo>
                    <a:pt x="46" y="6"/>
                  </a:lnTo>
                  <a:lnTo>
                    <a:pt x="39" y="9"/>
                  </a:lnTo>
                  <a:lnTo>
                    <a:pt x="33" y="12"/>
                  </a:lnTo>
                  <a:lnTo>
                    <a:pt x="28" y="17"/>
                  </a:lnTo>
                  <a:lnTo>
                    <a:pt x="22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9" y="39"/>
                  </a:lnTo>
                  <a:lnTo>
                    <a:pt x="6" y="46"/>
                  </a:lnTo>
                  <a:lnTo>
                    <a:pt x="3" y="53"/>
                  </a:lnTo>
                  <a:lnTo>
                    <a:pt x="2" y="60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0" y="83"/>
                  </a:lnTo>
                  <a:lnTo>
                    <a:pt x="2" y="91"/>
                  </a:lnTo>
                  <a:lnTo>
                    <a:pt x="3" y="97"/>
                  </a:lnTo>
                  <a:lnTo>
                    <a:pt x="6" y="105"/>
                  </a:lnTo>
                  <a:lnTo>
                    <a:pt x="9" y="111"/>
                  </a:lnTo>
                  <a:lnTo>
                    <a:pt x="13" y="118"/>
                  </a:lnTo>
                  <a:lnTo>
                    <a:pt x="17" y="123"/>
                  </a:lnTo>
                  <a:lnTo>
                    <a:pt x="22" y="128"/>
                  </a:lnTo>
                  <a:lnTo>
                    <a:pt x="28" y="134"/>
                  </a:lnTo>
                  <a:lnTo>
                    <a:pt x="33" y="138"/>
                  </a:lnTo>
                  <a:lnTo>
                    <a:pt x="39" y="141"/>
                  </a:lnTo>
                  <a:lnTo>
                    <a:pt x="46" y="144"/>
                  </a:lnTo>
                  <a:lnTo>
                    <a:pt x="52" y="146"/>
                  </a:lnTo>
                  <a:lnTo>
                    <a:pt x="60" y="149"/>
                  </a:lnTo>
                  <a:lnTo>
                    <a:pt x="67" y="150"/>
                  </a:lnTo>
                  <a:lnTo>
                    <a:pt x="7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190">
              <a:extLst>
                <a:ext uri="{FF2B5EF4-FFF2-40B4-BE49-F238E27FC236}">
                  <a16:creationId xmlns:a16="http://schemas.microsoft.com/office/drawing/2014/main" id="{BF9F9321-5F59-4E38-B63A-1CC404DE29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7450" y="1935163"/>
              <a:ext cx="76200" cy="76200"/>
            </a:xfrm>
            <a:custGeom>
              <a:avLst/>
              <a:gdLst>
                <a:gd name="T0" fmla="*/ 138 w 240"/>
                <a:gd name="T1" fmla="*/ 32 h 241"/>
                <a:gd name="T2" fmla="*/ 163 w 240"/>
                <a:gd name="T3" fmla="*/ 40 h 241"/>
                <a:gd name="T4" fmla="*/ 183 w 240"/>
                <a:gd name="T5" fmla="*/ 56 h 241"/>
                <a:gd name="T6" fmla="*/ 199 w 240"/>
                <a:gd name="T7" fmla="*/ 77 h 241"/>
                <a:gd name="T8" fmla="*/ 208 w 240"/>
                <a:gd name="T9" fmla="*/ 101 h 241"/>
                <a:gd name="T10" fmla="*/ 210 w 240"/>
                <a:gd name="T11" fmla="*/ 129 h 241"/>
                <a:gd name="T12" fmla="*/ 203 w 240"/>
                <a:gd name="T13" fmla="*/ 155 h 241"/>
                <a:gd name="T14" fmla="*/ 190 w 240"/>
                <a:gd name="T15" fmla="*/ 178 h 241"/>
                <a:gd name="T16" fmla="*/ 171 w 240"/>
                <a:gd name="T17" fmla="*/ 195 h 241"/>
                <a:gd name="T18" fmla="*/ 147 w 240"/>
                <a:gd name="T19" fmla="*/ 206 h 241"/>
                <a:gd name="T20" fmla="*/ 120 w 240"/>
                <a:gd name="T21" fmla="*/ 211 h 241"/>
                <a:gd name="T22" fmla="*/ 93 w 240"/>
                <a:gd name="T23" fmla="*/ 206 h 241"/>
                <a:gd name="T24" fmla="*/ 70 w 240"/>
                <a:gd name="T25" fmla="*/ 195 h 241"/>
                <a:gd name="T26" fmla="*/ 50 w 240"/>
                <a:gd name="T27" fmla="*/ 178 h 241"/>
                <a:gd name="T28" fmla="*/ 36 w 240"/>
                <a:gd name="T29" fmla="*/ 155 h 241"/>
                <a:gd name="T30" fmla="*/ 30 w 240"/>
                <a:gd name="T31" fmla="*/ 129 h 241"/>
                <a:gd name="T32" fmla="*/ 31 w 240"/>
                <a:gd name="T33" fmla="*/ 101 h 241"/>
                <a:gd name="T34" fmla="*/ 41 w 240"/>
                <a:gd name="T35" fmla="*/ 77 h 241"/>
                <a:gd name="T36" fmla="*/ 56 w 240"/>
                <a:gd name="T37" fmla="*/ 56 h 241"/>
                <a:gd name="T38" fmla="*/ 77 w 240"/>
                <a:gd name="T39" fmla="*/ 40 h 241"/>
                <a:gd name="T40" fmla="*/ 102 w 240"/>
                <a:gd name="T41" fmla="*/ 32 h 241"/>
                <a:gd name="T42" fmla="*/ 120 w 240"/>
                <a:gd name="T43" fmla="*/ 241 h 241"/>
                <a:gd name="T44" fmla="*/ 155 w 240"/>
                <a:gd name="T45" fmla="*/ 235 h 241"/>
                <a:gd name="T46" fmla="*/ 188 w 240"/>
                <a:gd name="T47" fmla="*/ 219 h 241"/>
                <a:gd name="T48" fmla="*/ 212 w 240"/>
                <a:gd name="T49" fmla="*/ 197 h 241"/>
                <a:gd name="T50" fmla="*/ 231 w 240"/>
                <a:gd name="T51" fmla="*/ 167 h 241"/>
                <a:gd name="T52" fmla="*/ 240 w 240"/>
                <a:gd name="T53" fmla="*/ 132 h 241"/>
                <a:gd name="T54" fmla="*/ 238 w 240"/>
                <a:gd name="T55" fmla="*/ 96 h 241"/>
                <a:gd name="T56" fmla="*/ 226 w 240"/>
                <a:gd name="T57" fmla="*/ 63 h 241"/>
                <a:gd name="T58" fmla="*/ 205 w 240"/>
                <a:gd name="T59" fmla="*/ 35 h 241"/>
                <a:gd name="T60" fmla="*/ 177 w 240"/>
                <a:gd name="T61" fmla="*/ 15 h 241"/>
                <a:gd name="T62" fmla="*/ 144 w 240"/>
                <a:gd name="T63" fmla="*/ 2 h 241"/>
                <a:gd name="T64" fmla="*/ 107 w 240"/>
                <a:gd name="T65" fmla="*/ 1 h 241"/>
                <a:gd name="T66" fmla="*/ 73 w 240"/>
                <a:gd name="T67" fmla="*/ 9 h 241"/>
                <a:gd name="T68" fmla="*/ 44 w 240"/>
                <a:gd name="T69" fmla="*/ 27 h 241"/>
                <a:gd name="T70" fmla="*/ 20 w 240"/>
                <a:gd name="T71" fmla="*/ 53 h 241"/>
                <a:gd name="T72" fmla="*/ 5 w 240"/>
                <a:gd name="T73" fmla="*/ 84 h 241"/>
                <a:gd name="T74" fmla="*/ 0 w 240"/>
                <a:gd name="T75" fmla="*/ 120 h 241"/>
                <a:gd name="T76" fmla="*/ 5 w 240"/>
                <a:gd name="T77" fmla="*/ 156 h 241"/>
                <a:gd name="T78" fmla="*/ 20 w 240"/>
                <a:gd name="T79" fmla="*/ 187 h 241"/>
                <a:gd name="T80" fmla="*/ 44 w 240"/>
                <a:gd name="T81" fmla="*/ 213 h 241"/>
                <a:gd name="T82" fmla="*/ 73 w 240"/>
                <a:gd name="T83" fmla="*/ 231 h 241"/>
                <a:gd name="T84" fmla="*/ 107 w 240"/>
                <a:gd name="T85" fmla="*/ 24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0" h="241">
                  <a:moveTo>
                    <a:pt x="120" y="30"/>
                  </a:moveTo>
                  <a:lnTo>
                    <a:pt x="129" y="31"/>
                  </a:lnTo>
                  <a:lnTo>
                    <a:pt x="138" y="32"/>
                  </a:lnTo>
                  <a:lnTo>
                    <a:pt x="147" y="34"/>
                  </a:lnTo>
                  <a:lnTo>
                    <a:pt x="155" y="37"/>
                  </a:lnTo>
                  <a:lnTo>
                    <a:pt x="163" y="40"/>
                  </a:lnTo>
                  <a:lnTo>
                    <a:pt x="171" y="46"/>
                  </a:lnTo>
                  <a:lnTo>
                    <a:pt x="177" y="50"/>
                  </a:lnTo>
                  <a:lnTo>
                    <a:pt x="183" y="56"/>
                  </a:lnTo>
                  <a:lnTo>
                    <a:pt x="190" y="63"/>
                  </a:lnTo>
                  <a:lnTo>
                    <a:pt x="195" y="69"/>
                  </a:lnTo>
                  <a:lnTo>
                    <a:pt x="199" y="77"/>
                  </a:lnTo>
                  <a:lnTo>
                    <a:pt x="203" y="85"/>
                  </a:lnTo>
                  <a:lnTo>
                    <a:pt x="206" y="93"/>
                  </a:lnTo>
                  <a:lnTo>
                    <a:pt x="208" y="101"/>
                  </a:lnTo>
                  <a:lnTo>
                    <a:pt x="210" y="111"/>
                  </a:lnTo>
                  <a:lnTo>
                    <a:pt x="210" y="120"/>
                  </a:lnTo>
                  <a:lnTo>
                    <a:pt x="210" y="129"/>
                  </a:lnTo>
                  <a:lnTo>
                    <a:pt x="208" y="138"/>
                  </a:lnTo>
                  <a:lnTo>
                    <a:pt x="206" y="146"/>
                  </a:lnTo>
                  <a:lnTo>
                    <a:pt x="203" y="155"/>
                  </a:lnTo>
                  <a:lnTo>
                    <a:pt x="199" y="163"/>
                  </a:lnTo>
                  <a:lnTo>
                    <a:pt x="195" y="170"/>
                  </a:lnTo>
                  <a:lnTo>
                    <a:pt x="190" y="178"/>
                  </a:lnTo>
                  <a:lnTo>
                    <a:pt x="183" y="184"/>
                  </a:lnTo>
                  <a:lnTo>
                    <a:pt x="177" y="189"/>
                  </a:lnTo>
                  <a:lnTo>
                    <a:pt x="171" y="195"/>
                  </a:lnTo>
                  <a:lnTo>
                    <a:pt x="163" y="199"/>
                  </a:lnTo>
                  <a:lnTo>
                    <a:pt x="155" y="203"/>
                  </a:lnTo>
                  <a:lnTo>
                    <a:pt x="147" y="206"/>
                  </a:lnTo>
                  <a:lnTo>
                    <a:pt x="138" y="209"/>
                  </a:lnTo>
                  <a:lnTo>
                    <a:pt x="129" y="210"/>
                  </a:lnTo>
                  <a:lnTo>
                    <a:pt x="120" y="211"/>
                  </a:lnTo>
                  <a:lnTo>
                    <a:pt x="110" y="210"/>
                  </a:lnTo>
                  <a:lnTo>
                    <a:pt x="102" y="209"/>
                  </a:lnTo>
                  <a:lnTo>
                    <a:pt x="93" y="206"/>
                  </a:lnTo>
                  <a:lnTo>
                    <a:pt x="85" y="203"/>
                  </a:lnTo>
                  <a:lnTo>
                    <a:pt x="77" y="199"/>
                  </a:lnTo>
                  <a:lnTo>
                    <a:pt x="70" y="195"/>
                  </a:lnTo>
                  <a:lnTo>
                    <a:pt x="62" y="189"/>
                  </a:lnTo>
                  <a:lnTo>
                    <a:pt x="56" y="184"/>
                  </a:lnTo>
                  <a:lnTo>
                    <a:pt x="50" y="178"/>
                  </a:lnTo>
                  <a:lnTo>
                    <a:pt x="45" y="170"/>
                  </a:lnTo>
                  <a:lnTo>
                    <a:pt x="41" y="164"/>
                  </a:lnTo>
                  <a:lnTo>
                    <a:pt x="36" y="155"/>
                  </a:lnTo>
                  <a:lnTo>
                    <a:pt x="34" y="146"/>
                  </a:lnTo>
                  <a:lnTo>
                    <a:pt x="31" y="138"/>
                  </a:lnTo>
                  <a:lnTo>
                    <a:pt x="30" y="129"/>
                  </a:lnTo>
                  <a:lnTo>
                    <a:pt x="30" y="120"/>
                  </a:lnTo>
                  <a:lnTo>
                    <a:pt x="30" y="111"/>
                  </a:lnTo>
                  <a:lnTo>
                    <a:pt x="31" y="101"/>
                  </a:lnTo>
                  <a:lnTo>
                    <a:pt x="34" y="93"/>
                  </a:lnTo>
                  <a:lnTo>
                    <a:pt x="36" y="85"/>
                  </a:lnTo>
                  <a:lnTo>
                    <a:pt x="41" y="77"/>
                  </a:lnTo>
                  <a:lnTo>
                    <a:pt x="45" y="69"/>
                  </a:lnTo>
                  <a:lnTo>
                    <a:pt x="50" y="63"/>
                  </a:lnTo>
                  <a:lnTo>
                    <a:pt x="56" y="56"/>
                  </a:lnTo>
                  <a:lnTo>
                    <a:pt x="62" y="50"/>
                  </a:lnTo>
                  <a:lnTo>
                    <a:pt x="70" y="46"/>
                  </a:lnTo>
                  <a:lnTo>
                    <a:pt x="77" y="40"/>
                  </a:lnTo>
                  <a:lnTo>
                    <a:pt x="85" y="37"/>
                  </a:lnTo>
                  <a:lnTo>
                    <a:pt x="93" y="34"/>
                  </a:lnTo>
                  <a:lnTo>
                    <a:pt x="102" y="32"/>
                  </a:lnTo>
                  <a:lnTo>
                    <a:pt x="110" y="31"/>
                  </a:lnTo>
                  <a:lnTo>
                    <a:pt x="120" y="30"/>
                  </a:lnTo>
                  <a:close/>
                  <a:moveTo>
                    <a:pt x="120" y="241"/>
                  </a:moveTo>
                  <a:lnTo>
                    <a:pt x="132" y="240"/>
                  </a:lnTo>
                  <a:lnTo>
                    <a:pt x="144" y="238"/>
                  </a:lnTo>
                  <a:lnTo>
                    <a:pt x="155" y="235"/>
                  </a:lnTo>
                  <a:lnTo>
                    <a:pt x="167" y="231"/>
                  </a:lnTo>
                  <a:lnTo>
                    <a:pt x="177" y="226"/>
                  </a:lnTo>
                  <a:lnTo>
                    <a:pt x="188" y="219"/>
                  </a:lnTo>
                  <a:lnTo>
                    <a:pt x="196" y="213"/>
                  </a:lnTo>
                  <a:lnTo>
                    <a:pt x="205" y="205"/>
                  </a:lnTo>
                  <a:lnTo>
                    <a:pt x="212" y="197"/>
                  </a:lnTo>
                  <a:lnTo>
                    <a:pt x="220" y="187"/>
                  </a:lnTo>
                  <a:lnTo>
                    <a:pt x="226" y="178"/>
                  </a:lnTo>
                  <a:lnTo>
                    <a:pt x="231" y="167"/>
                  </a:lnTo>
                  <a:lnTo>
                    <a:pt x="235" y="156"/>
                  </a:lnTo>
                  <a:lnTo>
                    <a:pt x="238" y="144"/>
                  </a:lnTo>
                  <a:lnTo>
                    <a:pt x="240" y="132"/>
                  </a:lnTo>
                  <a:lnTo>
                    <a:pt x="240" y="120"/>
                  </a:lnTo>
                  <a:lnTo>
                    <a:pt x="240" y="108"/>
                  </a:lnTo>
                  <a:lnTo>
                    <a:pt x="238" y="96"/>
                  </a:lnTo>
                  <a:lnTo>
                    <a:pt x="235" y="84"/>
                  </a:lnTo>
                  <a:lnTo>
                    <a:pt x="231" y="74"/>
                  </a:lnTo>
                  <a:lnTo>
                    <a:pt x="226" y="63"/>
                  </a:lnTo>
                  <a:lnTo>
                    <a:pt x="220" y="53"/>
                  </a:lnTo>
                  <a:lnTo>
                    <a:pt x="212" y="43"/>
                  </a:lnTo>
                  <a:lnTo>
                    <a:pt x="205" y="35"/>
                  </a:lnTo>
                  <a:lnTo>
                    <a:pt x="196" y="27"/>
                  </a:lnTo>
                  <a:lnTo>
                    <a:pt x="188" y="20"/>
                  </a:lnTo>
                  <a:lnTo>
                    <a:pt x="177" y="15"/>
                  </a:lnTo>
                  <a:lnTo>
                    <a:pt x="167" y="9"/>
                  </a:lnTo>
                  <a:lnTo>
                    <a:pt x="155" y="5"/>
                  </a:lnTo>
                  <a:lnTo>
                    <a:pt x="144" y="2"/>
                  </a:lnTo>
                  <a:lnTo>
                    <a:pt x="132" y="1"/>
                  </a:lnTo>
                  <a:lnTo>
                    <a:pt x="120" y="0"/>
                  </a:lnTo>
                  <a:lnTo>
                    <a:pt x="107" y="1"/>
                  </a:lnTo>
                  <a:lnTo>
                    <a:pt x="95" y="2"/>
                  </a:lnTo>
                  <a:lnTo>
                    <a:pt x="85" y="5"/>
                  </a:lnTo>
                  <a:lnTo>
                    <a:pt x="73" y="9"/>
                  </a:lnTo>
                  <a:lnTo>
                    <a:pt x="62" y="15"/>
                  </a:lnTo>
                  <a:lnTo>
                    <a:pt x="53" y="20"/>
                  </a:lnTo>
                  <a:lnTo>
                    <a:pt x="44" y="27"/>
                  </a:lnTo>
                  <a:lnTo>
                    <a:pt x="35" y="35"/>
                  </a:lnTo>
                  <a:lnTo>
                    <a:pt x="27" y="43"/>
                  </a:lnTo>
                  <a:lnTo>
                    <a:pt x="20" y="53"/>
                  </a:lnTo>
                  <a:lnTo>
                    <a:pt x="14" y="63"/>
                  </a:lnTo>
                  <a:lnTo>
                    <a:pt x="10" y="74"/>
                  </a:lnTo>
                  <a:lnTo>
                    <a:pt x="5" y="84"/>
                  </a:lnTo>
                  <a:lnTo>
                    <a:pt x="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0" y="132"/>
                  </a:lnTo>
                  <a:lnTo>
                    <a:pt x="2" y="144"/>
                  </a:lnTo>
                  <a:lnTo>
                    <a:pt x="5" y="156"/>
                  </a:lnTo>
                  <a:lnTo>
                    <a:pt x="10" y="167"/>
                  </a:lnTo>
                  <a:lnTo>
                    <a:pt x="14" y="178"/>
                  </a:lnTo>
                  <a:lnTo>
                    <a:pt x="20" y="187"/>
                  </a:lnTo>
                  <a:lnTo>
                    <a:pt x="27" y="197"/>
                  </a:lnTo>
                  <a:lnTo>
                    <a:pt x="35" y="205"/>
                  </a:lnTo>
                  <a:lnTo>
                    <a:pt x="44" y="213"/>
                  </a:lnTo>
                  <a:lnTo>
                    <a:pt x="53" y="219"/>
                  </a:lnTo>
                  <a:lnTo>
                    <a:pt x="62" y="226"/>
                  </a:lnTo>
                  <a:lnTo>
                    <a:pt x="73" y="231"/>
                  </a:lnTo>
                  <a:lnTo>
                    <a:pt x="85" y="235"/>
                  </a:lnTo>
                  <a:lnTo>
                    <a:pt x="95" y="238"/>
                  </a:lnTo>
                  <a:lnTo>
                    <a:pt x="107" y="240"/>
                  </a:lnTo>
                  <a:lnTo>
                    <a:pt x="120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5" name="Group 264">
            <a:extLst>
              <a:ext uri="{FF2B5EF4-FFF2-40B4-BE49-F238E27FC236}">
                <a16:creationId xmlns:a16="http://schemas.microsoft.com/office/drawing/2014/main" id="{EEF851A2-2890-4BF4-ACD7-5FBAFF914CA5}"/>
              </a:ext>
            </a:extLst>
          </p:cNvPr>
          <p:cNvGrpSpPr/>
          <p:nvPr/>
        </p:nvGrpSpPr>
        <p:grpSpPr>
          <a:xfrm>
            <a:off x="5786560" y="3256277"/>
            <a:ext cx="343639" cy="345446"/>
            <a:chOff x="1547813" y="3240088"/>
            <a:chExt cx="301626" cy="303213"/>
          </a:xfrm>
          <a:solidFill>
            <a:schemeClr val="bg1"/>
          </a:solidFill>
        </p:grpSpPr>
        <p:sp>
          <p:nvSpPr>
            <p:cNvPr id="266" name="Freeform 61">
              <a:extLst>
                <a:ext uri="{FF2B5EF4-FFF2-40B4-BE49-F238E27FC236}">
                  <a16:creationId xmlns:a16="http://schemas.microsoft.com/office/drawing/2014/main" id="{8AE6579D-9477-4919-BB30-E429B462BF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1313" y="3392488"/>
              <a:ext cx="85725" cy="87313"/>
            </a:xfrm>
            <a:custGeom>
              <a:avLst/>
              <a:gdLst>
                <a:gd name="T0" fmla="*/ 92 w 218"/>
                <a:gd name="T1" fmla="*/ 191 h 219"/>
                <a:gd name="T2" fmla="*/ 70 w 218"/>
                <a:gd name="T3" fmla="*/ 183 h 219"/>
                <a:gd name="T4" fmla="*/ 50 w 218"/>
                <a:gd name="T5" fmla="*/ 168 h 219"/>
                <a:gd name="T6" fmla="*/ 35 w 218"/>
                <a:gd name="T7" fmla="*/ 149 h 219"/>
                <a:gd name="T8" fmla="*/ 27 w 218"/>
                <a:gd name="T9" fmla="*/ 125 h 219"/>
                <a:gd name="T10" fmla="*/ 26 w 218"/>
                <a:gd name="T11" fmla="*/ 101 h 219"/>
                <a:gd name="T12" fmla="*/ 32 w 218"/>
                <a:gd name="T13" fmla="*/ 77 h 219"/>
                <a:gd name="T14" fmla="*/ 45 w 218"/>
                <a:gd name="T15" fmla="*/ 56 h 219"/>
                <a:gd name="T16" fmla="*/ 62 w 218"/>
                <a:gd name="T17" fmla="*/ 40 h 219"/>
                <a:gd name="T18" fmla="*/ 85 w 218"/>
                <a:gd name="T19" fmla="*/ 29 h 219"/>
                <a:gd name="T20" fmla="*/ 109 w 218"/>
                <a:gd name="T21" fmla="*/ 26 h 219"/>
                <a:gd name="T22" fmla="*/ 134 w 218"/>
                <a:gd name="T23" fmla="*/ 29 h 219"/>
                <a:gd name="T24" fmla="*/ 155 w 218"/>
                <a:gd name="T25" fmla="*/ 40 h 219"/>
                <a:gd name="T26" fmla="*/ 174 w 218"/>
                <a:gd name="T27" fmla="*/ 56 h 219"/>
                <a:gd name="T28" fmla="*/ 186 w 218"/>
                <a:gd name="T29" fmla="*/ 77 h 219"/>
                <a:gd name="T30" fmla="*/ 192 w 218"/>
                <a:gd name="T31" fmla="*/ 101 h 219"/>
                <a:gd name="T32" fmla="*/ 191 w 218"/>
                <a:gd name="T33" fmla="*/ 125 h 219"/>
                <a:gd name="T34" fmla="*/ 182 w 218"/>
                <a:gd name="T35" fmla="*/ 149 h 219"/>
                <a:gd name="T36" fmla="*/ 168 w 218"/>
                <a:gd name="T37" fmla="*/ 168 h 219"/>
                <a:gd name="T38" fmla="*/ 149 w 218"/>
                <a:gd name="T39" fmla="*/ 183 h 219"/>
                <a:gd name="T40" fmla="*/ 125 w 218"/>
                <a:gd name="T41" fmla="*/ 191 h 219"/>
                <a:gd name="T42" fmla="*/ 109 w 218"/>
                <a:gd name="T43" fmla="*/ 0 h 219"/>
                <a:gd name="T44" fmla="*/ 77 w 218"/>
                <a:gd name="T45" fmla="*/ 4 h 219"/>
                <a:gd name="T46" fmla="*/ 48 w 218"/>
                <a:gd name="T47" fmla="*/ 18 h 219"/>
                <a:gd name="T48" fmla="*/ 25 w 218"/>
                <a:gd name="T49" fmla="*/ 40 h 219"/>
                <a:gd name="T50" fmla="*/ 8 w 218"/>
                <a:gd name="T51" fmla="*/ 66 h 219"/>
                <a:gd name="T52" fmla="*/ 1 w 218"/>
                <a:gd name="T53" fmla="*/ 98 h 219"/>
                <a:gd name="T54" fmla="*/ 2 w 218"/>
                <a:gd name="T55" fmla="*/ 131 h 219"/>
                <a:gd name="T56" fmla="*/ 13 w 218"/>
                <a:gd name="T57" fmla="*/ 161 h 219"/>
                <a:gd name="T58" fmla="*/ 32 w 218"/>
                <a:gd name="T59" fmla="*/ 187 h 219"/>
                <a:gd name="T60" fmla="*/ 57 w 218"/>
                <a:gd name="T61" fmla="*/ 205 h 219"/>
                <a:gd name="T62" fmla="*/ 87 w 218"/>
                <a:gd name="T63" fmla="*/ 217 h 219"/>
                <a:gd name="T64" fmla="*/ 120 w 218"/>
                <a:gd name="T65" fmla="*/ 218 h 219"/>
                <a:gd name="T66" fmla="*/ 151 w 218"/>
                <a:gd name="T67" fmla="*/ 210 h 219"/>
                <a:gd name="T68" fmla="*/ 178 w 218"/>
                <a:gd name="T69" fmla="*/ 193 h 219"/>
                <a:gd name="T70" fmla="*/ 200 w 218"/>
                <a:gd name="T71" fmla="*/ 171 h 219"/>
                <a:gd name="T72" fmla="*/ 213 w 218"/>
                <a:gd name="T73" fmla="*/ 142 h 219"/>
                <a:gd name="T74" fmla="*/ 218 w 218"/>
                <a:gd name="T75" fmla="*/ 109 h 219"/>
                <a:gd name="T76" fmla="*/ 213 w 218"/>
                <a:gd name="T77" fmla="*/ 77 h 219"/>
                <a:gd name="T78" fmla="*/ 200 w 218"/>
                <a:gd name="T79" fmla="*/ 48 h 219"/>
                <a:gd name="T80" fmla="*/ 178 w 218"/>
                <a:gd name="T81" fmla="*/ 25 h 219"/>
                <a:gd name="T82" fmla="*/ 151 w 218"/>
                <a:gd name="T83" fmla="*/ 8 h 219"/>
                <a:gd name="T84" fmla="*/ 120 w 218"/>
                <a:gd name="T8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8" h="219">
                  <a:moveTo>
                    <a:pt x="109" y="193"/>
                  </a:moveTo>
                  <a:lnTo>
                    <a:pt x="101" y="193"/>
                  </a:lnTo>
                  <a:lnTo>
                    <a:pt x="92" y="191"/>
                  </a:lnTo>
                  <a:lnTo>
                    <a:pt x="85" y="190"/>
                  </a:lnTo>
                  <a:lnTo>
                    <a:pt x="76" y="187"/>
                  </a:lnTo>
                  <a:lnTo>
                    <a:pt x="70" y="183"/>
                  </a:lnTo>
                  <a:lnTo>
                    <a:pt x="62" y="179"/>
                  </a:lnTo>
                  <a:lnTo>
                    <a:pt x="56" y="174"/>
                  </a:lnTo>
                  <a:lnTo>
                    <a:pt x="50" y="168"/>
                  </a:lnTo>
                  <a:lnTo>
                    <a:pt x="45" y="162"/>
                  </a:lnTo>
                  <a:lnTo>
                    <a:pt x="40" y="156"/>
                  </a:lnTo>
                  <a:lnTo>
                    <a:pt x="35" y="149"/>
                  </a:lnTo>
                  <a:lnTo>
                    <a:pt x="32" y="142"/>
                  </a:lnTo>
                  <a:lnTo>
                    <a:pt x="29" y="134"/>
                  </a:lnTo>
                  <a:lnTo>
                    <a:pt x="27" y="125"/>
                  </a:lnTo>
                  <a:lnTo>
                    <a:pt x="26" y="118"/>
                  </a:lnTo>
                  <a:lnTo>
                    <a:pt x="26" y="109"/>
                  </a:lnTo>
                  <a:lnTo>
                    <a:pt x="26" y="101"/>
                  </a:lnTo>
                  <a:lnTo>
                    <a:pt x="27" y="92"/>
                  </a:lnTo>
                  <a:lnTo>
                    <a:pt x="29" y="85"/>
                  </a:lnTo>
                  <a:lnTo>
                    <a:pt x="32" y="77"/>
                  </a:lnTo>
                  <a:lnTo>
                    <a:pt x="35" y="70"/>
                  </a:lnTo>
                  <a:lnTo>
                    <a:pt x="40" y="62"/>
                  </a:lnTo>
                  <a:lnTo>
                    <a:pt x="45" y="56"/>
                  </a:lnTo>
                  <a:lnTo>
                    <a:pt x="50" y="50"/>
                  </a:lnTo>
                  <a:lnTo>
                    <a:pt x="56" y="45"/>
                  </a:lnTo>
                  <a:lnTo>
                    <a:pt x="62" y="40"/>
                  </a:lnTo>
                  <a:lnTo>
                    <a:pt x="70" y="35"/>
                  </a:lnTo>
                  <a:lnTo>
                    <a:pt x="76" y="32"/>
                  </a:lnTo>
                  <a:lnTo>
                    <a:pt x="85" y="29"/>
                  </a:lnTo>
                  <a:lnTo>
                    <a:pt x="92" y="27"/>
                  </a:lnTo>
                  <a:lnTo>
                    <a:pt x="101" y="26"/>
                  </a:lnTo>
                  <a:lnTo>
                    <a:pt x="109" y="26"/>
                  </a:lnTo>
                  <a:lnTo>
                    <a:pt x="118" y="26"/>
                  </a:lnTo>
                  <a:lnTo>
                    <a:pt x="125" y="27"/>
                  </a:lnTo>
                  <a:lnTo>
                    <a:pt x="134" y="29"/>
                  </a:lnTo>
                  <a:lnTo>
                    <a:pt x="142" y="32"/>
                  </a:lnTo>
                  <a:lnTo>
                    <a:pt x="149" y="35"/>
                  </a:lnTo>
                  <a:lnTo>
                    <a:pt x="155" y="40"/>
                  </a:lnTo>
                  <a:lnTo>
                    <a:pt x="162" y="45"/>
                  </a:lnTo>
                  <a:lnTo>
                    <a:pt x="168" y="50"/>
                  </a:lnTo>
                  <a:lnTo>
                    <a:pt x="174" y="56"/>
                  </a:lnTo>
                  <a:lnTo>
                    <a:pt x="178" y="62"/>
                  </a:lnTo>
                  <a:lnTo>
                    <a:pt x="182" y="70"/>
                  </a:lnTo>
                  <a:lnTo>
                    <a:pt x="186" y="77"/>
                  </a:lnTo>
                  <a:lnTo>
                    <a:pt x="189" y="85"/>
                  </a:lnTo>
                  <a:lnTo>
                    <a:pt x="191" y="92"/>
                  </a:lnTo>
                  <a:lnTo>
                    <a:pt x="192" y="101"/>
                  </a:lnTo>
                  <a:lnTo>
                    <a:pt x="193" y="109"/>
                  </a:lnTo>
                  <a:lnTo>
                    <a:pt x="192" y="118"/>
                  </a:lnTo>
                  <a:lnTo>
                    <a:pt x="191" y="125"/>
                  </a:lnTo>
                  <a:lnTo>
                    <a:pt x="189" y="134"/>
                  </a:lnTo>
                  <a:lnTo>
                    <a:pt x="186" y="142"/>
                  </a:lnTo>
                  <a:lnTo>
                    <a:pt x="182" y="149"/>
                  </a:lnTo>
                  <a:lnTo>
                    <a:pt x="178" y="156"/>
                  </a:lnTo>
                  <a:lnTo>
                    <a:pt x="174" y="162"/>
                  </a:lnTo>
                  <a:lnTo>
                    <a:pt x="168" y="168"/>
                  </a:lnTo>
                  <a:lnTo>
                    <a:pt x="162" y="174"/>
                  </a:lnTo>
                  <a:lnTo>
                    <a:pt x="155" y="179"/>
                  </a:lnTo>
                  <a:lnTo>
                    <a:pt x="149" y="183"/>
                  </a:lnTo>
                  <a:lnTo>
                    <a:pt x="142" y="187"/>
                  </a:lnTo>
                  <a:lnTo>
                    <a:pt x="134" y="190"/>
                  </a:lnTo>
                  <a:lnTo>
                    <a:pt x="125" y="191"/>
                  </a:lnTo>
                  <a:lnTo>
                    <a:pt x="118" y="193"/>
                  </a:lnTo>
                  <a:lnTo>
                    <a:pt x="109" y="193"/>
                  </a:lnTo>
                  <a:close/>
                  <a:moveTo>
                    <a:pt x="109" y="0"/>
                  </a:moveTo>
                  <a:lnTo>
                    <a:pt x="98" y="0"/>
                  </a:lnTo>
                  <a:lnTo>
                    <a:pt x="87" y="2"/>
                  </a:lnTo>
                  <a:lnTo>
                    <a:pt x="77" y="4"/>
                  </a:lnTo>
                  <a:lnTo>
                    <a:pt x="66" y="8"/>
                  </a:lnTo>
                  <a:lnTo>
                    <a:pt x="57" y="13"/>
                  </a:lnTo>
                  <a:lnTo>
                    <a:pt x="48" y="18"/>
                  </a:lnTo>
                  <a:lnTo>
                    <a:pt x="40" y="25"/>
                  </a:lnTo>
                  <a:lnTo>
                    <a:pt x="32" y="32"/>
                  </a:lnTo>
                  <a:lnTo>
                    <a:pt x="25" y="40"/>
                  </a:lnTo>
                  <a:lnTo>
                    <a:pt x="19" y="48"/>
                  </a:lnTo>
                  <a:lnTo>
                    <a:pt x="13" y="57"/>
                  </a:lnTo>
                  <a:lnTo>
                    <a:pt x="8" y="66"/>
                  </a:lnTo>
                  <a:lnTo>
                    <a:pt x="5" y="77"/>
                  </a:lnTo>
                  <a:lnTo>
                    <a:pt x="2" y="87"/>
                  </a:lnTo>
                  <a:lnTo>
                    <a:pt x="1" y="98"/>
                  </a:lnTo>
                  <a:lnTo>
                    <a:pt x="0" y="109"/>
                  </a:lnTo>
                  <a:lnTo>
                    <a:pt x="1" y="120"/>
                  </a:lnTo>
                  <a:lnTo>
                    <a:pt x="2" y="131"/>
                  </a:lnTo>
                  <a:lnTo>
                    <a:pt x="5" y="142"/>
                  </a:lnTo>
                  <a:lnTo>
                    <a:pt x="8" y="151"/>
                  </a:lnTo>
                  <a:lnTo>
                    <a:pt x="13" y="161"/>
                  </a:lnTo>
                  <a:lnTo>
                    <a:pt x="19" y="171"/>
                  </a:lnTo>
                  <a:lnTo>
                    <a:pt x="25" y="178"/>
                  </a:lnTo>
                  <a:lnTo>
                    <a:pt x="32" y="187"/>
                  </a:lnTo>
                  <a:lnTo>
                    <a:pt x="40" y="193"/>
                  </a:lnTo>
                  <a:lnTo>
                    <a:pt x="48" y="200"/>
                  </a:lnTo>
                  <a:lnTo>
                    <a:pt x="57" y="205"/>
                  </a:lnTo>
                  <a:lnTo>
                    <a:pt x="66" y="210"/>
                  </a:lnTo>
                  <a:lnTo>
                    <a:pt x="77" y="214"/>
                  </a:lnTo>
                  <a:lnTo>
                    <a:pt x="87" y="217"/>
                  </a:lnTo>
                  <a:lnTo>
                    <a:pt x="98" y="218"/>
                  </a:lnTo>
                  <a:lnTo>
                    <a:pt x="109" y="219"/>
                  </a:lnTo>
                  <a:lnTo>
                    <a:pt x="120" y="218"/>
                  </a:lnTo>
                  <a:lnTo>
                    <a:pt x="131" y="217"/>
                  </a:lnTo>
                  <a:lnTo>
                    <a:pt x="142" y="214"/>
                  </a:lnTo>
                  <a:lnTo>
                    <a:pt x="151" y="210"/>
                  </a:lnTo>
                  <a:lnTo>
                    <a:pt x="161" y="205"/>
                  </a:lnTo>
                  <a:lnTo>
                    <a:pt x="169" y="200"/>
                  </a:lnTo>
                  <a:lnTo>
                    <a:pt x="178" y="193"/>
                  </a:lnTo>
                  <a:lnTo>
                    <a:pt x="187" y="187"/>
                  </a:lnTo>
                  <a:lnTo>
                    <a:pt x="193" y="178"/>
                  </a:lnTo>
                  <a:lnTo>
                    <a:pt x="200" y="171"/>
                  </a:lnTo>
                  <a:lnTo>
                    <a:pt x="205" y="161"/>
                  </a:lnTo>
                  <a:lnTo>
                    <a:pt x="209" y="151"/>
                  </a:lnTo>
                  <a:lnTo>
                    <a:pt x="213" y="142"/>
                  </a:lnTo>
                  <a:lnTo>
                    <a:pt x="216" y="131"/>
                  </a:lnTo>
                  <a:lnTo>
                    <a:pt x="218" y="120"/>
                  </a:lnTo>
                  <a:lnTo>
                    <a:pt x="218" y="109"/>
                  </a:lnTo>
                  <a:lnTo>
                    <a:pt x="218" y="98"/>
                  </a:lnTo>
                  <a:lnTo>
                    <a:pt x="216" y="87"/>
                  </a:lnTo>
                  <a:lnTo>
                    <a:pt x="213" y="77"/>
                  </a:lnTo>
                  <a:lnTo>
                    <a:pt x="209" y="66"/>
                  </a:lnTo>
                  <a:lnTo>
                    <a:pt x="205" y="57"/>
                  </a:lnTo>
                  <a:lnTo>
                    <a:pt x="200" y="48"/>
                  </a:lnTo>
                  <a:lnTo>
                    <a:pt x="193" y="40"/>
                  </a:lnTo>
                  <a:lnTo>
                    <a:pt x="187" y="32"/>
                  </a:lnTo>
                  <a:lnTo>
                    <a:pt x="178" y="25"/>
                  </a:lnTo>
                  <a:lnTo>
                    <a:pt x="169" y="18"/>
                  </a:lnTo>
                  <a:lnTo>
                    <a:pt x="161" y="13"/>
                  </a:lnTo>
                  <a:lnTo>
                    <a:pt x="151" y="8"/>
                  </a:lnTo>
                  <a:lnTo>
                    <a:pt x="142" y="4"/>
                  </a:lnTo>
                  <a:lnTo>
                    <a:pt x="131" y="2"/>
                  </a:lnTo>
                  <a:lnTo>
                    <a:pt x="120" y="0"/>
                  </a:lnTo>
                  <a:lnTo>
                    <a:pt x="10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62">
              <a:extLst>
                <a:ext uri="{FF2B5EF4-FFF2-40B4-BE49-F238E27FC236}">
                  <a16:creationId xmlns:a16="http://schemas.microsoft.com/office/drawing/2014/main" id="{1C1E1F22-FEBE-43D1-8E6C-68165A7279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63713" y="3278188"/>
              <a:ext cx="49213" cy="47625"/>
            </a:xfrm>
            <a:custGeom>
              <a:avLst/>
              <a:gdLst>
                <a:gd name="T0" fmla="*/ 54 w 122"/>
                <a:gd name="T1" fmla="*/ 96 h 121"/>
                <a:gd name="T2" fmla="*/ 41 w 122"/>
                <a:gd name="T3" fmla="*/ 90 h 121"/>
                <a:gd name="T4" fmla="*/ 31 w 122"/>
                <a:gd name="T5" fmla="*/ 81 h 121"/>
                <a:gd name="T6" fmla="*/ 26 w 122"/>
                <a:gd name="T7" fmla="*/ 68 h 121"/>
                <a:gd name="T8" fmla="*/ 26 w 122"/>
                <a:gd name="T9" fmla="*/ 54 h 121"/>
                <a:gd name="T10" fmla="*/ 31 w 122"/>
                <a:gd name="T11" fmla="*/ 41 h 121"/>
                <a:gd name="T12" fmla="*/ 41 w 122"/>
                <a:gd name="T13" fmla="*/ 31 h 121"/>
                <a:gd name="T14" fmla="*/ 54 w 122"/>
                <a:gd name="T15" fmla="*/ 26 h 121"/>
                <a:gd name="T16" fmla="*/ 68 w 122"/>
                <a:gd name="T17" fmla="*/ 26 h 121"/>
                <a:gd name="T18" fmla="*/ 81 w 122"/>
                <a:gd name="T19" fmla="*/ 31 h 121"/>
                <a:gd name="T20" fmla="*/ 90 w 122"/>
                <a:gd name="T21" fmla="*/ 41 h 121"/>
                <a:gd name="T22" fmla="*/ 96 w 122"/>
                <a:gd name="T23" fmla="*/ 54 h 121"/>
                <a:gd name="T24" fmla="*/ 96 w 122"/>
                <a:gd name="T25" fmla="*/ 68 h 121"/>
                <a:gd name="T26" fmla="*/ 90 w 122"/>
                <a:gd name="T27" fmla="*/ 81 h 121"/>
                <a:gd name="T28" fmla="*/ 81 w 122"/>
                <a:gd name="T29" fmla="*/ 90 h 121"/>
                <a:gd name="T30" fmla="*/ 68 w 122"/>
                <a:gd name="T31" fmla="*/ 96 h 121"/>
                <a:gd name="T32" fmla="*/ 61 w 122"/>
                <a:gd name="T33" fmla="*/ 0 h 121"/>
                <a:gd name="T34" fmla="*/ 49 w 122"/>
                <a:gd name="T35" fmla="*/ 1 h 121"/>
                <a:gd name="T36" fmla="*/ 38 w 122"/>
                <a:gd name="T37" fmla="*/ 4 h 121"/>
                <a:gd name="T38" fmla="*/ 27 w 122"/>
                <a:gd name="T39" fmla="*/ 11 h 121"/>
                <a:gd name="T40" fmla="*/ 19 w 122"/>
                <a:gd name="T41" fmla="*/ 18 h 121"/>
                <a:gd name="T42" fmla="*/ 11 w 122"/>
                <a:gd name="T43" fmla="*/ 27 h 121"/>
                <a:gd name="T44" fmla="*/ 5 w 122"/>
                <a:gd name="T45" fmla="*/ 38 h 121"/>
                <a:gd name="T46" fmla="*/ 1 w 122"/>
                <a:gd name="T47" fmla="*/ 48 h 121"/>
                <a:gd name="T48" fmla="*/ 0 w 122"/>
                <a:gd name="T49" fmla="*/ 61 h 121"/>
                <a:gd name="T50" fmla="*/ 1 w 122"/>
                <a:gd name="T51" fmla="*/ 73 h 121"/>
                <a:gd name="T52" fmla="*/ 5 w 122"/>
                <a:gd name="T53" fmla="*/ 85 h 121"/>
                <a:gd name="T54" fmla="*/ 11 w 122"/>
                <a:gd name="T55" fmla="*/ 96 h 121"/>
                <a:gd name="T56" fmla="*/ 19 w 122"/>
                <a:gd name="T57" fmla="*/ 104 h 121"/>
                <a:gd name="T58" fmla="*/ 27 w 122"/>
                <a:gd name="T59" fmla="*/ 112 h 121"/>
                <a:gd name="T60" fmla="*/ 38 w 122"/>
                <a:gd name="T61" fmla="*/ 117 h 121"/>
                <a:gd name="T62" fmla="*/ 49 w 122"/>
                <a:gd name="T63" fmla="*/ 120 h 121"/>
                <a:gd name="T64" fmla="*/ 61 w 122"/>
                <a:gd name="T65" fmla="*/ 121 h 121"/>
                <a:gd name="T66" fmla="*/ 73 w 122"/>
                <a:gd name="T67" fmla="*/ 120 h 121"/>
                <a:gd name="T68" fmla="*/ 85 w 122"/>
                <a:gd name="T69" fmla="*/ 117 h 121"/>
                <a:gd name="T70" fmla="*/ 95 w 122"/>
                <a:gd name="T71" fmla="*/ 112 h 121"/>
                <a:gd name="T72" fmla="*/ 104 w 122"/>
                <a:gd name="T73" fmla="*/ 104 h 121"/>
                <a:gd name="T74" fmla="*/ 112 w 122"/>
                <a:gd name="T75" fmla="*/ 96 h 121"/>
                <a:gd name="T76" fmla="*/ 117 w 122"/>
                <a:gd name="T77" fmla="*/ 85 h 121"/>
                <a:gd name="T78" fmla="*/ 121 w 122"/>
                <a:gd name="T79" fmla="*/ 73 h 121"/>
                <a:gd name="T80" fmla="*/ 122 w 122"/>
                <a:gd name="T81" fmla="*/ 61 h 121"/>
                <a:gd name="T82" fmla="*/ 121 w 122"/>
                <a:gd name="T83" fmla="*/ 48 h 121"/>
                <a:gd name="T84" fmla="*/ 117 w 122"/>
                <a:gd name="T85" fmla="*/ 38 h 121"/>
                <a:gd name="T86" fmla="*/ 112 w 122"/>
                <a:gd name="T87" fmla="*/ 27 h 121"/>
                <a:gd name="T88" fmla="*/ 104 w 122"/>
                <a:gd name="T89" fmla="*/ 18 h 121"/>
                <a:gd name="T90" fmla="*/ 95 w 122"/>
                <a:gd name="T91" fmla="*/ 11 h 121"/>
                <a:gd name="T92" fmla="*/ 85 w 122"/>
                <a:gd name="T93" fmla="*/ 4 h 121"/>
                <a:gd name="T94" fmla="*/ 73 w 122"/>
                <a:gd name="T95" fmla="*/ 1 h 121"/>
                <a:gd name="T96" fmla="*/ 61 w 122"/>
                <a:gd name="T9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2" h="121">
                  <a:moveTo>
                    <a:pt x="61" y="97"/>
                  </a:moveTo>
                  <a:lnTo>
                    <a:pt x="54" y="96"/>
                  </a:lnTo>
                  <a:lnTo>
                    <a:pt x="47" y="93"/>
                  </a:lnTo>
                  <a:lnTo>
                    <a:pt x="41" y="90"/>
                  </a:lnTo>
                  <a:lnTo>
                    <a:pt x="36" y="86"/>
                  </a:lnTo>
                  <a:lnTo>
                    <a:pt x="31" y="81"/>
                  </a:lnTo>
                  <a:lnTo>
                    <a:pt x="28" y="75"/>
                  </a:lnTo>
                  <a:lnTo>
                    <a:pt x="26" y="68"/>
                  </a:lnTo>
                  <a:lnTo>
                    <a:pt x="26" y="61"/>
                  </a:lnTo>
                  <a:lnTo>
                    <a:pt x="26" y="54"/>
                  </a:lnTo>
                  <a:lnTo>
                    <a:pt x="28" y="47"/>
                  </a:lnTo>
                  <a:lnTo>
                    <a:pt x="31" y="41"/>
                  </a:lnTo>
                  <a:lnTo>
                    <a:pt x="36" y="35"/>
                  </a:lnTo>
                  <a:lnTo>
                    <a:pt x="41" y="31"/>
                  </a:lnTo>
                  <a:lnTo>
                    <a:pt x="47" y="28"/>
                  </a:lnTo>
                  <a:lnTo>
                    <a:pt x="54" y="26"/>
                  </a:lnTo>
                  <a:lnTo>
                    <a:pt x="61" y="25"/>
                  </a:lnTo>
                  <a:lnTo>
                    <a:pt x="68" y="26"/>
                  </a:lnTo>
                  <a:lnTo>
                    <a:pt x="75" y="28"/>
                  </a:lnTo>
                  <a:lnTo>
                    <a:pt x="81" y="31"/>
                  </a:lnTo>
                  <a:lnTo>
                    <a:pt x="86" y="35"/>
                  </a:lnTo>
                  <a:lnTo>
                    <a:pt x="90" y="41"/>
                  </a:lnTo>
                  <a:lnTo>
                    <a:pt x="94" y="47"/>
                  </a:lnTo>
                  <a:lnTo>
                    <a:pt x="96" y="54"/>
                  </a:lnTo>
                  <a:lnTo>
                    <a:pt x="97" y="61"/>
                  </a:lnTo>
                  <a:lnTo>
                    <a:pt x="96" y="68"/>
                  </a:lnTo>
                  <a:lnTo>
                    <a:pt x="94" y="75"/>
                  </a:lnTo>
                  <a:lnTo>
                    <a:pt x="90" y="81"/>
                  </a:lnTo>
                  <a:lnTo>
                    <a:pt x="86" y="86"/>
                  </a:lnTo>
                  <a:lnTo>
                    <a:pt x="81" y="90"/>
                  </a:lnTo>
                  <a:lnTo>
                    <a:pt x="75" y="93"/>
                  </a:lnTo>
                  <a:lnTo>
                    <a:pt x="68" y="96"/>
                  </a:lnTo>
                  <a:lnTo>
                    <a:pt x="61" y="97"/>
                  </a:lnTo>
                  <a:close/>
                  <a:moveTo>
                    <a:pt x="61" y="0"/>
                  </a:moveTo>
                  <a:lnTo>
                    <a:pt x="55" y="0"/>
                  </a:lnTo>
                  <a:lnTo>
                    <a:pt x="49" y="1"/>
                  </a:lnTo>
                  <a:lnTo>
                    <a:pt x="43" y="2"/>
                  </a:lnTo>
                  <a:lnTo>
                    <a:pt x="38" y="4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3" y="14"/>
                  </a:lnTo>
                  <a:lnTo>
                    <a:pt x="19" y="18"/>
                  </a:lnTo>
                  <a:lnTo>
                    <a:pt x="14" y="23"/>
                  </a:lnTo>
                  <a:lnTo>
                    <a:pt x="11" y="27"/>
                  </a:lnTo>
                  <a:lnTo>
                    <a:pt x="8" y="32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5"/>
                  </a:lnTo>
                  <a:lnTo>
                    <a:pt x="0" y="61"/>
                  </a:lnTo>
                  <a:lnTo>
                    <a:pt x="0" y="67"/>
                  </a:lnTo>
                  <a:lnTo>
                    <a:pt x="1" y="73"/>
                  </a:lnTo>
                  <a:lnTo>
                    <a:pt x="3" y="79"/>
                  </a:lnTo>
                  <a:lnTo>
                    <a:pt x="5" y="85"/>
                  </a:lnTo>
                  <a:lnTo>
                    <a:pt x="8" y="90"/>
                  </a:lnTo>
                  <a:lnTo>
                    <a:pt x="11" y="96"/>
                  </a:lnTo>
                  <a:lnTo>
                    <a:pt x="14" y="100"/>
                  </a:lnTo>
                  <a:lnTo>
                    <a:pt x="19" y="104"/>
                  </a:lnTo>
                  <a:lnTo>
                    <a:pt x="23" y="108"/>
                  </a:lnTo>
                  <a:lnTo>
                    <a:pt x="27" y="112"/>
                  </a:lnTo>
                  <a:lnTo>
                    <a:pt x="32" y="115"/>
                  </a:lnTo>
                  <a:lnTo>
                    <a:pt x="38" y="117"/>
                  </a:lnTo>
                  <a:lnTo>
                    <a:pt x="43" y="119"/>
                  </a:lnTo>
                  <a:lnTo>
                    <a:pt x="49" y="120"/>
                  </a:lnTo>
                  <a:lnTo>
                    <a:pt x="55" y="121"/>
                  </a:lnTo>
                  <a:lnTo>
                    <a:pt x="61" y="121"/>
                  </a:lnTo>
                  <a:lnTo>
                    <a:pt x="68" y="121"/>
                  </a:lnTo>
                  <a:lnTo>
                    <a:pt x="73" y="120"/>
                  </a:lnTo>
                  <a:lnTo>
                    <a:pt x="80" y="119"/>
                  </a:lnTo>
                  <a:lnTo>
                    <a:pt x="85" y="117"/>
                  </a:lnTo>
                  <a:lnTo>
                    <a:pt x="90" y="115"/>
                  </a:lnTo>
                  <a:lnTo>
                    <a:pt x="95" y="112"/>
                  </a:lnTo>
                  <a:lnTo>
                    <a:pt x="100" y="108"/>
                  </a:lnTo>
                  <a:lnTo>
                    <a:pt x="104" y="104"/>
                  </a:lnTo>
                  <a:lnTo>
                    <a:pt x="108" y="100"/>
                  </a:lnTo>
                  <a:lnTo>
                    <a:pt x="112" y="96"/>
                  </a:lnTo>
                  <a:lnTo>
                    <a:pt x="115" y="90"/>
                  </a:lnTo>
                  <a:lnTo>
                    <a:pt x="117" y="85"/>
                  </a:lnTo>
                  <a:lnTo>
                    <a:pt x="119" y="79"/>
                  </a:lnTo>
                  <a:lnTo>
                    <a:pt x="121" y="73"/>
                  </a:lnTo>
                  <a:lnTo>
                    <a:pt x="122" y="67"/>
                  </a:lnTo>
                  <a:lnTo>
                    <a:pt x="122" y="61"/>
                  </a:lnTo>
                  <a:lnTo>
                    <a:pt x="122" y="55"/>
                  </a:lnTo>
                  <a:lnTo>
                    <a:pt x="121" y="48"/>
                  </a:lnTo>
                  <a:lnTo>
                    <a:pt x="119" y="43"/>
                  </a:lnTo>
                  <a:lnTo>
                    <a:pt x="117" y="38"/>
                  </a:lnTo>
                  <a:lnTo>
                    <a:pt x="115" y="32"/>
                  </a:lnTo>
                  <a:lnTo>
                    <a:pt x="112" y="27"/>
                  </a:lnTo>
                  <a:lnTo>
                    <a:pt x="108" y="23"/>
                  </a:lnTo>
                  <a:lnTo>
                    <a:pt x="104" y="18"/>
                  </a:lnTo>
                  <a:lnTo>
                    <a:pt x="100" y="14"/>
                  </a:lnTo>
                  <a:lnTo>
                    <a:pt x="95" y="11"/>
                  </a:lnTo>
                  <a:lnTo>
                    <a:pt x="90" y="8"/>
                  </a:lnTo>
                  <a:lnTo>
                    <a:pt x="85" y="4"/>
                  </a:lnTo>
                  <a:lnTo>
                    <a:pt x="80" y="2"/>
                  </a:lnTo>
                  <a:lnTo>
                    <a:pt x="73" y="1"/>
                  </a:lnTo>
                  <a:lnTo>
                    <a:pt x="68" y="0"/>
                  </a:lnTo>
                  <a:lnTo>
                    <a:pt x="6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63">
              <a:extLst>
                <a:ext uri="{FF2B5EF4-FFF2-40B4-BE49-F238E27FC236}">
                  <a16:creationId xmlns:a16="http://schemas.microsoft.com/office/drawing/2014/main" id="{CE97D880-A870-4A44-99A1-7EF1AAE630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3330576"/>
              <a:ext cx="212725" cy="212725"/>
            </a:xfrm>
            <a:custGeom>
              <a:avLst/>
              <a:gdLst>
                <a:gd name="T0" fmla="*/ 407 w 535"/>
                <a:gd name="T1" fmla="*/ 408 h 536"/>
                <a:gd name="T2" fmla="*/ 367 w 535"/>
                <a:gd name="T3" fmla="*/ 436 h 536"/>
                <a:gd name="T4" fmla="*/ 330 w 535"/>
                <a:gd name="T5" fmla="*/ 452 h 536"/>
                <a:gd name="T6" fmla="*/ 321 w 535"/>
                <a:gd name="T7" fmla="*/ 465 h 536"/>
                <a:gd name="T8" fmla="*/ 217 w 535"/>
                <a:gd name="T9" fmla="*/ 461 h 536"/>
                <a:gd name="T10" fmla="*/ 199 w 535"/>
                <a:gd name="T11" fmla="*/ 449 h 536"/>
                <a:gd name="T12" fmla="*/ 163 w 535"/>
                <a:gd name="T13" fmla="*/ 432 h 536"/>
                <a:gd name="T14" fmla="*/ 134 w 535"/>
                <a:gd name="T15" fmla="*/ 409 h 536"/>
                <a:gd name="T16" fmla="*/ 82 w 535"/>
                <a:gd name="T17" fmla="*/ 433 h 536"/>
                <a:gd name="T18" fmla="*/ 75 w 535"/>
                <a:gd name="T19" fmla="*/ 316 h 536"/>
                <a:gd name="T20" fmla="*/ 72 w 535"/>
                <a:gd name="T21" fmla="*/ 287 h 536"/>
                <a:gd name="T22" fmla="*/ 72 w 535"/>
                <a:gd name="T23" fmla="*/ 246 h 536"/>
                <a:gd name="T24" fmla="*/ 75 w 535"/>
                <a:gd name="T25" fmla="*/ 217 h 536"/>
                <a:gd name="T26" fmla="*/ 82 w 535"/>
                <a:gd name="T27" fmla="*/ 99 h 536"/>
                <a:gd name="T28" fmla="*/ 134 w 535"/>
                <a:gd name="T29" fmla="*/ 124 h 536"/>
                <a:gd name="T30" fmla="*/ 163 w 535"/>
                <a:gd name="T31" fmla="*/ 101 h 536"/>
                <a:gd name="T32" fmla="*/ 199 w 535"/>
                <a:gd name="T33" fmla="*/ 84 h 536"/>
                <a:gd name="T34" fmla="*/ 217 w 535"/>
                <a:gd name="T35" fmla="*/ 72 h 536"/>
                <a:gd name="T36" fmla="*/ 321 w 535"/>
                <a:gd name="T37" fmla="*/ 68 h 536"/>
                <a:gd name="T38" fmla="*/ 330 w 535"/>
                <a:gd name="T39" fmla="*/ 81 h 536"/>
                <a:gd name="T40" fmla="*/ 367 w 535"/>
                <a:gd name="T41" fmla="*/ 97 h 536"/>
                <a:gd name="T42" fmla="*/ 407 w 535"/>
                <a:gd name="T43" fmla="*/ 124 h 536"/>
                <a:gd name="T44" fmla="*/ 505 w 535"/>
                <a:gd name="T45" fmla="*/ 188 h 536"/>
                <a:gd name="T46" fmla="*/ 458 w 535"/>
                <a:gd name="T47" fmla="*/ 221 h 536"/>
                <a:gd name="T48" fmla="*/ 463 w 535"/>
                <a:gd name="T49" fmla="*/ 256 h 536"/>
                <a:gd name="T50" fmla="*/ 461 w 535"/>
                <a:gd name="T51" fmla="*/ 297 h 536"/>
                <a:gd name="T52" fmla="*/ 462 w 535"/>
                <a:gd name="T53" fmla="*/ 319 h 536"/>
                <a:gd name="T54" fmla="*/ 528 w 535"/>
                <a:gd name="T55" fmla="*/ 329 h 536"/>
                <a:gd name="T56" fmla="*/ 489 w 535"/>
                <a:gd name="T57" fmla="*/ 276 h 536"/>
                <a:gd name="T58" fmla="*/ 486 w 535"/>
                <a:gd name="T59" fmla="*/ 238 h 536"/>
                <a:gd name="T60" fmla="*/ 534 w 535"/>
                <a:gd name="T61" fmla="*/ 197 h 536"/>
                <a:gd name="T62" fmla="*/ 467 w 535"/>
                <a:gd name="T63" fmla="*/ 74 h 536"/>
                <a:gd name="T64" fmla="*/ 455 w 535"/>
                <a:gd name="T65" fmla="*/ 70 h 536"/>
                <a:gd name="T66" fmla="*/ 380 w 535"/>
                <a:gd name="T67" fmla="*/ 74 h 536"/>
                <a:gd name="T68" fmla="*/ 346 w 535"/>
                <a:gd name="T69" fmla="*/ 8 h 536"/>
                <a:gd name="T70" fmla="*/ 205 w 535"/>
                <a:gd name="T71" fmla="*/ 0 h 536"/>
                <a:gd name="T72" fmla="*/ 192 w 535"/>
                <a:gd name="T73" fmla="*/ 13 h 536"/>
                <a:gd name="T74" fmla="*/ 143 w 535"/>
                <a:gd name="T75" fmla="*/ 84 h 536"/>
                <a:gd name="T76" fmla="*/ 74 w 535"/>
                <a:gd name="T77" fmla="*/ 70 h 536"/>
                <a:gd name="T78" fmla="*/ 0 w 535"/>
                <a:gd name="T79" fmla="*/ 191 h 536"/>
                <a:gd name="T80" fmla="*/ 49 w 535"/>
                <a:gd name="T81" fmla="*/ 229 h 536"/>
                <a:gd name="T82" fmla="*/ 46 w 535"/>
                <a:gd name="T83" fmla="*/ 266 h 536"/>
                <a:gd name="T84" fmla="*/ 48 w 535"/>
                <a:gd name="T85" fmla="*/ 303 h 536"/>
                <a:gd name="T86" fmla="*/ 0 w 535"/>
                <a:gd name="T87" fmla="*/ 340 h 536"/>
                <a:gd name="T88" fmla="*/ 73 w 535"/>
                <a:gd name="T89" fmla="*/ 463 h 536"/>
                <a:gd name="T90" fmla="*/ 143 w 535"/>
                <a:gd name="T91" fmla="*/ 449 h 536"/>
                <a:gd name="T92" fmla="*/ 192 w 535"/>
                <a:gd name="T93" fmla="*/ 523 h 536"/>
                <a:gd name="T94" fmla="*/ 205 w 535"/>
                <a:gd name="T95" fmla="*/ 536 h 536"/>
                <a:gd name="T96" fmla="*/ 346 w 535"/>
                <a:gd name="T97" fmla="*/ 528 h 536"/>
                <a:gd name="T98" fmla="*/ 364 w 535"/>
                <a:gd name="T99" fmla="*/ 467 h 536"/>
                <a:gd name="T100" fmla="*/ 409 w 535"/>
                <a:gd name="T101" fmla="*/ 437 h 536"/>
                <a:gd name="T102" fmla="*/ 458 w 535"/>
                <a:gd name="T103" fmla="*/ 463 h 536"/>
                <a:gd name="T104" fmla="*/ 467 w 535"/>
                <a:gd name="T105" fmla="*/ 459 h 536"/>
                <a:gd name="T106" fmla="*/ 535 w 535"/>
                <a:gd name="T107" fmla="*/ 33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5" h="536">
                  <a:moveTo>
                    <a:pt x="453" y="433"/>
                  </a:moveTo>
                  <a:lnTo>
                    <a:pt x="414" y="410"/>
                  </a:lnTo>
                  <a:lnTo>
                    <a:pt x="410" y="409"/>
                  </a:lnTo>
                  <a:lnTo>
                    <a:pt x="407" y="408"/>
                  </a:lnTo>
                  <a:lnTo>
                    <a:pt x="403" y="409"/>
                  </a:lnTo>
                  <a:lnTo>
                    <a:pt x="399" y="411"/>
                  </a:lnTo>
                  <a:lnTo>
                    <a:pt x="383" y="424"/>
                  </a:lnTo>
                  <a:lnTo>
                    <a:pt x="367" y="436"/>
                  </a:lnTo>
                  <a:lnTo>
                    <a:pt x="359" y="441"/>
                  </a:lnTo>
                  <a:lnTo>
                    <a:pt x="350" y="446"/>
                  </a:lnTo>
                  <a:lnTo>
                    <a:pt x="340" y="449"/>
                  </a:lnTo>
                  <a:lnTo>
                    <a:pt x="330" y="452"/>
                  </a:lnTo>
                  <a:lnTo>
                    <a:pt x="326" y="454"/>
                  </a:lnTo>
                  <a:lnTo>
                    <a:pt x="323" y="457"/>
                  </a:lnTo>
                  <a:lnTo>
                    <a:pt x="321" y="461"/>
                  </a:lnTo>
                  <a:lnTo>
                    <a:pt x="321" y="465"/>
                  </a:lnTo>
                  <a:lnTo>
                    <a:pt x="321" y="511"/>
                  </a:lnTo>
                  <a:lnTo>
                    <a:pt x="218" y="511"/>
                  </a:lnTo>
                  <a:lnTo>
                    <a:pt x="218" y="465"/>
                  </a:lnTo>
                  <a:lnTo>
                    <a:pt x="217" y="461"/>
                  </a:lnTo>
                  <a:lnTo>
                    <a:pt x="216" y="457"/>
                  </a:lnTo>
                  <a:lnTo>
                    <a:pt x="213" y="454"/>
                  </a:lnTo>
                  <a:lnTo>
                    <a:pt x="208" y="452"/>
                  </a:lnTo>
                  <a:lnTo>
                    <a:pt x="199" y="449"/>
                  </a:lnTo>
                  <a:lnTo>
                    <a:pt x="189" y="446"/>
                  </a:lnTo>
                  <a:lnTo>
                    <a:pt x="180" y="441"/>
                  </a:lnTo>
                  <a:lnTo>
                    <a:pt x="172" y="437"/>
                  </a:lnTo>
                  <a:lnTo>
                    <a:pt x="163" y="432"/>
                  </a:lnTo>
                  <a:lnTo>
                    <a:pt x="155" y="425"/>
                  </a:lnTo>
                  <a:lnTo>
                    <a:pt x="146" y="419"/>
                  </a:lnTo>
                  <a:lnTo>
                    <a:pt x="137" y="411"/>
                  </a:lnTo>
                  <a:lnTo>
                    <a:pt x="134" y="409"/>
                  </a:lnTo>
                  <a:lnTo>
                    <a:pt x="130" y="408"/>
                  </a:lnTo>
                  <a:lnTo>
                    <a:pt x="126" y="409"/>
                  </a:lnTo>
                  <a:lnTo>
                    <a:pt x="122" y="410"/>
                  </a:lnTo>
                  <a:lnTo>
                    <a:pt x="82" y="433"/>
                  </a:lnTo>
                  <a:lnTo>
                    <a:pt x="30" y="344"/>
                  </a:lnTo>
                  <a:lnTo>
                    <a:pt x="70" y="321"/>
                  </a:lnTo>
                  <a:lnTo>
                    <a:pt x="73" y="319"/>
                  </a:lnTo>
                  <a:lnTo>
                    <a:pt x="75" y="316"/>
                  </a:lnTo>
                  <a:lnTo>
                    <a:pt x="75" y="311"/>
                  </a:lnTo>
                  <a:lnTo>
                    <a:pt x="75" y="307"/>
                  </a:lnTo>
                  <a:lnTo>
                    <a:pt x="74" y="297"/>
                  </a:lnTo>
                  <a:lnTo>
                    <a:pt x="72" y="287"/>
                  </a:lnTo>
                  <a:lnTo>
                    <a:pt x="72" y="277"/>
                  </a:lnTo>
                  <a:lnTo>
                    <a:pt x="71" y="266"/>
                  </a:lnTo>
                  <a:lnTo>
                    <a:pt x="72" y="257"/>
                  </a:lnTo>
                  <a:lnTo>
                    <a:pt x="72" y="246"/>
                  </a:lnTo>
                  <a:lnTo>
                    <a:pt x="74" y="236"/>
                  </a:lnTo>
                  <a:lnTo>
                    <a:pt x="75" y="226"/>
                  </a:lnTo>
                  <a:lnTo>
                    <a:pt x="76" y="221"/>
                  </a:lnTo>
                  <a:lnTo>
                    <a:pt x="75" y="217"/>
                  </a:lnTo>
                  <a:lnTo>
                    <a:pt x="73" y="214"/>
                  </a:lnTo>
                  <a:lnTo>
                    <a:pt x="70" y="212"/>
                  </a:lnTo>
                  <a:lnTo>
                    <a:pt x="30" y="188"/>
                  </a:lnTo>
                  <a:lnTo>
                    <a:pt x="82" y="99"/>
                  </a:lnTo>
                  <a:lnTo>
                    <a:pt x="122" y="122"/>
                  </a:lnTo>
                  <a:lnTo>
                    <a:pt x="126" y="124"/>
                  </a:lnTo>
                  <a:lnTo>
                    <a:pt x="130" y="124"/>
                  </a:lnTo>
                  <a:lnTo>
                    <a:pt x="134" y="124"/>
                  </a:lnTo>
                  <a:lnTo>
                    <a:pt x="137" y="121"/>
                  </a:lnTo>
                  <a:lnTo>
                    <a:pt x="146" y="114"/>
                  </a:lnTo>
                  <a:lnTo>
                    <a:pt x="155" y="106"/>
                  </a:lnTo>
                  <a:lnTo>
                    <a:pt x="163" y="101"/>
                  </a:lnTo>
                  <a:lnTo>
                    <a:pt x="172" y="96"/>
                  </a:lnTo>
                  <a:lnTo>
                    <a:pt x="180" y="91"/>
                  </a:lnTo>
                  <a:lnTo>
                    <a:pt x="189" y="87"/>
                  </a:lnTo>
                  <a:lnTo>
                    <a:pt x="199" y="84"/>
                  </a:lnTo>
                  <a:lnTo>
                    <a:pt x="208" y="81"/>
                  </a:lnTo>
                  <a:lnTo>
                    <a:pt x="213" y="78"/>
                  </a:lnTo>
                  <a:lnTo>
                    <a:pt x="215" y="76"/>
                  </a:lnTo>
                  <a:lnTo>
                    <a:pt x="217" y="72"/>
                  </a:lnTo>
                  <a:lnTo>
                    <a:pt x="218" y="68"/>
                  </a:lnTo>
                  <a:lnTo>
                    <a:pt x="218" y="26"/>
                  </a:lnTo>
                  <a:lnTo>
                    <a:pt x="321" y="26"/>
                  </a:lnTo>
                  <a:lnTo>
                    <a:pt x="321" y="68"/>
                  </a:lnTo>
                  <a:lnTo>
                    <a:pt x="321" y="72"/>
                  </a:lnTo>
                  <a:lnTo>
                    <a:pt x="323" y="76"/>
                  </a:lnTo>
                  <a:lnTo>
                    <a:pt x="326" y="78"/>
                  </a:lnTo>
                  <a:lnTo>
                    <a:pt x="330" y="81"/>
                  </a:lnTo>
                  <a:lnTo>
                    <a:pt x="340" y="84"/>
                  </a:lnTo>
                  <a:lnTo>
                    <a:pt x="350" y="87"/>
                  </a:lnTo>
                  <a:lnTo>
                    <a:pt x="360" y="91"/>
                  </a:lnTo>
                  <a:lnTo>
                    <a:pt x="367" y="97"/>
                  </a:lnTo>
                  <a:lnTo>
                    <a:pt x="383" y="107"/>
                  </a:lnTo>
                  <a:lnTo>
                    <a:pt x="399" y="121"/>
                  </a:lnTo>
                  <a:lnTo>
                    <a:pt x="403" y="124"/>
                  </a:lnTo>
                  <a:lnTo>
                    <a:pt x="407" y="124"/>
                  </a:lnTo>
                  <a:lnTo>
                    <a:pt x="410" y="124"/>
                  </a:lnTo>
                  <a:lnTo>
                    <a:pt x="414" y="122"/>
                  </a:lnTo>
                  <a:lnTo>
                    <a:pt x="453" y="99"/>
                  </a:lnTo>
                  <a:lnTo>
                    <a:pt x="505" y="188"/>
                  </a:lnTo>
                  <a:lnTo>
                    <a:pt x="465" y="212"/>
                  </a:lnTo>
                  <a:lnTo>
                    <a:pt x="462" y="214"/>
                  </a:lnTo>
                  <a:lnTo>
                    <a:pt x="460" y="217"/>
                  </a:lnTo>
                  <a:lnTo>
                    <a:pt x="458" y="221"/>
                  </a:lnTo>
                  <a:lnTo>
                    <a:pt x="458" y="226"/>
                  </a:lnTo>
                  <a:lnTo>
                    <a:pt x="461" y="235"/>
                  </a:lnTo>
                  <a:lnTo>
                    <a:pt x="462" y="246"/>
                  </a:lnTo>
                  <a:lnTo>
                    <a:pt x="463" y="256"/>
                  </a:lnTo>
                  <a:lnTo>
                    <a:pt x="463" y="266"/>
                  </a:lnTo>
                  <a:lnTo>
                    <a:pt x="463" y="277"/>
                  </a:lnTo>
                  <a:lnTo>
                    <a:pt x="462" y="287"/>
                  </a:lnTo>
                  <a:lnTo>
                    <a:pt x="461" y="297"/>
                  </a:lnTo>
                  <a:lnTo>
                    <a:pt x="458" y="307"/>
                  </a:lnTo>
                  <a:lnTo>
                    <a:pt x="458" y="311"/>
                  </a:lnTo>
                  <a:lnTo>
                    <a:pt x="460" y="316"/>
                  </a:lnTo>
                  <a:lnTo>
                    <a:pt x="462" y="319"/>
                  </a:lnTo>
                  <a:lnTo>
                    <a:pt x="465" y="321"/>
                  </a:lnTo>
                  <a:lnTo>
                    <a:pt x="505" y="344"/>
                  </a:lnTo>
                  <a:lnTo>
                    <a:pt x="453" y="433"/>
                  </a:lnTo>
                  <a:close/>
                  <a:moveTo>
                    <a:pt x="528" y="329"/>
                  </a:moveTo>
                  <a:lnTo>
                    <a:pt x="485" y="303"/>
                  </a:lnTo>
                  <a:lnTo>
                    <a:pt x="486" y="294"/>
                  </a:lnTo>
                  <a:lnTo>
                    <a:pt x="487" y="285"/>
                  </a:lnTo>
                  <a:lnTo>
                    <a:pt x="489" y="276"/>
                  </a:lnTo>
                  <a:lnTo>
                    <a:pt x="489" y="266"/>
                  </a:lnTo>
                  <a:lnTo>
                    <a:pt x="489" y="257"/>
                  </a:lnTo>
                  <a:lnTo>
                    <a:pt x="487" y="248"/>
                  </a:lnTo>
                  <a:lnTo>
                    <a:pt x="486" y="238"/>
                  </a:lnTo>
                  <a:lnTo>
                    <a:pt x="485" y="229"/>
                  </a:lnTo>
                  <a:lnTo>
                    <a:pt x="528" y="205"/>
                  </a:lnTo>
                  <a:lnTo>
                    <a:pt x="531" y="202"/>
                  </a:lnTo>
                  <a:lnTo>
                    <a:pt x="534" y="197"/>
                  </a:lnTo>
                  <a:lnTo>
                    <a:pt x="535" y="192"/>
                  </a:lnTo>
                  <a:lnTo>
                    <a:pt x="533" y="187"/>
                  </a:lnTo>
                  <a:lnTo>
                    <a:pt x="468" y="76"/>
                  </a:lnTo>
                  <a:lnTo>
                    <a:pt x="467" y="74"/>
                  </a:lnTo>
                  <a:lnTo>
                    <a:pt x="465" y="72"/>
                  </a:lnTo>
                  <a:lnTo>
                    <a:pt x="463" y="71"/>
                  </a:lnTo>
                  <a:lnTo>
                    <a:pt x="461" y="70"/>
                  </a:lnTo>
                  <a:lnTo>
                    <a:pt x="455" y="70"/>
                  </a:lnTo>
                  <a:lnTo>
                    <a:pt x="451" y="71"/>
                  </a:lnTo>
                  <a:lnTo>
                    <a:pt x="409" y="96"/>
                  </a:lnTo>
                  <a:lnTo>
                    <a:pt x="395" y="85"/>
                  </a:lnTo>
                  <a:lnTo>
                    <a:pt x="380" y="74"/>
                  </a:lnTo>
                  <a:lnTo>
                    <a:pt x="364" y="66"/>
                  </a:lnTo>
                  <a:lnTo>
                    <a:pt x="347" y="59"/>
                  </a:lnTo>
                  <a:lnTo>
                    <a:pt x="347" y="13"/>
                  </a:lnTo>
                  <a:lnTo>
                    <a:pt x="346" y="8"/>
                  </a:lnTo>
                  <a:lnTo>
                    <a:pt x="342" y="4"/>
                  </a:lnTo>
                  <a:lnTo>
                    <a:pt x="338" y="1"/>
                  </a:lnTo>
                  <a:lnTo>
                    <a:pt x="334" y="0"/>
                  </a:lnTo>
                  <a:lnTo>
                    <a:pt x="205" y="0"/>
                  </a:lnTo>
                  <a:lnTo>
                    <a:pt x="200" y="1"/>
                  </a:lnTo>
                  <a:lnTo>
                    <a:pt x="196" y="4"/>
                  </a:lnTo>
                  <a:lnTo>
                    <a:pt x="193" y="8"/>
                  </a:lnTo>
                  <a:lnTo>
                    <a:pt x="192" y="13"/>
                  </a:lnTo>
                  <a:lnTo>
                    <a:pt x="192" y="59"/>
                  </a:lnTo>
                  <a:lnTo>
                    <a:pt x="175" y="66"/>
                  </a:lnTo>
                  <a:lnTo>
                    <a:pt x="159" y="73"/>
                  </a:lnTo>
                  <a:lnTo>
                    <a:pt x="143" y="84"/>
                  </a:lnTo>
                  <a:lnTo>
                    <a:pt x="127" y="96"/>
                  </a:lnTo>
                  <a:lnTo>
                    <a:pt x="84" y="71"/>
                  </a:lnTo>
                  <a:lnTo>
                    <a:pt x="78" y="70"/>
                  </a:lnTo>
                  <a:lnTo>
                    <a:pt x="74" y="70"/>
                  </a:lnTo>
                  <a:lnTo>
                    <a:pt x="70" y="72"/>
                  </a:lnTo>
                  <a:lnTo>
                    <a:pt x="67" y="76"/>
                  </a:lnTo>
                  <a:lnTo>
                    <a:pt x="2" y="187"/>
                  </a:lnTo>
                  <a:lnTo>
                    <a:pt x="0" y="191"/>
                  </a:lnTo>
                  <a:lnTo>
                    <a:pt x="0" y="197"/>
                  </a:lnTo>
                  <a:lnTo>
                    <a:pt x="2" y="201"/>
                  </a:lnTo>
                  <a:lnTo>
                    <a:pt x="6" y="205"/>
                  </a:lnTo>
                  <a:lnTo>
                    <a:pt x="49" y="229"/>
                  </a:lnTo>
                  <a:lnTo>
                    <a:pt x="47" y="238"/>
                  </a:lnTo>
                  <a:lnTo>
                    <a:pt x="46" y="248"/>
                  </a:lnTo>
                  <a:lnTo>
                    <a:pt x="46" y="257"/>
                  </a:lnTo>
                  <a:lnTo>
                    <a:pt x="46" y="266"/>
                  </a:lnTo>
                  <a:lnTo>
                    <a:pt x="46" y="276"/>
                  </a:lnTo>
                  <a:lnTo>
                    <a:pt x="46" y="285"/>
                  </a:lnTo>
                  <a:lnTo>
                    <a:pt x="47" y="294"/>
                  </a:lnTo>
                  <a:lnTo>
                    <a:pt x="48" y="303"/>
                  </a:lnTo>
                  <a:lnTo>
                    <a:pt x="6" y="329"/>
                  </a:lnTo>
                  <a:lnTo>
                    <a:pt x="2" y="332"/>
                  </a:lnTo>
                  <a:lnTo>
                    <a:pt x="0" y="335"/>
                  </a:lnTo>
                  <a:lnTo>
                    <a:pt x="0" y="340"/>
                  </a:lnTo>
                  <a:lnTo>
                    <a:pt x="1" y="345"/>
                  </a:lnTo>
                  <a:lnTo>
                    <a:pt x="65" y="457"/>
                  </a:lnTo>
                  <a:lnTo>
                    <a:pt x="69" y="461"/>
                  </a:lnTo>
                  <a:lnTo>
                    <a:pt x="73" y="463"/>
                  </a:lnTo>
                  <a:lnTo>
                    <a:pt x="78" y="463"/>
                  </a:lnTo>
                  <a:lnTo>
                    <a:pt x="83" y="461"/>
                  </a:lnTo>
                  <a:lnTo>
                    <a:pt x="127" y="437"/>
                  </a:lnTo>
                  <a:lnTo>
                    <a:pt x="143" y="449"/>
                  </a:lnTo>
                  <a:lnTo>
                    <a:pt x="159" y="459"/>
                  </a:lnTo>
                  <a:lnTo>
                    <a:pt x="175" y="467"/>
                  </a:lnTo>
                  <a:lnTo>
                    <a:pt x="192" y="474"/>
                  </a:lnTo>
                  <a:lnTo>
                    <a:pt x="192" y="523"/>
                  </a:lnTo>
                  <a:lnTo>
                    <a:pt x="193" y="528"/>
                  </a:lnTo>
                  <a:lnTo>
                    <a:pt x="196" y="533"/>
                  </a:lnTo>
                  <a:lnTo>
                    <a:pt x="200" y="535"/>
                  </a:lnTo>
                  <a:lnTo>
                    <a:pt x="205" y="536"/>
                  </a:lnTo>
                  <a:lnTo>
                    <a:pt x="334" y="536"/>
                  </a:lnTo>
                  <a:lnTo>
                    <a:pt x="338" y="535"/>
                  </a:lnTo>
                  <a:lnTo>
                    <a:pt x="342" y="533"/>
                  </a:lnTo>
                  <a:lnTo>
                    <a:pt x="346" y="528"/>
                  </a:lnTo>
                  <a:lnTo>
                    <a:pt x="347" y="523"/>
                  </a:lnTo>
                  <a:lnTo>
                    <a:pt x="347" y="474"/>
                  </a:lnTo>
                  <a:lnTo>
                    <a:pt x="355" y="470"/>
                  </a:lnTo>
                  <a:lnTo>
                    <a:pt x="364" y="467"/>
                  </a:lnTo>
                  <a:lnTo>
                    <a:pt x="373" y="463"/>
                  </a:lnTo>
                  <a:lnTo>
                    <a:pt x="380" y="459"/>
                  </a:lnTo>
                  <a:lnTo>
                    <a:pt x="395" y="449"/>
                  </a:lnTo>
                  <a:lnTo>
                    <a:pt x="409" y="437"/>
                  </a:lnTo>
                  <a:lnTo>
                    <a:pt x="452" y="461"/>
                  </a:lnTo>
                  <a:lnTo>
                    <a:pt x="454" y="463"/>
                  </a:lnTo>
                  <a:lnTo>
                    <a:pt x="456" y="463"/>
                  </a:lnTo>
                  <a:lnTo>
                    <a:pt x="458" y="463"/>
                  </a:lnTo>
                  <a:lnTo>
                    <a:pt x="462" y="462"/>
                  </a:lnTo>
                  <a:lnTo>
                    <a:pt x="464" y="462"/>
                  </a:lnTo>
                  <a:lnTo>
                    <a:pt x="466" y="461"/>
                  </a:lnTo>
                  <a:lnTo>
                    <a:pt x="467" y="459"/>
                  </a:lnTo>
                  <a:lnTo>
                    <a:pt x="469" y="457"/>
                  </a:lnTo>
                  <a:lnTo>
                    <a:pt x="533" y="345"/>
                  </a:lnTo>
                  <a:lnTo>
                    <a:pt x="535" y="340"/>
                  </a:lnTo>
                  <a:lnTo>
                    <a:pt x="535" y="335"/>
                  </a:lnTo>
                  <a:lnTo>
                    <a:pt x="533" y="332"/>
                  </a:lnTo>
                  <a:lnTo>
                    <a:pt x="528" y="3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64">
              <a:extLst>
                <a:ext uri="{FF2B5EF4-FFF2-40B4-BE49-F238E27FC236}">
                  <a16:creationId xmlns:a16="http://schemas.microsoft.com/office/drawing/2014/main" id="{EFF122DE-37E7-4553-B59D-09C6CE509C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27201" y="3240088"/>
              <a:ext cx="122238" cy="125413"/>
            </a:xfrm>
            <a:custGeom>
              <a:avLst/>
              <a:gdLst>
                <a:gd name="T0" fmla="*/ 235 w 308"/>
                <a:gd name="T1" fmla="*/ 227 h 315"/>
                <a:gd name="T2" fmla="*/ 223 w 308"/>
                <a:gd name="T3" fmla="*/ 229 h 315"/>
                <a:gd name="T4" fmla="*/ 195 w 308"/>
                <a:gd name="T5" fmla="*/ 248 h 315"/>
                <a:gd name="T6" fmla="*/ 178 w 308"/>
                <a:gd name="T7" fmla="*/ 257 h 315"/>
                <a:gd name="T8" fmla="*/ 176 w 308"/>
                <a:gd name="T9" fmla="*/ 289 h 315"/>
                <a:gd name="T10" fmla="*/ 136 w 308"/>
                <a:gd name="T11" fmla="*/ 260 h 315"/>
                <a:gd name="T12" fmla="*/ 129 w 308"/>
                <a:gd name="T13" fmla="*/ 253 h 315"/>
                <a:gd name="T14" fmla="*/ 95 w 308"/>
                <a:gd name="T15" fmla="*/ 237 h 315"/>
                <a:gd name="T16" fmla="*/ 79 w 308"/>
                <a:gd name="T17" fmla="*/ 226 h 315"/>
                <a:gd name="T18" fmla="*/ 50 w 308"/>
                <a:gd name="T19" fmla="*/ 240 h 315"/>
                <a:gd name="T20" fmla="*/ 55 w 308"/>
                <a:gd name="T21" fmla="*/ 192 h 315"/>
                <a:gd name="T22" fmla="*/ 58 w 308"/>
                <a:gd name="T23" fmla="*/ 180 h 315"/>
                <a:gd name="T24" fmla="*/ 56 w 308"/>
                <a:gd name="T25" fmla="*/ 145 h 315"/>
                <a:gd name="T26" fmla="*/ 57 w 308"/>
                <a:gd name="T27" fmla="*/ 126 h 315"/>
                <a:gd name="T28" fmla="*/ 31 w 308"/>
                <a:gd name="T29" fmla="*/ 108 h 315"/>
                <a:gd name="T30" fmla="*/ 76 w 308"/>
                <a:gd name="T31" fmla="*/ 87 h 315"/>
                <a:gd name="T32" fmla="*/ 87 w 308"/>
                <a:gd name="T33" fmla="*/ 84 h 315"/>
                <a:gd name="T34" fmla="*/ 117 w 308"/>
                <a:gd name="T35" fmla="*/ 66 h 315"/>
                <a:gd name="T36" fmla="*/ 135 w 308"/>
                <a:gd name="T37" fmla="*/ 57 h 315"/>
                <a:gd name="T38" fmla="*/ 137 w 308"/>
                <a:gd name="T39" fmla="*/ 25 h 315"/>
                <a:gd name="T40" fmla="*/ 176 w 308"/>
                <a:gd name="T41" fmla="*/ 53 h 315"/>
                <a:gd name="T42" fmla="*/ 185 w 308"/>
                <a:gd name="T43" fmla="*/ 62 h 315"/>
                <a:gd name="T44" fmla="*/ 215 w 308"/>
                <a:gd name="T45" fmla="*/ 77 h 315"/>
                <a:gd name="T46" fmla="*/ 231 w 308"/>
                <a:gd name="T47" fmla="*/ 88 h 315"/>
                <a:gd name="T48" fmla="*/ 259 w 308"/>
                <a:gd name="T49" fmla="*/ 76 h 315"/>
                <a:gd name="T50" fmla="*/ 254 w 308"/>
                <a:gd name="T51" fmla="*/ 123 h 315"/>
                <a:gd name="T52" fmla="*/ 251 w 308"/>
                <a:gd name="T53" fmla="*/ 134 h 315"/>
                <a:gd name="T54" fmla="*/ 253 w 308"/>
                <a:gd name="T55" fmla="*/ 169 h 315"/>
                <a:gd name="T56" fmla="*/ 252 w 308"/>
                <a:gd name="T57" fmla="*/ 188 h 315"/>
                <a:gd name="T58" fmla="*/ 278 w 308"/>
                <a:gd name="T59" fmla="*/ 207 h 315"/>
                <a:gd name="T60" fmla="*/ 278 w 308"/>
                <a:gd name="T61" fmla="*/ 178 h 315"/>
                <a:gd name="T62" fmla="*/ 279 w 308"/>
                <a:gd name="T63" fmla="*/ 148 h 315"/>
                <a:gd name="T64" fmla="*/ 304 w 308"/>
                <a:gd name="T65" fmla="*/ 123 h 315"/>
                <a:gd name="T66" fmla="*/ 308 w 308"/>
                <a:gd name="T67" fmla="*/ 116 h 315"/>
                <a:gd name="T68" fmla="*/ 275 w 308"/>
                <a:gd name="T69" fmla="*/ 51 h 315"/>
                <a:gd name="T70" fmla="*/ 269 w 308"/>
                <a:gd name="T71" fmla="*/ 46 h 315"/>
                <a:gd name="T72" fmla="*/ 256 w 308"/>
                <a:gd name="T73" fmla="*/ 46 h 315"/>
                <a:gd name="T74" fmla="*/ 218 w 308"/>
                <a:gd name="T75" fmla="*/ 49 h 315"/>
                <a:gd name="T76" fmla="*/ 202 w 308"/>
                <a:gd name="T77" fmla="*/ 13 h 315"/>
                <a:gd name="T78" fmla="*/ 193 w 308"/>
                <a:gd name="T79" fmla="*/ 2 h 315"/>
                <a:gd name="T80" fmla="*/ 119 w 308"/>
                <a:gd name="T81" fmla="*/ 2 h 315"/>
                <a:gd name="T82" fmla="*/ 112 w 308"/>
                <a:gd name="T83" fmla="*/ 13 h 315"/>
                <a:gd name="T84" fmla="*/ 93 w 308"/>
                <a:gd name="T85" fmla="*/ 50 h 315"/>
                <a:gd name="T86" fmla="*/ 52 w 308"/>
                <a:gd name="T87" fmla="*/ 46 h 315"/>
                <a:gd name="T88" fmla="*/ 37 w 308"/>
                <a:gd name="T89" fmla="*/ 47 h 315"/>
                <a:gd name="T90" fmla="*/ 1 w 308"/>
                <a:gd name="T91" fmla="*/ 111 h 315"/>
                <a:gd name="T92" fmla="*/ 3 w 308"/>
                <a:gd name="T93" fmla="*/ 121 h 315"/>
                <a:gd name="T94" fmla="*/ 31 w 308"/>
                <a:gd name="T95" fmla="*/ 138 h 315"/>
                <a:gd name="T96" fmla="*/ 30 w 308"/>
                <a:gd name="T97" fmla="*/ 167 h 315"/>
                <a:gd name="T98" fmla="*/ 4 w 308"/>
                <a:gd name="T99" fmla="*/ 193 h 315"/>
                <a:gd name="T100" fmla="*/ 1 w 308"/>
                <a:gd name="T101" fmla="*/ 199 h 315"/>
                <a:gd name="T102" fmla="*/ 34 w 308"/>
                <a:gd name="T103" fmla="*/ 263 h 315"/>
                <a:gd name="T104" fmla="*/ 46 w 308"/>
                <a:gd name="T105" fmla="*/ 270 h 315"/>
                <a:gd name="T106" fmla="*/ 85 w 308"/>
                <a:gd name="T107" fmla="*/ 259 h 315"/>
                <a:gd name="T108" fmla="*/ 112 w 308"/>
                <a:gd name="T109" fmla="*/ 274 h 315"/>
                <a:gd name="T110" fmla="*/ 116 w 308"/>
                <a:gd name="T111" fmla="*/ 311 h 315"/>
                <a:gd name="T112" fmla="*/ 189 w 308"/>
                <a:gd name="T113" fmla="*/ 315 h 315"/>
                <a:gd name="T114" fmla="*/ 201 w 308"/>
                <a:gd name="T115" fmla="*/ 306 h 315"/>
                <a:gd name="T116" fmla="*/ 210 w 308"/>
                <a:gd name="T117" fmla="*/ 270 h 315"/>
                <a:gd name="T118" fmla="*/ 234 w 308"/>
                <a:gd name="T119" fmla="*/ 255 h 315"/>
                <a:gd name="T120" fmla="*/ 267 w 308"/>
                <a:gd name="T121" fmla="*/ 270 h 315"/>
                <a:gd name="T122" fmla="*/ 307 w 308"/>
                <a:gd name="T123" fmla="*/ 208 h 315"/>
                <a:gd name="T124" fmla="*/ 306 w 308"/>
                <a:gd name="T125" fmla="*/ 194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8" h="315">
                  <a:moveTo>
                    <a:pt x="260" y="240"/>
                  </a:moveTo>
                  <a:lnTo>
                    <a:pt x="239" y="228"/>
                  </a:lnTo>
                  <a:lnTo>
                    <a:pt x="235" y="227"/>
                  </a:lnTo>
                  <a:lnTo>
                    <a:pt x="231" y="226"/>
                  </a:lnTo>
                  <a:lnTo>
                    <a:pt x="227" y="227"/>
                  </a:lnTo>
                  <a:lnTo>
                    <a:pt x="223" y="229"/>
                  </a:lnTo>
                  <a:lnTo>
                    <a:pt x="215" y="237"/>
                  </a:lnTo>
                  <a:lnTo>
                    <a:pt x="205" y="243"/>
                  </a:lnTo>
                  <a:lnTo>
                    <a:pt x="195" y="248"/>
                  </a:lnTo>
                  <a:lnTo>
                    <a:pt x="185" y="253"/>
                  </a:lnTo>
                  <a:lnTo>
                    <a:pt x="181" y="255"/>
                  </a:lnTo>
                  <a:lnTo>
                    <a:pt x="178" y="257"/>
                  </a:lnTo>
                  <a:lnTo>
                    <a:pt x="177" y="260"/>
                  </a:lnTo>
                  <a:lnTo>
                    <a:pt x="176" y="265"/>
                  </a:lnTo>
                  <a:lnTo>
                    <a:pt x="176" y="289"/>
                  </a:lnTo>
                  <a:lnTo>
                    <a:pt x="137" y="289"/>
                  </a:lnTo>
                  <a:lnTo>
                    <a:pt x="137" y="265"/>
                  </a:lnTo>
                  <a:lnTo>
                    <a:pt x="136" y="260"/>
                  </a:lnTo>
                  <a:lnTo>
                    <a:pt x="135" y="257"/>
                  </a:lnTo>
                  <a:lnTo>
                    <a:pt x="132" y="255"/>
                  </a:lnTo>
                  <a:lnTo>
                    <a:pt x="129" y="253"/>
                  </a:lnTo>
                  <a:lnTo>
                    <a:pt x="117" y="248"/>
                  </a:lnTo>
                  <a:lnTo>
                    <a:pt x="105" y="243"/>
                  </a:lnTo>
                  <a:lnTo>
                    <a:pt x="95" y="237"/>
                  </a:lnTo>
                  <a:lnTo>
                    <a:pt x="87" y="229"/>
                  </a:lnTo>
                  <a:lnTo>
                    <a:pt x="84" y="227"/>
                  </a:lnTo>
                  <a:lnTo>
                    <a:pt x="79" y="226"/>
                  </a:lnTo>
                  <a:lnTo>
                    <a:pt x="76" y="227"/>
                  </a:lnTo>
                  <a:lnTo>
                    <a:pt x="72" y="228"/>
                  </a:lnTo>
                  <a:lnTo>
                    <a:pt x="50" y="240"/>
                  </a:lnTo>
                  <a:lnTo>
                    <a:pt x="30" y="207"/>
                  </a:lnTo>
                  <a:lnTo>
                    <a:pt x="51" y="194"/>
                  </a:lnTo>
                  <a:lnTo>
                    <a:pt x="55" y="192"/>
                  </a:lnTo>
                  <a:lnTo>
                    <a:pt x="57" y="188"/>
                  </a:lnTo>
                  <a:lnTo>
                    <a:pt x="58" y="184"/>
                  </a:lnTo>
                  <a:lnTo>
                    <a:pt x="58" y="180"/>
                  </a:lnTo>
                  <a:lnTo>
                    <a:pt x="56" y="168"/>
                  </a:lnTo>
                  <a:lnTo>
                    <a:pt x="55" y="157"/>
                  </a:lnTo>
                  <a:lnTo>
                    <a:pt x="56" y="145"/>
                  </a:lnTo>
                  <a:lnTo>
                    <a:pt x="58" y="134"/>
                  </a:lnTo>
                  <a:lnTo>
                    <a:pt x="58" y="130"/>
                  </a:lnTo>
                  <a:lnTo>
                    <a:pt x="57" y="126"/>
                  </a:lnTo>
                  <a:lnTo>
                    <a:pt x="55" y="123"/>
                  </a:lnTo>
                  <a:lnTo>
                    <a:pt x="51" y="120"/>
                  </a:lnTo>
                  <a:lnTo>
                    <a:pt x="31" y="108"/>
                  </a:lnTo>
                  <a:lnTo>
                    <a:pt x="50" y="73"/>
                  </a:lnTo>
                  <a:lnTo>
                    <a:pt x="72" y="86"/>
                  </a:lnTo>
                  <a:lnTo>
                    <a:pt x="76" y="87"/>
                  </a:lnTo>
                  <a:lnTo>
                    <a:pt x="79" y="87"/>
                  </a:lnTo>
                  <a:lnTo>
                    <a:pt x="84" y="86"/>
                  </a:lnTo>
                  <a:lnTo>
                    <a:pt x="87" y="84"/>
                  </a:lnTo>
                  <a:lnTo>
                    <a:pt x="95" y="78"/>
                  </a:lnTo>
                  <a:lnTo>
                    <a:pt x="105" y="71"/>
                  </a:lnTo>
                  <a:lnTo>
                    <a:pt x="117" y="66"/>
                  </a:lnTo>
                  <a:lnTo>
                    <a:pt x="129" y="62"/>
                  </a:lnTo>
                  <a:lnTo>
                    <a:pt x="132" y="59"/>
                  </a:lnTo>
                  <a:lnTo>
                    <a:pt x="135" y="57"/>
                  </a:lnTo>
                  <a:lnTo>
                    <a:pt x="136" y="53"/>
                  </a:lnTo>
                  <a:lnTo>
                    <a:pt x="137" y="50"/>
                  </a:lnTo>
                  <a:lnTo>
                    <a:pt x="137" y="25"/>
                  </a:lnTo>
                  <a:lnTo>
                    <a:pt x="176" y="25"/>
                  </a:lnTo>
                  <a:lnTo>
                    <a:pt x="176" y="50"/>
                  </a:lnTo>
                  <a:lnTo>
                    <a:pt x="176" y="53"/>
                  </a:lnTo>
                  <a:lnTo>
                    <a:pt x="178" y="57"/>
                  </a:lnTo>
                  <a:lnTo>
                    <a:pt x="181" y="59"/>
                  </a:lnTo>
                  <a:lnTo>
                    <a:pt x="185" y="62"/>
                  </a:lnTo>
                  <a:lnTo>
                    <a:pt x="195" y="66"/>
                  </a:lnTo>
                  <a:lnTo>
                    <a:pt x="205" y="71"/>
                  </a:lnTo>
                  <a:lnTo>
                    <a:pt x="215" y="77"/>
                  </a:lnTo>
                  <a:lnTo>
                    <a:pt x="223" y="84"/>
                  </a:lnTo>
                  <a:lnTo>
                    <a:pt x="227" y="87"/>
                  </a:lnTo>
                  <a:lnTo>
                    <a:pt x="231" y="88"/>
                  </a:lnTo>
                  <a:lnTo>
                    <a:pt x="235" y="88"/>
                  </a:lnTo>
                  <a:lnTo>
                    <a:pt x="239" y="86"/>
                  </a:lnTo>
                  <a:lnTo>
                    <a:pt x="259" y="76"/>
                  </a:lnTo>
                  <a:lnTo>
                    <a:pt x="278" y="108"/>
                  </a:lnTo>
                  <a:lnTo>
                    <a:pt x="258" y="120"/>
                  </a:lnTo>
                  <a:lnTo>
                    <a:pt x="254" y="123"/>
                  </a:lnTo>
                  <a:lnTo>
                    <a:pt x="252" y="126"/>
                  </a:lnTo>
                  <a:lnTo>
                    <a:pt x="251" y="130"/>
                  </a:lnTo>
                  <a:lnTo>
                    <a:pt x="251" y="134"/>
                  </a:lnTo>
                  <a:lnTo>
                    <a:pt x="253" y="145"/>
                  </a:lnTo>
                  <a:lnTo>
                    <a:pt x="254" y="157"/>
                  </a:lnTo>
                  <a:lnTo>
                    <a:pt x="253" y="169"/>
                  </a:lnTo>
                  <a:lnTo>
                    <a:pt x="251" y="180"/>
                  </a:lnTo>
                  <a:lnTo>
                    <a:pt x="251" y="184"/>
                  </a:lnTo>
                  <a:lnTo>
                    <a:pt x="252" y="188"/>
                  </a:lnTo>
                  <a:lnTo>
                    <a:pt x="254" y="192"/>
                  </a:lnTo>
                  <a:lnTo>
                    <a:pt x="258" y="194"/>
                  </a:lnTo>
                  <a:lnTo>
                    <a:pt x="278" y="207"/>
                  </a:lnTo>
                  <a:lnTo>
                    <a:pt x="260" y="240"/>
                  </a:lnTo>
                  <a:close/>
                  <a:moveTo>
                    <a:pt x="302" y="192"/>
                  </a:moveTo>
                  <a:lnTo>
                    <a:pt x="278" y="178"/>
                  </a:lnTo>
                  <a:lnTo>
                    <a:pt x="279" y="167"/>
                  </a:lnTo>
                  <a:lnTo>
                    <a:pt x="279" y="157"/>
                  </a:lnTo>
                  <a:lnTo>
                    <a:pt x="279" y="148"/>
                  </a:lnTo>
                  <a:lnTo>
                    <a:pt x="278" y="138"/>
                  </a:lnTo>
                  <a:lnTo>
                    <a:pt x="302" y="124"/>
                  </a:lnTo>
                  <a:lnTo>
                    <a:pt x="304" y="123"/>
                  </a:lnTo>
                  <a:lnTo>
                    <a:pt x="306" y="121"/>
                  </a:lnTo>
                  <a:lnTo>
                    <a:pt x="307" y="119"/>
                  </a:lnTo>
                  <a:lnTo>
                    <a:pt x="308" y="116"/>
                  </a:lnTo>
                  <a:lnTo>
                    <a:pt x="308" y="111"/>
                  </a:lnTo>
                  <a:lnTo>
                    <a:pt x="306" y="106"/>
                  </a:lnTo>
                  <a:lnTo>
                    <a:pt x="275" y="51"/>
                  </a:lnTo>
                  <a:lnTo>
                    <a:pt x="273" y="49"/>
                  </a:lnTo>
                  <a:lnTo>
                    <a:pt x="271" y="47"/>
                  </a:lnTo>
                  <a:lnTo>
                    <a:pt x="269" y="46"/>
                  </a:lnTo>
                  <a:lnTo>
                    <a:pt x="266" y="44"/>
                  </a:lnTo>
                  <a:lnTo>
                    <a:pt x="262" y="44"/>
                  </a:lnTo>
                  <a:lnTo>
                    <a:pt x="256" y="46"/>
                  </a:lnTo>
                  <a:lnTo>
                    <a:pt x="234" y="59"/>
                  </a:lnTo>
                  <a:lnTo>
                    <a:pt x="226" y="54"/>
                  </a:lnTo>
                  <a:lnTo>
                    <a:pt x="218" y="49"/>
                  </a:lnTo>
                  <a:lnTo>
                    <a:pt x="210" y="44"/>
                  </a:lnTo>
                  <a:lnTo>
                    <a:pt x="202" y="41"/>
                  </a:lnTo>
                  <a:lnTo>
                    <a:pt x="202" y="13"/>
                  </a:lnTo>
                  <a:lnTo>
                    <a:pt x="201" y="8"/>
                  </a:lnTo>
                  <a:lnTo>
                    <a:pt x="197" y="4"/>
                  </a:lnTo>
                  <a:lnTo>
                    <a:pt x="193" y="2"/>
                  </a:lnTo>
                  <a:lnTo>
                    <a:pt x="189" y="0"/>
                  </a:lnTo>
                  <a:lnTo>
                    <a:pt x="124" y="0"/>
                  </a:lnTo>
                  <a:lnTo>
                    <a:pt x="119" y="2"/>
                  </a:lnTo>
                  <a:lnTo>
                    <a:pt x="116" y="4"/>
                  </a:lnTo>
                  <a:lnTo>
                    <a:pt x="113" y="8"/>
                  </a:lnTo>
                  <a:lnTo>
                    <a:pt x="112" y="13"/>
                  </a:lnTo>
                  <a:lnTo>
                    <a:pt x="112" y="41"/>
                  </a:lnTo>
                  <a:lnTo>
                    <a:pt x="102" y="44"/>
                  </a:lnTo>
                  <a:lnTo>
                    <a:pt x="93" y="50"/>
                  </a:lnTo>
                  <a:lnTo>
                    <a:pt x="85" y="54"/>
                  </a:lnTo>
                  <a:lnTo>
                    <a:pt x="77" y="59"/>
                  </a:lnTo>
                  <a:lnTo>
                    <a:pt x="52" y="46"/>
                  </a:lnTo>
                  <a:lnTo>
                    <a:pt x="47" y="44"/>
                  </a:lnTo>
                  <a:lnTo>
                    <a:pt x="43" y="44"/>
                  </a:lnTo>
                  <a:lnTo>
                    <a:pt x="37" y="47"/>
                  </a:lnTo>
                  <a:lnTo>
                    <a:pt x="34" y="51"/>
                  </a:lnTo>
                  <a:lnTo>
                    <a:pt x="2" y="106"/>
                  </a:lnTo>
                  <a:lnTo>
                    <a:pt x="1" y="111"/>
                  </a:lnTo>
                  <a:lnTo>
                    <a:pt x="1" y="116"/>
                  </a:lnTo>
                  <a:lnTo>
                    <a:pt x="2" y="119"/>
                  </a:lnTo>
                  <a:lnTo>
                    <a:pt x="3" y="121"/>
                  </a:lnTo>
                  <a:lnTo>
                    <a:pt x="5" y="123"/>
                  </a:lnTo>
                  <a:lnTo>
                    <a:pt x="7" y="124"/>
                  </a:lnTo>
                  <a:lnTo>
                    <a:pt x="31" y="138"/>
                  </a:lnTo>
                  <a:lnTo>
                    <a:pt x="30" y="148"/>
                  </a:lnTo>
                  <a:lnTo>
                    <a:pt x="29" y="157"/>
                  </a:lnTo>
                  <a:lnTo>
                    <a:pt x="30" y="167"/>
                  </a:lnTo>
                  <a:lnTo>
                    <a:pt x="31" y="178"/>
                  </a:lnTo>
                  <a:lnTo>
                    <a:pt x="6" y="192"/>
                  </a:lnTo>
                  <a:lnTo>
                    <a:pt x="4" y="193"/>
                  </a:lnTo>
                  <a:lnTo>
                    <a:pt x="3" y="194"/>
                  </a:lnTo>
                  <a:lnTo>
                    <a:pt x="2" y="196"/>
                  </a:lnTo>
                  <a:lnTo>
                    <a:pt x="1" y="199"/>
                  </a:lnTo>
                  <a:lnTo>
                    <a:pt x="0" y="203"/>
                  </a:lnTo>
                  <a:lnTo>
                    <a:pt x="2" y="208"/>
                  </a:lnTo>
                  <a:lnTo>
                    <a:pt x="34" y="263"/>
                  </a:lnTo>
                  <a:lnTo>
                    <a:pt x="37" y="268"/>
                  </a:lnTo>
                  <a:lnTo>
                    <a:pt x="42" y="270"/>
                  </a:lnTo>
                  <a:lnTo>
                    <a:pt x="46" y="270"/>
                  </a:lnTo>
                  <a:lnTo>
                    <a:pt x="51" y="269"/>
                  </a:lnTo>
                  <a:lnTo>
                    <a:pt x="77" y="254"/>
                  </a:lnTo>
                  <a:lnTo>
                    <a:pt x="85" y="259"/>
                  </a:lnTo>
                  <a:lnTo>
                    <a:pt x="93" y="266"/>
                  </a:lnTo>
                  <a:lnTo>
                    <a:pt x="102" y="270"/>
                  </a:lnTo>
                  <a:lnTo>
                    <a:pt x="112" y="274"/>
                  </a:lnTo>
                  <a:lnTo>
                    <a:pt x="112" y="302"/>
                  </a:lnTo>
                  <a:lnTo>
                    <a:pt x="113" y="306"/>
                  </a:lnTo>
                  <a:lnTo>
                    <a:pt x="116" y="311"/>
                  </a:lnTo>
                  <a:lnTo>
                    <a:pt x="119" y="314"/>
                  </a:lnTo>
                  <a:lnTo>
                    <a:pt x="124" y="315"/>
                  </a:lnTo>
                  <a:lnTo>
                    <a:pt x="189" y="315"/>
                  </a:lnTo>
                  <a:lnTo>
                    <a:pt x="193" y="314"/>
                  </a:lnTo>
                  <a:lnTo>
                    <a:pt x="197" y="311"/>
                  </a:lnTo>
                  <a:lnTo>
                    <a:pt x="201" y="306"/>
                  </a:lnTo>
                  <a:lnTo>
                    <a:pt x="202" y="302"/>
                  </a:lnTo>
                  <a:lnTo>
                    <a:pt x="202" y="274"/>
                  </a:lnTo>
                  <a:lnTo>
                    <a:pt x="210" y="270"/>
                  </a:lnTo>
                  <a:lnTo>
                    <a:pt x="218" y="266"/>
                  </a:lnTo>
                  <a:lnTo>
                    <a:pt x="226" y="260"/>
                  </a:lnTo>
                  <a:lnTo>
                    <a:pt x="234" y="255"/>
                  </a:lnTo>
                  <a:lnTo>
                    <a:pt x="258" y="268"/>
                  </a:lnTo>
                  <a:lnTo>
                    <a:pt x="262" y="270"/>
                  </a:lnTo>
                  <a:lnTo>
                    <a:pt x="267" y="270"/>
                  </a:lnTo>
                  <a:lnTo>
                    <a:pt x="271" y="268"/>
                  </a:lnTo>
                  <a:lnTo>
                    <a:pt x="275" y="263"/>
                  </a:lnTo>
                  <a:lnTo>
                    <a:pt x="307" y="208"/>
                  </a:lnTo>
                  <a:lnTo>
                    <a:pt x="308" y="202"/>
                  </a:lnTo>
                  <a:lnTo>
                    <a:pt x="308" y="198"/>
                  </a:lnTo>
                  <a:lnTo>
                    <a:pt x="306" y="194"/>
                  </a:lnTo>
                  <a:lnTo>
                    <a:pt x="302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B1F5E49-4E68-4F7D-9214-7EC43A0F608F}"/>
              </a:ext>
            </a:extLst>
          </p:cNvPr>
          <p:cNvGrpSpPr/>
          <p:nvPr/>
        </p:nvGrpSpPr>
        <p:grpSpPr>
          <a:xfrm>
            <a:off x="1135063" y="465139"/>
            <a:ext cx="4033837" cy="5162548"/>
            <a:chOff x="1192213" y="325439"/>
            <a:chExt cx="4033837" cy="5162548"/>
          </a:xfrm>
          <a:solidFill>
            <a:schemeClr val="tx2">
              <a:lumMod val="90000"/>
              <a:lumOff val="10000"/>
            </a:schemeClr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4D93C8E1-1930-4C4C-80A5-D371C818F1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500" y="5219700"/>
              <a:ext cx="201612" cy="122237"/>
            </a:xfrm>
            <a:custGeom>
              <a:avLst/>
              <a:gdLst>
                <a:gd name="T0" fmla="*/ 29 w 33"/>
                <a:gd name="T1" fmla="*/ 0 h 20"/>
                <a:gd name="T2" fmla="*/ 17 w 33"/>
                <a:gd name="T3" fmla="*/ 4 h 20"/>
                <a:gd name="T4" fmla="*/ 4 w 33"/>
                <a:gd name="T5" fmla="*/ 1 h 20"/>
                <a:gd name="T6" fmla="*/ 0 w 33"/>
                <a:gd name="T7" fmla="*/ 5 h 20"/>
                <a:gd name="T8" fmla="*/ 4 w 33"/>
                <a:gd name="T9" fmla="*/ 9 h 20"/>
                <a:gd name="T10" fmla="*/ 16 w 33"/>
                <a:gd name="T11" fmla="*/ 13 h 20"/>
                <a:gd name="T12" fmla="*/ 26 w 33"/>
                <a:gd name="T13" fmla="*/ 20 h 20"/>
                <a:gd name="T14" fmla="*/ 30 w 33"/>
                <a:gd name="T15" fmla="*/ 15 h 20"/>
                <a:gd name="T16" fmla="*/ 29 w 33"/>
                <a:gd name="T17" fmla="*/ 7 h 20"/>
                <a:gd name="T18" fmla="*/ 33 w 33"/>
                <a:gd name="T19" fmla="*/ 5 h 20"/>
                <a:gd name="T20" fmla="*/ 29 w 33"/>
                <a:gd name="T2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20">
                  <a:moveTo>
                    <a:pt x="29" y="0"/>
                  </a:moveTo>
                  <a:cubicBezTo>
                    <a:pt x="27" y="1"/>
                    <a:pt x="24" y="4"/>
                    <a:pt x="17" y="4"/>
                  </a:cubicBezTo>
                  <a:cubicBezTo>
                    <a:pt x="11" y="4"/>
                    <a:pt x="6" y="0"/>
                    <a:pt x="4" y="1"/>
                  </a:cubicBezTo>
                  <a:cubicBezTo>
                    <a:pt x="1" y="2"/>
                    <a:pt x="0" y="2"/>
                    <a:pt x="0" y="5"/>
                  </a:cubicBezTo>
                  <a:cubicBezTo>
                    <a:pt x="0" y="7"/>
                    <a:pt x="1" y="9"/>
                    <a:pt x="4" y="9"/>
                  </a:cubicBezTo>
                  <a:cubicBezTo>
                    <a:pt x="7" y="10"/>
                    <a:pt x="13" y="11"/>
                    <a:pt x="16" y="13"/>
                  </a:cubicBezTo>
                  <a:cubicBezTo>
                    <a:pt x="18" y="15"/>
                    <a:pt x="23" y="20"/>
                    <a:pt x="26" y="20"/>
                  </a:cubicBezTo>
                  <a:cubicBezTo>
                    <a:pt x="29" y="20"/>
                    <a:pt x="30" y="19"/>
                    <a:pt x="30" y="15"/>
                  </a:cubicBezTo>
                  <a:cubicBezTo>
                    <a:pt x="30" y="11"/>
                    <a:pt x="27" y="9"/>
                    <a:pt x="29" y="7"/>
                  </a:cubicBezTo>
                  <a:cubicBezTo>
                    <a:pt x="29" y="7"/>
                    <a:pt x="33" y="7"/>
                    <a:pt x="33" y="5"/>
                  </a:cubicBezTo>
                  <a:cubicBezTo>
                    <a:pt x="33" y="2"/>
                    <a:pt x="32" y="0"/>
                    <a:pt x="2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23E5E129-DFBB-4316-8CD0-6C0D3EC54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5388" y="5395913"/>
              <a:ext cx="42862" cy="42862"/>
            </a:xfrm>
            <a:custGeom>
              <a:avLst/>
              <a:gdLst>
                <a:gd name="T0" fmla="*/ 2 w 7"/>
                <a:gd name="T1" fmla="*/ 1 h 7"/>
                <a:gd name="T2" fmla="*/ 1 w 7"/>
                <a:gd name="T3" fmla="*/ 5 h 7"/>
                <a:gd name="T4" fmla="*/ 6 w 7"/>
                <a:gd name="T5" fmla="*/ 7 h 7"/>
                <a:gd name="T6" fmla="*/ 6 w 7"/>
                <a:gd name="T7" fmla="*/ 5 h 7"/>
                <a:gd name="T8" fmla="*/ 2 w 7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2" y="1"/>
                  </a:moveTo>
                  <a:cubicBezTo>
                    <a:pt x="0" y="3"/>
                    <a:pt x="0" y="4"/>
                    <a:pt x="1" y="5"/>
                  </a:cubicBezTo>
                  <a:cubicBezTo>
                    <a:pt x="2" y="5"/>
                    <a:pt x="4" y="7"/>
                    <a:pt x="6" y="7"/>
                  </a:cubicBezTo>
                  <a:cubicBezTo>
                    <a:pt x="7" y="6"/>
                    <a:pt x="7" y="6"/>
                    <a:pt x="6" y="5"/>
                  </a:cubicBezTo>
                  <a:cubicBezTo>
                    <a:pt x="6" y="5"/>
                    <a:pt x="5" y="0"/>
                    <a:pt x="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F578260-48ED-420B-B125-A1C403DF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2288" y="1871663"/>
              <a:ext cx="1931987" cy="1798637"/>
            </a:xfrm>
            <a:custGeom>
              <a:avLst/>
              <a:gdLst>
                <a:gd name="T0" fmla="*/ 15 w 316"/>
                <a:gd name="T1" fmla="*/ 211 h 295"/>
                <a:gd name="T2" fmla="*/ 6 w 316"/>
                <a:gd name="T3" fmla="*/ 223 h 295"/>
                <a:gd name="T4" fmla="*/ 13 w 316"/>
                <a:gd name="T5" fmla="*/ 241 h 295"/>
                <a:gd name="T6" fmla="*/ 35 w 316"/>
                <a:gd name="T7" fmla="*/ 249 h 295"/>
                <a:gd name="T8" fmla="*/ 77 w 316"/>
                <a:gd name="T9" fmla="*/ 253 h 295"/>
                <a:gd name="T10" fmla="*/ 91 w 316"/>
                <a:gd name="T11" fmla="*/ 280 h 295"/>
                <a:gd name="T12" fmla="*/ 108 w 316"/>
                <a:gd name="T13" fmla="*/ 293 h 295"/>
                <a:gd name="T14" fmla="*/ 121 w 316"/>
                <a:gd name="T15" fmla="*/ 284 h 295"/>
                <a:gd name="T16" fmla="*/ 141 w 316"/>
                <a:gd name="T17" fmla="*/ 258 h 295"/>
                <a:gd name="T18" fmla="*/ 147 w 316"/>
                <a:gd name="T19" fmla="*/ 237 h 295"/>
                <a:gd name="T20" fmla="*/ 161 w 316"/>
                <a:gd name="T21" fmla="*/ 222 h 295"/>
                <a:gd name="T22" fmla="*/ 154 w 316"/>
                <a:gd name="T23" fmla="*/ 203 h 295"/>
                <a:gd name="T24" fmla="*/ 146 w 316"/>
                <a:gd name="T25" fmla="*/ 193 h 295"/>
                <a:gd name="T26" fmla="*/ 156 w 316"/>
                <a:gd name="T27" fmla="*/ 165 h 295"/>
                <a:gd name="T28" fmla="*/ 184 w 316"/>
                <a:gd name="T29" fmla="*/ 147 h 295"/>
                <a:gd name="T30" fmla="*/ 201 w 316"/>
                <a:gd name="T31" fmla="*/ 111 h 295"/>
                <a:gd name="T32" fmla="*/ 225 w 316"/>
                <a:gd name="T33" fmla="*/ 103 h 295"/>
                <a:gd name="T34" fmla="*/ 233 w 316"/>
                <a:gd name="T35" fmla="*/ 119 h 295"/>
                <a:gd name="T36" fmla="*/ 200 w 316"/>
                <a:gd name="T37" fmla="*/ 164 h 295"/>
                <a:gd name="T38" fmla="*/ 193 w 316"/>
                <a:gd name="T39" fmla="*/ 184 h 295"/>
                <a:gd name="T40" fmla="*/ 203 w 316"/>
                <a:gd name="T41" fmla="*/ 205 h 295"/>
                <a:gd name="T42" fmla="*/ 220 w 316"/>
                <a:gd name="T43" fmla="*/ 210 h 295"/>
                <a:gd name="T44" fmla="*/ 268 w 316"/>
                <a:gd name="T45" fmla="*/ 201 h 295"/>
                <a:gd name="T46" fmla="*/ 303 w 316"/>
                <a:gd name="T47" fmla="*/ 185 h 295"/>
                <a:gd name="T48" fmla="*/ 314 w 316"/>
                <a:gd name="T49" fmla="*/ 169 h 295"/>
                <a:gd name="T50" fmla="*/ 305 w 316"/>
                <a:gd name="T51" fmla="*/ 149 h 295"/>
                <a:gd name="T52" fmla="*/ 305 w 316"/>
                <a:gd name="T53" fmla="*/ 134 h 295"/>
                <a:gd name="T54" fmla="*/ 297 w 316"/>
                <a:gd name="T55" fmla="*/ 117 h 295"/>
                <a:gd name="T56" fmla="*/ 298 w 316"/>
                <a:gd name="T57" fmla="*/ 105 h 295"/>
                <a:gd name="T58" fmla="*/ 290 w 316"/>
                <a:gd name="T59" fmla="*/ 83 h 295"/>
                <a:gd name="T60" fmla="*/ 293 w 316"/>
                <a:gd name="T61" fmla="*/ 74 h 295"/>
                <a:gd name="T62" fmla="*/ 289 w 316"/>
                <a:gd name="T63" fmla="*/ 59 h 295"/>
                <a:gd name="T64" fmla="*/ 290 w 316"/>
                <a:gd name="T65" fmla="*/ 37 h 295"/>
                <a:gd name="T66" fmla="*/ 276 w 316"/>
                <a:gd name="T67" fmla="*/ 21 h 295"/>
                <a:gd name="T68" fmla="*/ 297 w 316"/>
                <a:gd name="T69" fmla="*/ 16 h 295"/>
                <a:gd name="T70" fmla="*/ 289 w 316"/>
                <a:gd name="T71" fmla="*/ 8 h 295"/>
                <a:gd name="T72" fmla="*/ 261 w 316"/>
                <a:gd name="T73" fmla="*/ 7 h 295"/>
                <a:gd name="T74" fmla="*/ 251 w 316"/>
                <a:gd name="T75" fmla="*/ 15 h 295"/>
                <a:gd name="T76" fmla="*/ 244 w 316"/>
                <a:gd name="T77" fmla="*/ 8 h 295"/>
                <a:gd name="T78" fmla="*/ 236 w 316"/>
                <a:gd name="T79" fmla="*/ 0 h 295"/>
                <a:gd name="T80" fmla="*/ 223 w 316"/>
                <a:gd name="T81" fmla="*/ 17 h 295"/>
                <a:gd name="T82" fmla="*/ 209 w 316"/>
                <a:gd name="T83" fmla="*/ 17 h 295"/>
                <a:gd name="T84" fmla="*/ 202 w 316"/>
                <a:gd name="T85" fmla="*/ 9 h 295"/>
                <a:gd name="T86" fmla="*/ 198 w 316"/>
                <a:gd name="T87" fmla="*/ 19 h 295"/>
                <a:gd name="T88" fmla="*/ 187 w 316"/>
                <a:gd name="T89" fmla="*/ 20 h 295"/>
                <a:gd name="T90" fmla="*/ 173 w 316"/>
                <a:gd name="T91" fmla="*/ 20 h 295"/>
                <a:gd name="T92" fmla="*/ 163 w 316"/>
                <a:gd name="T93" fmla="*/ 31 h 295"/>
                <a:gd name="T94" fmla="*/ 150 w 316"/>
                <a:gd name="T95" fmla="*/ 33 h 295"/>
                <a:gd name="T96" fmla="*/ 146 w 316"/>
                <a:gd name="T97" fmla="*/ 42 h 295"/>
                <a:gd name="T98" fmla="*/ 149 w 316"/>
                <a:gd name="T99" fmla="*/ 45 h 295"/>
                <a:gd name="T100" fmla="*/ 125 w 316"/>
                <a:gd name="T101" fmla="*/ 46 h 295"/>
                <a:gd name="T102" fmla="*/ 117 w 316"/>
                <a:gd name="T103" fmla="*/ 52 h 295"/>
                <a:gd name="T104" fmla="*/ 125 w 316"/>
                <a:gd name="T105" fmla="*/ 62 h 295"/>
                <a:gd name="T106" fmla="*/ 99 w 316"/>
                <a:gd name="T107" fmla="*/ 94 h 295"/>
                <a:gd name="T108" fmla="*/ 78 w 316"/>
                <a:gd name="T109" fmla="*/ 123 h 295"/>
                <a:gd name="T110" fmla="*/ 64 w 316"/>
                <a:gd name="T111" fmla="*/ 127 h 295"/>
                <a:gd name="T112" fmla="*/ 54 w 316"/>
                <a:gd name="T113" fmla="*/ 143 h 295"/>
                <a:gd name="T114" fmla="*/ 75 w 316"/>
                <a:gd name="T115" fmla="*/ 132 h 295"/>
                <a:gd name="T116" fmla="*/ 60 w 316"/>
                <a:gd name="T117" fmla="*/ 156 h 295"/>
                <a:gd name="T118" fmla="*/ 17 w 316"/>
                <a:gd name="T119" fmla="*/ 173 h 295"/>
                <a:gd name="T120" fmla="*/ 12 w 316"/>
                <a:gd name="T121" fmla="*/ 20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6" h="295">
                  <a:moveTo>
                    <a:pt x="12" y="209"/>
                  </a:moveTo>
                  <a:cubicBezTo>
                    <a:pt x="13" y="209"/>
                    <a:pt x="14" y="210"/>
                    <a:pt x="15" y="211"/>
                  </a:cubicBezTo>
                  <a:cubicBezTo>
                    <a:pt x="16" y="214"/>
                    <a:pt x="14" y="217"/>
                    <a:pt x="11" y="217"/>
                  </a:cubicBezTo>
                  <a:cubicBezTo>
                    <a:pt x="8" y="217"/>
                    <a:pt x="5" y="220"/>
                    <a:pt x="6" y="223"/>
                  </a:cubicBezTo>
                  <a:cubicBezTo>
                    <a:pt x="9" y="236"/>
                    <a:pt x="9" y="236"/>
                    <a:pt x="9" y="236"/>
                  </a:cubicBezTo>
                  <a:cubicBezTo>
                    <a:pt x="9" y="238"/>
                    <a:pt x="11" y="240"/>
                    <a:pt x="13" y="241"/>
                  </a:cubicBezTo>
                  <a:cubicBezTo>
                    <a:pt x="23" y="248"/>
                    <a:pt x="23" y="248"/>
                    <a:pt x="23" y="248"/>
                  </a:cubicBezTo>
                  <a:cubicBezTo>
                    <a:pt x="27" y="250"/>
                    <a:pt x="31" y="251"/>
                    <a:pt x="35" y="249"/>
                  </a:cubicBezTo>
                  <a:cubicBezTo>
                    <a:pt x="45" y="244"/>
                    <a:pt x="45" y="244"/>
                    <a:pt x="45" y="244"/>
                  </a:cubicBezTo>
                  <a:cubicBezTo>
                    <a:pt x="58" y="234"/>
                    <a:pt x="76" y="219"/>
                    <a:pt x="77" y="253"/>
                  </a:cubicBezTo>
                  <a:cubicBezTo>
                    <a:pt x="82" y="260"/>
                    <a:pt x="82" y="260"/>
                    <a:pt x="82" y="260"/>
                  </a:cubicBezTo>
                  <a:cubicBezTo>
                    <a:pt x="91" y="280"/>
                    <a:pt x="91" y="280"/>
                    <a:pt x="91" y="280"/>
                  </a:cubicBezTo>
                  <a:cubicBezTo>
                    <a:pt x="90" y="288"/>
                    <a:pt x="99" y="295"/>
                    <a:pt x="107" y="293"/>
                  </a:cubicBezTo>
                  <a:cubicBezTo>
                    <a:pt x="108" y="293"/>
                    <a:pt x="108" y="293"/>
                    <a:pt x="108" y="293"/>
                  </a:cubicBezTo>
                  <a:cubicBezTo>
                    <a:pt x="110" y="292"/>
                    <a:pt x="112" y="291"/>
                    <a:pt x="114" y="290"/>
                  </a:cubicBezTo>
                  <a:cubicBezTo>
                    <a:pt x="121" y="284"/>
                    <a:pt x="121" y="284"/>
                    <a:pt x="121" y="284"/>
                  </a:cubicBezTo>
                  <a:cubicBezTo>
                    <a:pt x="136" y="272"/>
                    <a:pt x="136" y="272"/>
                    <a:pt x="136" y="272"/>
                  </a:cubicBezTo>
                  <a:cubicBezTo>
                    <a:pt x="140" y="268"/>
                    <a:pt x="142" y="263"/>
                    <a:pt x="141" y="258"/>
                  </a:cubicBezTo>
                  <a:cubicBezTo>
                    <a:pt x="141" y="252"/>
                    <a:pt x="141" y="252"/>
                    <a:pt x="141" y="252"/>
                  </a:cubicBezTo>
                  <a:cubicBezTo>
                    <a:pt x="140" y="246"/>
                    <a:pt x="142" y="240"/>
                    <a:pt x="147" y="237"/>
                  </a:cubicBezTo>
                  <a:cubicBezTo>
                    <a:pt x="156" y="232"/>
                    <a:pt x="156" y="232"/>
                    <a:pt x="156" y="232"/>
                  </a:cubicBezTo>
                  <a:cubicBezTo>
                    <a:pt x="159" y="230"/>
                    <a:pt x="161" y="226"/>
                    <a:pt x="161" y="222"/>
                  </a:cubicBezTo>
                  <a:cubicBezTo>
                    <a:pt x="159" y="211"/>
                    <a:pt x="159" y="211"/>
                    <a:pt x="159" y="211"/>
                  </a:cubicBezTo>
                  <a:cubicBezTo>
                    <a:pt x="159" y="207"/>
                    <a:pt x="157" y="204"/>
                    <a:pt x="154" y="203"/>
                  </a:cubicBezTo>
                  <a:cubicBezTo>
                    <a:pt x="151" y="202"/>
                    <a:pt x="151" y="202"/>
                    <a:pt x="151" y="202"/>
                  </a:cubicBezTo>
                  <a:cubicBezTo>
                    <a:pt x="147" y="200"/>
                    <a:pt x="145" y="196"/>
                    <a:pt x="146" y="193"/>
                  </a:cubicBezTo>
                  <a:cubicBezTo>
                    <a:pt x="151" y="172"/>
                    <a:pt x="151" y="172"/>
                    <a:pt x="151" y="172"/>
                  </a:cubicBezTo>
                  <a:cubicBezTo>
                    <a:pt x="152" y="169"/>
                    <a:pt x="154" y="167"/>
                    <a:pt x="156" y="165"/>
                  </a:cubicBezTo>
                  <a:cubicBezTo>
                    <a:pt x="167" y="155"/>
                    <a:pt x="167" y="155"/>
                    <a:pt x="167" y="155"/>
                  </a:cubicBezTo>
                  <a:cubicBezTo>
                    <a:pt x="184" y="147"/>
                    <a:pt x="184" y="147"/>
                    <a:pt x="184" y="147"/>
                  </a:cubicBezTo>
                  <a:cubicBezTo>
                    <a:pt x="190" y="129"/>
                    <a:pt x="190" y="129"/>
                    <a:pt x="190" y="129"/>
                  </a:cubicBezTo>
                  <a:cubicBezTo>
                    <a:pt x="201" y="111"/>
                    <a:pt x="201" y="111"/>
                    <a:pt x="201" y="111"/>
                  </a:cubicBezTo>
                  <a:cubicBezTo>
                    <a:pt x="204" y="106"/>
                    <a:pt x="209" y="103"/>
                    <a:pt x="215" y="103"/>
                  </a:cubicBezTo>
                  <a:cubicBezTo>
                    <a:pt x="225" y="103"/>
                    <a:pt x="225" y="103"/>
                    <a:pt x="225" y="103"/>
                  </a:cubicBezTo>
                  <a:cubicBezTo>
                    <a:pt x="229" y="102"/>
                    <a:pt x="233" y="105"/>
                    <a:pt x="234" y="108"/>
                  </a:cubicBezTo>
                  <a:cubicBezTo>
                    <a:pt x="236" y="112"/>
                    <a:pt x="236" y="116"/>
                    <a:pt x="233" y="119"/>
                  </a:cubicBezTo>
                  <a:cubicBezTo>
                    <a:pt x="206" y="148"/>
                    <a:pt x="206" y="148"/>
                    <a:pt x="206" y="148"/>
                  </a:cubicBezTo>
                  <a:cubicBezTo>
                    <a:pt x="200" y="164"/>
                    <a:pt x="200" y="164"/>
                    <a:pt x="200" y="164"/>
                  </a:cubicBezTo>
                  <a:cubicBezTo>
                    <a:pt x="197" y="167"/>
                    <a:pt x="197" y="167"/>
                    <a:pt x="197" y="167"/>
                  </a:cubicBezTo>
                  <a:cubicBezTo>
                    <a:pt x="192" y="171"/>
                    <a:pt x="191" y="178"/>
                    <a:pt x="193" y="184"/>
                  </a:cubicBezTo>
                  <a:cubicBezTo>
                    <a:pt x="197" y="198"/>
                    <a:pt x="197" y="198"/>
                    <a:pt x="197" y="198"/>
                  </a:cubicBezTo>
                  <a:cubicBezTo>
                    <a:pt x="198" y="202"/>
                    <a:pt x="200" y="204"/>
                    <a:pt x="203" y="205"/>
                  </a:cubicBezTo>
                  <a:cubicBezTo>
                    <a:pt x="211" y="209"/>
                    <a:pt x="211" y="209"/>
                    <a:pt x="211" y="209"/>
                  </a:cubicBezTo>
                  <a:cubicBezTo>
                    <a:pt x="213" y="211"/>
                    <a:pt x="217" y="211"/>
                    <a:pt x="220" y="210"/>
                  </a:cubicBezTo>
                  <a:cubicBezTo>
                    <a:pt x="251" y="201"/>
                    <a:pt x="251" y="201"/>
                    <a:pt x="251" y="201"/>
                  </a:cubicBezTo>
                  <a:cubicBezTo>
                    <a:pt x="268" y="201"/>
                    <a:pt x="268" y="201"/>
                    <a:pt x="268" y="201"/>
                  </a:cubicBezTo>
                  <a:cubicBezTo>
                    <a:pt x="271" y="201"/>
                    <a:pt x="274" y="202"/>
                    <a:pt x="276" y="204"/>
                  </a:cubicBezTo>
                  <a:cubicBezTo>
                    <a:pt x="303" y="185"/>
                    <a:pt x="303" y="185"/>
                    <a:pt x="303" y="185"/>
                  </a:cubicBezTo>
                  <a:cubicBezTo>
                    <a:pt x="308" y="181"/>
                    <a:pt x="311" y="177"/>
                    <a:pt x="313" y="171"/>
                  </a:cubicBezTo>
                  <a:cubicBezTo>
                    <a:pt x="314" y="169"/>
                    <a:pt x="314" y="169"/>
                    <a:pt x="314" y="169"/>
                  </a:cubicBezTo>
                  <a:cubicBezTo>
                    <a:pt x="316" y="163"/>
                    <a:pt x="314" y="156"/>
                    <a:pt x="308" y="152"/>
                  </a:cubicBezTo>
                  <a:cubicBezTo>
                    <a:pt x="305" y="149"/>
                    <a:pt x="305" y="149"/>
                    <a:pt x="305" y="149"/>
                  </a:cubicBezTo>
                  <a:cubicBezTo>
                    <a:pt x="302" y="147"/>
                    <a:pt x="301" y="143"/>
                    <a:pt x="304" y="141"/>
                  </a:cubicBezTo>
                  <a:cubicBezTo>
                    <a:pt x="306" y="139"/>
                    <a:pt x="306" y="136"/>
                    <a:pt x="305" y="134"/>
                  </a:cubicBezTo>
                  <a:cubicBezTo>
                    <a:pt x="304" y="133"/>
                    <a:pt x="304" y="133"/>
                    <a:pt x="304" y="133"/>
                  </a:cubicBezTo>
                  <a:cubicBezTo>
                    <a:pt x="297" y="117"/>
                    <a:pt x="297" y="117"/>
                    <a:pt x="297" y="117"/>
                  </a:cubicBezTo>
                  <a:cubicBezTo>
                    <a:pt x="296" y="115"/>
                    <a:pt x="296" y="114"/>
                    <a:pt x="296" y="113"/>
                  </a:cubicBezTo>
                  <a:cubicBezTo>
                    <a:pt x="298" y="105"/>
                    <a:pt x="298" y="105"/>
                    <a:pt x="298" y="105"/>
                  </a:cubicBezTo>
                  <a:cubicBezTo>
                    <a:pt x="299" y="103"/>
                    <a:pt x="299" y="102"/>
                    <a:pt x="298" y="101"/>
                  </a:cubicBezTo>
                  <a:cubicBezTo>
                    <a:pt x="290" y="83"/>
                    <a:pt x="290" y="83"/>
                    <a:pt x="290" y="83"/>
                  </a:cubicBezTo>
                  <a:cubicBezTo>
                    <a:pt x="288" y="81"/>
                    <a:pt x="289" y="78"/>
                    <a:pt x="291" y="76"/>
                  </a:cubicBezTo>
                  <a:cubicBezTo>
                    <a:pt x="293" y="74"/>
                    <a:pt x="293" y="74"/>
                    <a:pt x="293" y="74"/>
                  </a:cubicBezTo>
                  <a:cubicBezTo>
                    <a:pt x="295" y="72"/>
                    <a:pt x="295" y="69"/>
                    <a:pt x="294" y="67"/>
                  </a:cubicBezTo>
                  <a:cubicBezTo>
                    <a:pt x="289" y="59"/>
                    <a:pt x="289" y="59"/>
                    <a:pt x="289" y="59"/>
                  </a:cubicBezTo>
                  <a:cubicBezTo>
                    <a:pt x="288" y="58"/>
                    <a:pt x="288" y="56"/>
                    <a:pt x="288" y="55"/>
                  </a:cubicBezTo>
                  <a:cubicBezTo>
                    <a:pt x="290" y="37"/>
                    <a:pt x="290" y="37"/>
                    <a:pt x="290" y="37"/>
                  </a:cubicBezTo>
                  <a:cubicBezTo>
                    <a:pt x="290" y="37"/>
                    <a:pt x="290" y="37"/>
                    <a:pt x="290" y="37"/>
                  </a:cubicBezTo>
                  <a:cubicBezTo>
                    <a:pt x="276" y="21"/>
                    <a:pt x="276" y="21"/>
                    <a:pt x="276" y="21"/>
                  </a:cubicBezTo>
                  <a:cubicBezTo>
                    <a:pt x="290" y="21"/>
                    <a:pt x="290" y="21"/>
                    <a:pt x="290" y="21"/>
                  </a:cubicBezTo>
                  <a:cubicBezTo>
                    <a:pt x="293" y="21"/>
                    <a:pt x="296" y="19"/>
                    <a:pt x="297" y="16"/>
                  </a:cubicBezTo>
                  <a:cubicBezTo>
                    <a:pt x="297" y="16"/>
                    <a:pt x="297" y="16"/>
                    <a:pt x="297" y="16"/>
                  </a:cubicBezTo>
                  <a:cubicBezTo>
                    <a:pt x="298" y="11"/>
                    <a:pt x="295" y="6"/>
                    <a:pt x="289" y="8"/>
                  </a:cubicBezTo>
                  <a:cubicBezTo>
                    <a:pt x="285" y="8"/>
                    <a:pt x="281" y="8"/>
                    <a:pt x="278" y="6"/>
                  </a:cubicBezTo>
                  <a:cubicBezTo>
                    <a:pt x="272" y="2"/>
                    <a:pt x="265" y="3"/>
                    <a:pt x="261" y="7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5" y="15"/>
                    <a:pt x="253" y="15"/>
                    <a:pt x="251" y="15"/>
                  </a:cubicBezTo>
                  <a:cubicBezTo>
                    <a:pt x="247" y="15"/>
                    <a:pt x="247" y="15"/>
                    <a:pt x="247" y="15"/>
                  </a:cubicBezTo>
                  <a:cubicBezTo>
                    <a:pt x="243" y="15"/>
                    <a:pt x="241" y="11"/>
                    <a:pt x="244" y="8"/>
                  </a:cubicBezTo>
                  <a:cubicBezTo>
                    <a:pt x="246" y="5"/>
                    <a:pt x="245" y="1"/>
                    <a:pt x="241" y="1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2" y="0"/>
                    <a:pt x="228" y="2"/>
                    <a:pt x="226" y="6"/>
                  </a:cubicBezTo>
                  <a:cubicBezTo>
                    <a:pt x="223" y="17"/>
                    <a:pt x="223" y="17"/>
                    <a:pt x="223" y="17"/>
                  </a:cubicBezTo>
                  <a:cubicBezTo>
                    <a:pt x="222" y="20"/>
                    <a:pt x="220" y="22"/>
                    <a:pt x="217" y="22"/>
                  </a:cubicBezTo>
                  <a:cubicBezTo>
                    <a:pt x="214" y="24"/>
                    <a:pt x="210" y="21"/>
                    <a:pt x="209" y="17"/>
                  </a:cubicBezTo>
                  <a:cubicBezTo>
                    <a:pt x="209" y="15"/>
                    <a:pt x="209" y="15"/>
                    <a:pt x="209" y="15"/>
                  </a:cubicBezTo>
                  <a:cubicBezTo>
                    <a:pt x="208" y="11"/>
                    <a:pt x="205" y="9"/>
                    <a:pt x="202" y="9"/>
                  </a:cubicBezTo>
                  <a:cubicBezTo>
                    <a:pt x="200" y="9"/>
                    <a:pt x="198" y="11"/>
                    <a:pt x="198" y="13"/>
                  </a:cubicBezTo>
                  <a:cubicBezTo>
                    <a:pt x="198" y="19"/>
                    <a:pt x="198" y="19"/>
                    <a:pt x="198" y="19"/>
                  </a:cubicBezTo>
                  <a:cubicBezTo>
                    <a:pt x="197" y="23"/>
                    <a:pt x="193" y="25"/>
                    <a:pt x="190" y="23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5" y="17"/>
                    <a:pt x="181" y="16"/>
                    <a:pt x="178" y="18"/>
                  </a:cubicBezTo>
                  <a:cubicBezTo>
                    <a:pt x="173" y="20"/>
                    <a:pt x="173" y="20"/>
                    <a:pt x="173" y="20"/>
                  </a:cubicBezTo>
                  <a:cubicBezTo>
                    <a:pt x="171" y="21"/>
                    <a:pt x="170" y="22"/>
                    <a:pt x="168" y="24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1" y="33"/>
                    <a:pt x="158" y="34"/>
                    <a:pt x="155" y="34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48" y="32"/>
                    <a:pt x="146" y="33"/>
                    <a:pt x="144" y="35"/>
                  </a:cubicBezTo>
                  <a:cubicBezTo>
                    <a:pt x="143" y="38"/>
                    <a:pt x="144" y="41"/>
                    <a:pt x="146" y="42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9" y="44"/>
                    <a:pt x="149" y="44"/>
                    <a:pt x="149" y="45"/>
                  </a:cubicBezTo>
                  <a:cubicBezTo>
                    <a:pt x="148" y="48"/>
                    <a:pt x="146" y="50"/>
                    <a:pt x="143" y="49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3" y="46"/>
                    <a:pt x="120" y="47"/>
                    <a:pt x="119" y="49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6" y="55"/>
                    <a:pt x="117" y="58"/>
                    <a:pt x="120" y="60"/>
                  </a:cubicBezTo>
                  <a:cubicBezTo>
                    <a:pt x="125" y="62"/>
                    <a:pt x="125" y="62"/>
                    <a:pt x="125" y="62"/>
                  </a:cubicBezTo>
                  <a:cubicBezTo>
                    <a:pt x="127" y="63"/>
                    <a:pt x="127" y="65"/>
                    <a:pt x="126" y="66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84" y="118"/>
                    <a:pt x="84" y="118"/>
                    <a:pt x="84" y="118"/>
                  </a:cubicBezTo>
                  <a:cubicBezTo>
                    <a:pt x="83" y="120"/>
                    <a:pt x="81" y="122"/>
                    <a:pt x="78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7" y="125"/>
                    <a:pt x="66" y="126"/>
                    <a:pt x="64" y="127"/>
                  </a:cubicBezTo>
                  <a:cubicBezTo>
                    <a:pt x="53" y="139"/>
                    <a:pt x="53" y="139"/>
                    <a:pt x="53" y="139"/>
                  </a:cubicBezTo>
                  <a:cubicBezTo>
                    <a:pt x="52" y="140"/>
                    <a:pt x="52" y="142"/>
                    <a:pt x="54" y="143"/>
                  </a:cubicBezTo>
                  <a:cubicBezTo>
                    <a:pt x="56" y="145"/>
                    <a:pt x="58" y="145"/>
                    <a:pt x="60" y="143"/>
                  </a:cubicBezTo>
                  <a:cubicBezTo>
                    <a:pt x="75" y="132"/>
                    <a:pt x="75" y="132"/>
                    <a:pt x="75" y="132"/>
                  </a:cubicBezTo>
                  <a:cubicBezTo>
                    <a:pt x="76" y="149"/>
                    <a:pt x="76" y="149"/>
                    <a:pt x="76" y="149"/>
                  </a:cubicBezTo>
                  <a:cubicBezTo>
                    <a:pt x="60" y="156"/>
                    <a:pt x="60" y="156"/>
                    <a:pt x="60" y="156"/>
                  </a:cubicBezTo>
                  <a:cubicBezTo>
                    <a:pt x="44" y="154"/>
                    <a:pt x="44" y="154"/>
                    <a:pt x="44" y="154"/>
                  </a:cubicBezTo>
                  <a:cubicBezTo>
                    <a:pt x="17" y="173"/>
                    <a:pt x="17" y="173"/>
                    <a:pt x="17" y="173"/>
                  </a:cubicBezTo>
                  <a:cubicBezTo>
                    <a:pt x="5" y="181"/>
                    <a:pt x="0" y="195"/>
                    <a:pt x="4" y="208"/>
                  </a:cubicBezTo>
                  <a:lnTo>
                    <a:pt x="12" y="2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DF357ACF-221B-4209-A85D-E55A89BB90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463" y="4987925"/>
              <a:ext cx="103187" cy="163512"/>
            </a:xfrm>
            <a:custGeom>
              <a:avLst/>
              <a:gdLst>
                <a:gd name="T0" fmla="*/ 13 w 17"/>
                <a:gd name="T1" fmla="*/ 1 h 27"/>
                <a:gd name="T2" fmla="*/ 9 w 17"/>
                <a:gd name="T3" fmla="*/ 0 h 27"/>
                <a:gd name="T4" fmla="*/ 9 w 17"/>
                <a:gd name="T5" fmla="*/ 0 h 27"/>
                <a:gd name="T6" fmla="*/ 5 w 17"/>
                <a:gd name="T7" fmla="*/ 2 h 27"/>
                <a:gd name="T8" fmla="*/ 1 w 17"/>
                <a:gd name="T9" fmla="*/ 2 h 27"/>
                <a:gd name="T10" fmla="*/ 0 w 17"/>
                <a:gd name="T11" fmla="*/ 9 h 27"/>
                <a:gd name="T12" fmla="*/ 3 w 17"/>
                <a:gd name="T13" fmla="*/ 11 h 27"/>
                <a:gd name="T14" fmla="*/ 3 w 17"/>
                <a:gd name="T15" fmla="*/ 27 h 27"/>
                <a:gd name="T16" fmla="*/ 4 w 17"/>
                <a:gd name="T17" fmla="*/ 27 h 27"/>
                <a:gd name="T18" fmla="*/ 10 w 17"/>
                <a:gd name="T19" fmla="*/ 25 h 27"/>
                <a:gd name="T20" fmla="*/ 13 w 17"/>
                <a:gd name="T21" fmla="*/ 22 h 27"/>
                <a:gd name="T22" fmla="*/ 15 w 17"/>
                <a:gd name="T23" fmla="*/ 16 h 27"/>
                <a:gd name="T24" fmla="*/ 15 w 17"/>
                <a:gd name="T25" fmla="*/ 10 h 27"/>
                <a:gd name="T26" fmla="*/ 16 w 17"/>
                <a:gd name="T27" fmla="*/ 8 h 27"/>
                <a:gd name="T28" fmla="*/ 13 w 17"/>
                <a:gd name="T29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27">
                  <a:moveTo>
                    <a:pt x="13" y="1"/>
                  </a:moveTo>
                  <a:cubicBezTo>
                    <a:pt x="12" y="0"/>
                    <a:pt x="11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2" y="1"/>
                    <a:pt x="1" y="2"/>
                  </a:cubicBezTo>
                  <a:cubicBezTo>
                    <a:pt x="0" y="3"/>
                    <a:pt x="0" y="9"/>
                    <a:pt x="0" y="9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6" y="27"/>
                    <a:pt x="8" y="27"/>
                    <a:pt x="10" y="25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4" y="21"/>
                    <a:pt x="15" y="19"/>
                    <a:pt x="15" y="16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5"/>
                    <a:pt x="16" y="2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241FBC22-FBE3-42B7-B8F5-1CC838493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5975" y="4841875"/>
              <a:ext cx="60325" cy="96837"/>
            </a:xfrm>
            <a:custGeom>
              <a:avLst/>
              <a:gdLst>
                <a:gd name="T0" fmla="*/ 2 w 10"/>
                <a:gd name="T1" fmla="*/ 15 h 16"/>
                <a:gd name="T2" fmla="*/ 4 w 10"/>
                <a:gd name="T3" fmla="*/ 15 h 16"/>
                <a:gd name="T4" fmla="*/ 5 w 10"/>
                <a:gd name="T5" fmla="*/ 9 h 16"/>
                <a:gd name="T6" fmla="*/ 9 w 10"/>
                <a:gd name="T7" fmla="*/ 9 h 16"/>
                <a:gd name="T8" fmla="*/ 9 w 10"/>
                <a:gd name="T9" fmla="*/ 4 h 16"/>
                <a:gd name="T10" fmla="*/ 4 w 10"/>
                <a:gd name="T11" fmla="*/ 0 h 16"/>
                <a:gd name="T12" fmla="*/ 0 w 10"/>
                <a:gd name="T13" fmla="*/ 4 h 16"/>
                <a:gd name="T14" fmla="*/ 0 w 10"/>
                <a:gd name="T15" fmla="*/ 11 h 16"/>
                <a:gd name="T16" fmla="*/ 2 w 10"/>
                <a:gd name="T1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6">
                  <a:moveTo>
                    <a:pt x="2" y="15"/>
                  </a:moveTo>
                  <a:cubicBezTo>
                    <a:pt x="2" y="15"/>
                    <a:pt x="4" y="16"/>
                    <a:pt x="4" y="15"/>
                  </a:cubicBezTo>
                  <a:cubicBezTo>
                    <a:pt x="5" y="14"/>
                    <a:pt x="5" y="9"/>
                    <a:pt x="5" y="9"/>
                  </a:cubicBezTo>
                  <a:cubicBezTo>
                    <a:pt x="5" y="9"/>
                    <a:pt x="8" y="10"/>
                    <a:pt x="9" y="9"/>
                  </a:cubicBezTo>
                  <a:cubicBezTo>
                    <a:pt x="10" y="8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"/>
                    <a:pt x="1" y="14"/>
                    <a:pt x="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F53EE9A4-3684-41E7-A8E2-4FF754F57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413" y="3195638"/>
              <a:ext cx="3195637" cy="2193925"/>
            </a:xfrm>
            <a:custGeom>
              <a:avLst/>
              <a:gdLst>
                <a:gd name="T0" fmla="*/ 491 w 523"/>
                <a:gd name="T1" fmla="*/ 113 h 360"/>
                <a:gd name="T2" fmla="*/ 457 w 523"/>
                <a:gd name="T3" fmla="*/ 63 h 360"/>
                <a:gd name="T4" fmla="*/ 431 w 523"/>
                <a:gd name="T5" fmla="*/ 6 h 360"/>
                <a:gd name="T6" fmla="*/ 403 w 523"/>
                <a:gd name="T7" fmla="*/ 25 h 360"/>
                <a:gd name="T8" fmla="*/ 361 w 523"/>
                <a:gd name="T9" fmla="*/ 52 h 360"/>
                <a:gd name="T10" fmla="*/ 346 w 523"/>
                <a:gd name="T11" fmla="*/ 91 h 360"/>
                <a:gd name="T12" fmla="*/ 273 w 523"/>
                <a:gd name="T13" fmla="*/ 90 h 360"/>
                <a:gd name="T14" fmla="*/ 226 w 523"/>
                <a:gd name="T15" fmla="*/ 82 h 360"/>
                <a:gd name="T16" fmla="*/ 239 w 523"/>
                <a:gd name="T17" fmla="*/ 59 h 360"/>
                <a:gd name="T18" fmla="*/ 237 w 523"/>
                <a:gd name="T19" fmla="*/ 43 h 360"/>
                <a:gd name="T20" fmla="*/ 210 w 523"/>
                <a:gd name="T21" fmla="*/ 51 h 360"/>
                <a:gd name="T22" fmla="*/ 221 w 523"/>
                <a:gd name="T23" fmla="*/ 94 h 360"/>
                <a:gd name="T24" fmla="*/ 206 w 523"/>
                <a:gd name="T25" fmla="*/ 104 h 360"/>
                <a:gd name="T26" fmla="*/ 178 w 523"/>
                <a:gd name="T27" fmla="*/ 113 h 360"/>
                <a:gd name="T28" fmla="*/ 168 w 523"/>
                <a:gd name="T29" fmla="*/ 117 h 360"/>
                <a:gd name="T30" fmla="*/ 148 w 523"/>
                <a:gd name="T31" fmla="*/ 144 h 360"/>
                <a:gd name="T32" fmla="*/ 97 w 523"/>
                <a:gd name="T33" fmla="*/ 166 h 360"/>
                <a:gd name="T34" fmla="*/ 85 w 523"/>
                <a:gd name="T35" fmla="*/ 182 h 360"/>
                <a:gd name="T36" fmla="*/ 58 w 523"/>
                <a:gd name="T37" fmla="*/ 181 h 360"/>
                <a:gd name="T38" fmla="*/ 59 w 523"/>
                <a:gd name="T39" fmla="*/ 194 h 360"/>
                <a:gd name="T40" fmla="*/ 99 w 523"/>
                <a:gd name="T41" fmla="*/ 225 h 360"/>
                <a:gd name="T42" fmla="*/ 71 w 523"/>
                <a:gd name="T43" fmla="*/ 259 h 360"/>
                <a:gd name="T44" fmla="*/ 50 w 523"/>
                <a:gd name="T45" fmla="*/ 256 h 360"/>
                <a:gd name="T46" fmla="*/ 5 w 523"/>
                <a:gd name="T47" fmla="*/ 261 h 360"/>
                <a:gd name="T48" fmla="*/ 9 w 523"/>
                <a:gd name="T49" fmla="*/ 282 h 360"/>
                <a:gd name="T50" fmla="*/ 2 w 523"/>
                <a:gd name="T51" fmla="*/ 316 h 360"/>
                <a:gd name="T52" fmla="*/ 11 w 523"/>
                <a:gd name="T53" fmla="*/ 345 h 360"/>
                <a:gd name="T54" fmla="*/ 32 w 523"/>
                <a:gd name="T55" fmla="*/ 348 h 360"/>
                <a:gd name="T56" fmla="*/ 54 w 523"/>
                <a:gd name="T57" fmla="*/ 356 h 360"/>
                <a:gd name="T58" fmla="*/ 81 w 523"/>
                <a:gd name="T59" fmla="*/ 352 h 360"/>
                <a:gd name="T60" fmla="*/ 108 w 523"/>
                <a:gd name="T61" fmla="*/ 318 h 360"/>
                <a:gd name="T62" fmla="*/ 137 w 523"/>
                <a:gd name="T63" fmla="*/ 289 h 360"/>
                <a:gd name="T64" fmla="*/ 155 w 523"/>
                <a:gd name="T65" fmla="*/ 260 h 360"/>
                <a:gd name="T66" fmla="*/ 185 w 523"/>
                <a:gd name="T67" fmla="*/ 263 h 360"/>
                <a:gd name="T68" fmla="*/ 225 w 523"/>
                <a:gd name="T69" fmla="*/ 247 h 360"/>
                <a:gd name="T70" fmla="*/ 260 w 523"/>
                <a:gd name="T71" fmla="*/ 282 h 360"/>
                <a:gd name="T72" fmla="*/ 292 w 523"/>
                <a:gd name="T73" fmla="*/ 303 h 360"/>
                <a:gd name="T74" fmla="*/ 303 w 523"/>
                <a:gd name="T75" fmla="*/ 336 h 360"/>
                <a:gd name="T76" fmla="*/ 312 w 523"/>
                <a:gd name="T77" fmla="*/ 313 h 360"/>
                <a:gd name="T78" fmla="*/ 325 w 523"/>
                <a:gd name="T79" fmla="*/ 309 h 360"/>
                <a:gd name="T80" fmla="*/ 313 w 523"/>
                <a:gd name="T81" fmla="*/ 291 h 360"/>
                <a:gd name="T82" fmla="*/ 297 w 523"/>
                <a:gd name="T83" fmla="*/ 281 h 360"/>
                <a:gd name="T84" fmla="*/ 263 w 523"/>
                <a:gd name="T85" fmla="*/ 249 h 360"/>
                <a:gd name="T86" fmla="*/ 276 w 523"/>
                <a:gd name="T87" fmla="*/ 227 h 360"/>
                <a:gd name="T88" fmla="*/ 301 w 523"/>
                <a:gd name="T89" fmla="*/ 255 h 360"/>
                <a:gd name="T90" fmla="*/ 343 w 523"/>
                <a:gd name="T91" fmla="*/ 291 h 360"/>
                <a:gd name="T92" fmla="*/ 366 w 523"/>
                <a:gd name="T93" fmla="*/ 321 h 360"/>
                <a:gd name="T94" fmla="*/ 375 w 523"/>
                <a:gd name="T95" fmla="*/ 329 h 360"/>
                <a:gd name="T96" fmla="*/ 369 w 523"/>
                <a:gd name="T97" fmla="*/ 336 h 360"/>
                <a:gd name="T98" fmla="*/ 379 w 523"/>
                <a:gd name="T99" fmla="*/ 354 h 360"/>
                <a:gd name="T100" fmla="*/ 387 w 523"/>
                <a:gd name="T101" fmla="*/ 343 h 360"/>
                <a:gd name="T102" fmla="*/ 398 w 523"/>
                <a:gd name="T103" fmla="*/ 331 h 360"/>
                <a:gd name="T104" fmla="*/ 382 w 523"/>
                <a:gd name="T105" fmla="*/ 309 h 360"/>
                <a:gd name="T106" fmla="*/ 396 w 523"/>
                <a:gd name="T107" fmla="*/ 301 h 360"/>
                <a:gd name="T108" fmla="*/ 443 w 523"/>
                <a:gd name="T109" fmla="*/ 296 h 360"/>
                <a:gd name="T110" fmla="*/ 439 w 523"/>
                <a:gd name="T111" fmla="*/ 272 h 360"/>
                <a:gd name="T112" fmla="*/ 458 w 523"/>
                <a:gd name="T113" fmla="*/ 239 h 360"/>
                <a:gd name="T114" fmla="*/ 479 w 523"/>
                <a:gd name="T115" fmla="*/ 215 h 360"/>
                <a:gd name="T116" fmla="*/ 497 w 523"/>
                <a:gd name="T117" fmla="*/ 22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3" h="360">
                  <a:moveTo>
                    <a:pt x="518" y="134"/>
                  </a:moveTo>
                  <a:cubicBezTo>
                    <a:pt x="517" y="129"/>
                    <a:pt x="512" y="126"/>
                    <a:pt x="507" y="126"/>
                  </a:cubicBezTo>
                  <a:cubicBezTo>
                    <a:pt x="495" y="126"/>
                    <a:pt x="495" y="126"/>
                    <a:pt x="495" y="126"/>
                  </a:cubicBezTo>
                  <a:cubicBezTo>
                    <a:pt x="490" y="126"/>
                    <a:pt x="487" y="122"/>
                    <a:pt x="487" y="117"/>
                  </a:cubicBezTo>
                  <a:cubicBezTo>
                    <a:pt x="487" y="114"/>
                    <a:pt x="489" y="113"/>
                    <a:pt x="491" y="113"/>
                  </a:cubicBezTo>
                  <a:cubicBezTo>
                    <a:pt x="495" y="113"/>
                    <a:pt x="497" y="108"/>
                    <a:pt x="494" y="105"/>
                  </a:cubicBezTo>
                  <a:cubicBezTo>
                    <a:pt x="481" y="87"/>
                    <a:pt x="481" y="87"/>
                    <a:pt x="481" y="87"/>
                  </a:cubicBezTo>
                  <a:cubicBezTo>
                    <a:pt x="479" y="80"/>
                    <a:pt x="479" y="80"/>
                    <a:pt x="479" y="80"/>
                  </a:cubicBezTo>
                  <a:cubicBezTo>
                    <a:pt x="478" y="73"/>
                    <a:pt x="472" y="67"/>
                    <a:pt x="465" y="65"/>
                  </a:cubicBezTo>
                  <a:cubicBezTo>
                    <a:pt x="457" y="63"/>
                    <a:pt x="457" y="63"/>
                    <a:pt x="457" y="63"/>
                  </a:cubicBezTo>
                  <a:cubicBezTo>
                    <a:pt x="452" y="62"/>
                    <a:pt x="448" y="58"/>
                    <a:pt x="446" y="54"/>
                  </a:cubicBezTo>
                  <a:cubicBezTo>
                    <a:pt x="442" y="45"/>
                    <a:pt x="442" y="45"/>
                    <a:pt x="442" y="45"/>
                  </a:cubicBezTo>
                  <a:cubicBezTo>
                    <a:pt x="441" y="41"/>
                    <a:pt x="440" y="37"/>
                    <a:pt x="441" y="33"/>
                  </a:cubicBezTo>
                  <a:cubicBezTo>
                    <a:pt x="443" y="20"/>
                    <a:pt x="443" y="20"/>
                    <a:pt x="443" y="20"/>
                  </a:cubicBezTo>
                  <a:cubicBezTo>
                    <a:pt x="444" y="13"/>
                    <a:pt x="438" y="6"/>
                    <a:pt x="431" y="6"/>
                  </a:cubicBezTo>
                  <a:cubicBezTo>
                    <a:pt x="425" y="0"/>
                    <a:pt x="425" y="0"/>
                    <a:pt x="425" y="0"/>
                  </a:cubicBezTo>
                  <a:cubicBezTo>
                    <a:pt x="392" y="9"/>
                    <a:pt x="392" y="9"/>
                    <a:pt x="392" y="9"/>
                  </a:cubicBezTo>
                  <a:cubicBezTo>
                    <a:pt x="392" y="19"/>
                    <a:pt x="392" y="19"/>
                    <a:pt x="392" y="19"/>
                  </a:cubicBezTo>
                  <a:cubicBezTo>
                    <a:pt x="400" y="25"/>
                    <a:pt x="400" y="25"/>
                    <a:pt x="400" y="25"/>
                  </a:cubicBezTo>
                  <a:cubicBezTo>
                    <a:pt x="403" y="25"/>
                    <a:pt x="403" y="25"/>
                    <a:pt x="403" y="25"/>
                  </a:cubicBezTo>
                  <a:cubicBezTo>
                    <a:pt x="403" y="43"/>
                    <a:pt x="403" y="43"/>
                    <a:pt x="403" y="43"/>
                  </a:cubicBezTo>
                  <a:cubicBezTo>
                    <a:pt x="395" y="51"/>
                    <a:pt x="395" y="51"/>
                    <a:pt x="395" y="51"/>
                  </a:cubicBezTo>
                  <a:cubicBezTo>
                    <a:pt x="385" y="41"/>
                    <a:pt x="385" y="41"/>
                    <a:pt x="385" y="41"/>
                  </a:cubicBezTo>
                  <a:cubicBezTo>
                    <a:pt x="372" y="41"/>
                    <a:pt x="372" y="41"/>
                    <a:pt x="372" y="41"/>
                  </a:cubicBezTo>
                  <a:cubicBezTo>
                    <a:pt x="361" y="52"/>
                    <a:pt x="361" y="52"/>
                    <a:pt x="361" y="52"/>
                  </a:cubicBezTo>
                  <a:cubicBezTo>
                    <a:pt x="361" y="71"/>
                    <a:pt x="361" y="71"/>
                    <a:pt x="361" y="71"/>
                  </a:cubicBezTo>
                  <a:cubicBezTo>
                    <a:pt x="366" y="76"/>
                    <a:pt x="366" y="76"/>
                    <a:pt x="366" y="76"/>
                  </a:cubicBezTo>
                  <a:cubicBezTo>
                    <a:pt x="362" y="80"/>
                    <a:pt x="362" y="80"/>
                    <a:pt x="362" y="80"/>
                  </a:cubicBezTo>
                  <a:cubicBezTo>
                    <a:pt x="346" y="80"/>
                    <a:pt x="346" y="80"/>
                    <a:pt x="346" y="80"/>
                  </a:cubicBezTo>
                  <a:cubicBezTo>
                    <a:pt x="346" y="91"/>
                    <a:pt x="346" y="91"/>
                    <a:pt x="346" y="91"/>
                  </a:cubicBezTo>
                  <a:cubicBezTo>
                    <a:pt x="335" y="91"/>
                    <a:pt x="335" y="91"/>
                    <a:pt x="335" y="91"/>
                  </a:cubicBezTo>
                  <a:cubicBezTo>
                    <a:pt x="329" y="85"/>
                    <a:pt x="329" y="85"/>
                    <a:pt x="329" y="85"/>
                  </a:cubicBezTo>
                  <a:cubicBezTo>
                    <a:pt x="317" y="85"/>
                    <a:pt x="317" y="85"/>
                    <a:pt x="317" y="85"/>
                  </a:cubicBezTo>
                  <a:cubicBezTo>
                    <a:pt x="283" y="100"/>
                    <a:pt x="283" y="100"/>
                    <a:pt x="283" y="100"/>
                  </a:cubicBezTo>
                  <a:cubicBezTo>
                    <a:pt x="273" y="90"/>
                    <a:pt x="273" y="90"/>
                    <a:pt x="273" y="90"/>
                  </a:cubicBezTo>
                  <a:cubicBezTo>
                    <a:pt x="254" y="93"/>
                    <a:pt x="254" y="93"/>
                    <a:pt x="254" y="93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35" y="93"/>
                    <a:pt x="235" y="93"/>
                    <a:pt x="235" y="93"/>
                  </a:cubicBezTo>
                  <a:cubicBezTo>
                    <a:pt x="233" y="92"/>
                    <a:pt x="231" y="90"/>
                    <a:pt x="229" y="88"/>
                  </a:cubicBezTo>
                  <a:cubicBezTo>
                    <a:pt x="226" y="82"/>
                    <a:pt x="226" y="82"/>
                    <a:pt x="226" y="82"/>
                  </a:cubicBezTo>
                  <a:cubicBezTo>
                    <a:pt x="224" y="79"/>
                    <a:pt x="224" y="76"/>
                    <a:pt x="225" y="72"/>
                  </a:cubicBezTo>
                  <a:cubicBezTo>
                    <a:pt x="227" y="68"/>
                    <a:pt x="227" y="68"/>
                    <a:pt x="227" y="68"/>
                  </a:cubicBezTo>
                  <a:cubicBezTo>
                    <a:pt x="227" y="67"/>
                    <a:pt x="228" y="66"/>
                    <a:pt x="229" y="65"/>
                  </a:cubicBezTo>
                  <a:cubicBezTo>
                    <a:pt x="236" y="63"/>
                    <a:pt x="236" y="63"/>
                    <a:pt x="236" y="63"/>
                  </a:cubicBezTo>
                  <a:cubicBezTo>
                    <a:pt x="238" y="63"/>
                    <a:pt x="239" y="61"/>
                    <a:pt x="239" y="59"/>
                  </a:cubicBezTo>
                  <a:cubicBezTo>
                    <a:pt x="239" y="58"/>
                    <a:pt x="239" y="58"/>
                    <a:pt x="239" y="58"/>
                  </a:cubicBezTo>
                  <a:cubicBezTo>
                    <a:pt x="239" y="57"/>
                    <a:pt x="238" y="56"/>
                    <a:pt x="237" y="55"/>
                  </a:cubicBezTo>
                  <a:cubicBezTo>
                    <a:pt x="237" y="54"/>
                    <a:pt x="237" y="54"/>
                    <a:pt x="237" y="54"/>
                  </a:cubicBezTo>
                  <a:cubicBezTo>
                    <a:pt x="235" y="53"/>
                    <a:pt x="235" y="51"/>
                    <a:pt x="235" y="50"/>
                  </a:cubicBezTo>
                  <a:cubicBezTo>
                    <a:pt x="237" y="43"/>
                    <a:pt x="237" y="43"/>
                    <a:pt x="237" y="43"/>
                  </a:cubicBezTo>
                  <a:cubicBezTo>
                    <a:pt x="234" y="41"/>
                    <a:pt x="229" y="41"/>
                    <a:pt x="226" y="44"/>
                  </a:cubicBezTo>
                  <a:cubicBezTo>
                    <a:pt x="223" y="48"/>
                    <a:pt x="223" y="48"/>
                    <a:pt x="223" y="48"/>
                  </a:cubicBezTo>
                  <a:cubicBezTo>
                    <a:pt x="221" y="50"/>
                    <a:pt x="218" y="50"/>
                    <a:pt x="217" y="48"/>
                  </a:cubicBezTo>
                  <a:cubicBezTo>
                    <a:pt x="216" y="47"/>
                    <a:pt x="215" y="47"/>
                    <a:pt x="214" y="48"/>
                  </a:cubicBezTo>
                  <a:cubicBezTo>
                    <a:pt x="210" y="51"/>
                    <a:pt x="210" y="51"/>
                    <a:pt x="210" y="51"/>
                  </a:cubicBezTo>
                  <a:cubicBezTo>
                    <a:pt x="210" y="52"/>
                    <a:pt x="209" y="53"/>
                    <a:pt x="209" y="54"/>
                  </a:cubicBezTo>
                  <a:cubicBezTo>
                    <a:pt x="210" y="67"/>
                    <a:pt x="210" y="67"/>
                    <a:pt x="210" y="67"/>
                  </a:cubicBezTo>
                  <a:cubicBezTo>
                    <a:pt x="210" y="68"/>
                    <a:pt x="210" y="68"/>
                    <a:pt x="210" y="69"/>
                  </a:cubicBezTo>
                  <a:cubicBezTo>
                    <a:pt x="219" y="90"/>
                    <a:pt x="219" y="90"/>
                    <a:pt x="219" y="90"/>
                  </a:cubicBezTo>
                  <a:cubicBezTo>
                    <a:pt x="221" y="94"/>
                    <a:pt x="221" y="94"/>
                    <a:pt x="221" y="94"/>
                  </a:cubicBezTo>
                  <a:cubicBezTo>
                    <a:pt x="222" y="96"/>
                    <a:pt x="221" y="98"/>
                    <a:pt x="220" y="99"/>
                  </a:cubicBezTo>
                  <a:cubicBezTo>
                    <a:pt x="215" y="103"/>
                    <a:pt x="215" y="103"/>
                    <a:pt x="215" y="103"/>
                  </a:cubicBezTo>
                  <a:cubicBezTo>
                    <a:pt x="215" y="103"/>
                    <a:pt x="214" y="104"/>
                    <a:pt x="214" y="104"/>
                  </a:cubicBezTo>
                  <a:cubicBezTo>
                    <a:pt x="213" y="108"/>
                    <a:pt x="213" y="108"/>
                    <a:pt x="213" y="108"/>
                  </a:cubicBezTo>
                  <a:cubicBezTo>
                    <a:pt x="206" y="104"/>
                    <a:pt x="206" y="104"/>
                    <a:pt x="206" y="104"/>
                  </a:cubicBezTo>
                  <a:cubicBezTo>
                    <a:pt x="205" y="104"/>
                    <a:pt x="205" y="103"/>
                    <a:pt x="204" y="103"/>
                  </a:cubicBezTo>
                  <a:cubicBezTo>
                    <a:pt x="187" y="105"/>
                    <a:pt x="187" y="105"/>
                    <a:pt x="187" y="105"/>
                  </a:cubicBezTo>
                  <a:cubicBezTo>
                    <a:pt x="186" y="105"/>
                    <a:pt x="185" y="105"/>
                    <a:pt x="185" y="105"/>
                  </a:cubicBezTo>
                  <a:cubicBezTo>
                    <a:pt x="180" y="109"/>
                    <a:pt x="180" y="109"/>
                    <a:pt x="180" y="109"/>
                  </a:cubicBezTo>
                  <a:cubicBezTo>
                    <a:pt x="178" y="110"/>
                    <a:pt x="178" y="112"/>
                    <a:pt x="178" y="113"/>
                  </a:cubicBezTo>
                  <a:cubicBezTo>
                    <a:pt x="180" y="117"/>
                    <a:pt x="180" y="117"/>
                    <a:pt x="180" y="117"/>
                  </a:cubicBezTo>
                  <a:cubicBezTo>
                    <a:pt x="180" y="119"/>
                    <a:pt x="180" y="120"/>
                    <a:pt x="179" y="121"/>
                  </a:cubicBezTo>
                  <a:cubicBezTo>
                    <a:pt x="177" y="123"/>
                    <a:pt x="174" y="122"/>
                    <a:pt x="174" y="119"/>
                  </a:cubicBezTo>
                  <a:cubicBezTo>
                    <a:pt x="173" y="119"/>
                    <a:pt x="173" y="119"/>
                    <a:pt x="173" y="119"/>
                  </a:cubicBezTo>
                  <a:cubicBezTo>
                    <a:pt x="173" y="117"/>
                    <a:pt x="170" y="116"/>
                    <a:pt x="168" y="117"/>
                  </a:cubicBezTo>
                  <a:cubicBezTo>
                    <a:pt x="166" y="119"/>
                    <a:pt x="166" y="119"/>
                    <a:pt x="166" y="119"/>
                  </a:cubicBezTo>
                  <a:cubicBezTo>
                    <a:pt x="165" y="119"/>
                    <a:pt x="165" y="120"/>
                    <a:pt x="165" y="121"/>
                  </a:cubicBezTo>
                  <a:cubicBezTo>
                    <a:pt x="162" y="131"/>
                    <a:pt x="162" y="131"/>
                    <a:pt x="162" y="131"/>
                  </a:cubicBezTo>
                  <a:cubicBezTo>
                    <a:pt x="162" y="131"/>
                    <a:pt x="162" y="132"/>
                    <a:pt x="161" y="133"/>
                  </a:cubicBezTo>
                  <a:cubicBezTo>
                    <a:pt x="148" y="144"/>
                    <a:pt x="148" y="144"/>
                    <a:pt x="148" y="144"/>
                  </a:cubicBezTo>
                  <a:cubicBezTo>
                    <a:pt x="136" y="149"/>
                    <a:pt x="136" y="149"/>
                    <a:pt x="136" y="149"/>
                  </a:cubicBezTo>
                  <a:cubicBezTo>
                    <a:pt x="134" y="158"/>
                    <a:pt x="134" y="158"/>
                    <a:pt x="134" y="158"/>
                  </a:cubicBezTo>
                  <a:cubicBezTo>
                    <a:pt x="113" y="170"/>
                    <a:pt x="113" y="170"/>
                    <a:pt x="113" y="170"/>
                  </a:cubicBezTo>
                  <a:cubicBezTo>
                    <a:pt x="112" y="171"/>
                    <a:pt x="111" y="171"/>
                    <a:pt x="109" y="170"/>
                  </a:cubicBezTo>
                  <a:cubicBezTo>
                    <a:pt x="97" y="166"/>
                    <a:pt x="97" y="166"/>
                    <a:pt x="97" y="166"/>
                  </a:cubicBezTo>
                  <a:cubicBezTo>
                    <a:pt x="91" y="167"/>
                    <a:pt x="91" y="167"/>
                    <a:pt x="91" y="167"/>
                  </a:cubicBezTo>
                  <a:cubicBezTo>
                    <a:pt x="95" y="173"/>
                    <a:pt x="95" y="173"/>
                    <a:pt x="95" y="173"/>
                  </a:cubicBezTo>
                  <a:cubicBezTo>
                    <a:pt x="96" y="176"/>
                    <a:pt x="94" y="179"/>
                    <a:pt x="92" y="179"/>
                  </a:cubicBezTo>
                  <a:cubicBezTo>
                    <a:pt x="88" y="180"/>
                    <a:pt x="88" y="180"/>
                    <a:pt x="88" y="180"/>
                  </a:cubicBezTo>
                  <a:cubicBezTo>
                    <a:pt x="87" y="181"/>
                    <a:pt x="86" y="181"/>
                    <a:pt x="85" y="182"/>
                  </a:cubicBezTo>
                  <a:cubicBezTo>
                    <a:pt x="85" y="182"/>
                    <a:pt x="85" y="182"/>
                    <a:pt x="85" y="182"/>
                  </a:cubicBezTo>
                  <a:cubicBezTo>
                    <a:pt x="84" y="184"/>
                    <a:pt x="81" y="185"/>
                    <a:pt x="79" y="183"/>
                  </a:cubicBezTo>
                  <a:cubicBezTo>
                    <a:pt x="79" y="182"/>
                    <a:pt x="79" y="182"/>
                    <a:pt x="79" y="182"/>
                  </a:cubicBezTo>
                  <a:cubicBezTo>
                    <a:pt x="78" y="181"/>
                    <a:pt x="77" y="181"/>
                    <a:pt x="75" y="181"/>
                  </a:cubicBezTo>
                  <a:cubicBezTo>
                    <a:pt x="58" y="181"/>
                    <a:pt x="58" y="181"/>
                    <a:pt x="58" y="181"/>
                  </a:cubicBezTo>
                  <a:cubicBezTo>
                    <a:pt x="57" y="181"/>
                    <a:pt x="56" y="181"/>
                    <a:pt x="55" y="182"/>
                  </a:cubicBezTo>
                  <a:cubicBezTo>
                    <a:pt x="53" y="184"/>
                    <a:pt x="53" y="184"/>
                    <a:pt x="53" y="184"/>
                  </a:cubicBezTo>
                  <a:cubicBezTo>
                    <a:pt x="52" y="186"/>
                    <a:pt x="52" y="188"/>
                    <a:pt x="53" y="189"/>
                  </a:cubicBezTo>
                  <a:cubicBezTo>
                    <a:pt x="55" y="193"/>
                    <a:pt x="55" y="193"/>
                    <a:pt x="55" y="193"/>
                  </a:cubicBezTo>
                  <a:cubicBezTo>
                    <a:pt x="56" y="194"/>
                    <a:pt x="57" y="194"/>
                    <a:pt x="59" y="194"/>
                  </a:cubicBezTo>
                  <a:cubicBezTo>
                    <a:pt x="74" y="194"/>
                    <a:pt x="74" y="194"/>
                    <a:pt x="74" y="194"/>
                  </a:cubicBezTo>
                  <a:cubicBezTo>
                    <a:pt x="75" y="194"/>
                    <a:pt x="77" y="195"/>
                    <a:pt x="77" y="196"/>
                  </a:cubicBezTo>
                  <a:cubicBezTo>
                    <a:pt x="93" y="216"/>
                    <a:pt x="93" y="216"/>
                    <a:pt x="93" y="216"/>
                  </a:cubicBezTo>
                  <a:cubicBezTo>
                    <a:pt x="93" y="216"/>
                    <a:pt x="93" y="216"/>
                    <a:pt x="93" y="216"/>
                  </a:cubicBezTo>
                  <a:cubicBezTo>
                    <a:pt x="99" y="225"/>
                    <a:pt x="99" y="225"/>
                    <a:pt x="99" y="225"/>
                  </a:cubicBezTo>
                  <a:cubicBezTo>
                    <a:pt x="101" y="227"/>
                    <a:pt x="100" y="230"/>
                    <a:pt x="97" y="231"/>
                  </a:cubicBezTo>
                  <a:cubicBezTo>
                    <a:pt x="96" y="231"/>
                    <a:pt x="95" y="233"/>
                    <a:pt x="95" y="235"/>
                  </a:cubicBezTo>
                  <a:cubicBezTo>
                    <a:pt x="94" y="255"/>
                    <a:pt x="94" y="255"/>
                    <a:pt x="94" y="255"/>
                  </a:cubicBezTo>
                  <a:cubicBezTo>
                    <a:pt x="94" y="258"/>
                    <a:pt x="91" y="260"/>
                    <a:pt x="88" y="260"/>
                  </a:cubicBezTo>
                  <a:cubicBezTo>
                    <a:pt x="71" y="259"/>
                    <a:pt x="71" y="259"/>
                    <a:pt x="71" y="259"/>
                  </a:cubicBezTo>
                  <a:cubicBezTo>
                    <a:pt x="71" y="259"/>
                    <a:pt x="71" y="259"/>
                    <a:pt x="71" y="259"/>
                  </a:cubicBezTo>
                  <a:cubicBezTo>
                    <a:pt x="59" y="259"/>
                    <a:pt x="59" y="259"/>
                    <a:pt x="59" y="259"/>
                  </a:cubicBezTo>
                  <a:cubicBezTo>
                    <a:pt x="59" y="259"/>
                    <a:pt x="58" y="259"/>
                    <a:pt x="57" y="258"/>
                  </a:cubicBezTo>
                  <a:cubicBezTo>
                    <a:pt x="52" y="256"/>
                    <a:pt x="52" y="256"/>
                    <a:pt x="52" y="256"/>
                  </a:cubicBezTo>
                  <a:cubicBezTo>
                    <a:pt x="52" y="256"/>
                    <a:pt x="51" y="256"/>
                    <a:pt x="50" y="256"/>
                  </a:cubicBezTo>
                  <a:cubicBezTo>
                    <a:pt x="26" y="254"/>
                    <a:pt x="26" y="254"/>
                    <a:pt x="26" y="254"/>
                  </a:cubicBezTo>
                  <a:cubicBezTo>
                    <a:pt x="26" y="254"/>
                    <a:pt x="25" y="254"/>
                    <a:pt x="25" y="254"/>
                  </a:cubicBezTo>
                  <a:cubicBezTo>
                    <a:pt x="15" y="254"/>
                    <a:pt x="15" y="254"/>
                    <a:pt x="15" y="254"/>
                  </a:cubicBezTo>
                  <a:cubicBezTo>
                    <a:pt x="14" y="254"/>
                    <a:pt x="13" y="254"/>
                    <a:pt x="12" y="255"/>
                  </a:cubicBezTo>
                  <a:cubicBezTo>
                    <a:pt x="5" y="261"/>
                    <a:pt x="5" y="261"/>
                    <a:pt x="5" y="261"/>
                  </a:cubicBezTo>
                  <a:cubicBezTo>
                    <a:pt x="4" y="262"/>
                    <a:pt x="3" y="264"/>
                    <a:pt x="3" y="266"/>
                  </a:cubicBezTo>
                  <a:cubicBezTo>
                    <a:pt x="5" y="274"/>
                    <a:pt x="5" y="274"/>
                    <a:pt x="5" y="274"/>
                  </a:cubicBezTo>
                  <a:cubicBezTo>
                    <a:pt x="5" y="274"/>
                    <a:pt x="6" y="275"/>
                    <a:pt x="6" y="276"/>
                  </a:cubicBezTo>
                  <a:cubicBezTo>
                    <a:pt x="8" y="279"/>
                    <a:pt x="8" y="279"/>
                    <a:pt x="8" y="279"/>
                  </a:cubicBezTo>
                  <a:cubicBezTo>
                    <a:pt x="9" y="280"/>
                    <a:pt x="9" y="281"/>
                    <a:pt x="9" y="282"/>
                  </a:cubicBezTo>
                  <a:cubicBezTo>
                    <a:pt x="9" y="302"/>
                    <a:pt x="9" y="302"/>
                    <a:pt x="9" y="302"/>
                  </a:cubicBezTo>
                  <a:cubicBezTo>
                    <a:pt x="9" y="303"/>
                    <a:pt x="9" y="303"/>
                    <a:pt x="8" y="304"/>
                  </a:cubicBezTo>
                  <a:cubicBezTo>
                    <a:pt x="4" y="312"/>
                    <a:pt x="4" y="312"/>
                    <a:pt x="4" y="312"/>
                  </a:cubicBezTo>
                  <a:cubicBezTo>
                    <a:pt x="4" y="312"/>
                    <a:pt x="4" y="312"/>
                    <a:pt x="4" y="312"/>
                  </a:cubicBezTo>
                  <a:cubicBezTo>
                    <a:pt x="2" y="316"/>
                    <a:pt x="2" y="316"/>
                    <a:pt x="2" y="316"/>
                  </a:cubicBezTo>
                  <a:cubicBezTo>
                    <a:pt x="0" y="318"/>
                    <a:pt x="1" y="321"/>
                    <a:pt x="2" y="323"/>
                  </a:cubicBezTo>
                  <a:cubicBezTo>
                    <a:pt x="5" y="326"/>
                    <a:pt x="5" y="326"/>
                    <a:pt x="5" y="326"/>
                  </a:cubicBezTo>
                  <a:cubicBezTo>
                    <a:pt x="5" y="327"/>
                    <a:pt x="6" y="328"/>
                    <a:pt x="6" y="329"/>
                  </a:cubicBezTo>
                  <a:cubicBezTo>
                    <a:pt x="6" y="340"/>
                    <a:pt x="6" y="340"/>
                    <a:pt x="6" y="340"/>
                  </a:cubicBezTo>
                  <a:cubicBezTo>
                    <a:pt x="6" y="342"/>
                    <a:pt x="8" y="344"/>
                    <a:pt x="11" y="345"/>
                  </a:cubicBezTo>
                  <a:cubicBezTo>
                    <a:pt x="14" y="345"/>
                    <a:pt x="14" y="345"/>
                    <a:pt x="14" y="345"/>
                  </a:cubicBezTo>
                  <a:cubicBezTo>
                    <a:pt x="14" y="345"/>
                    <a:pt x="15" y="345"/>
                    <a:pt x="15" y="345"/>
                  </a:cubicBezTo>
                  <a:cubicBezTo>
                    <a:pt x="26" y="345"/>
                    <a:pt x="26" y="345"/>
                    <a:pt x="26" y="345"/>
                  </a:cubicBezTo>
                  <a:cubicBezTo>
                    <a:pt x="28" y="345"/>
                    <a:pt x="29" y="346"/>
                    <a:pt x="30" y="346"/>
                  </a:cubicBezTo>
                  <a:cubicBezTo>
                    <a:pt x="32" y="348"/>
                    <a:pt x="32" y="348"/>
                    <a:pt x="32" y="348"/>
                  </a:cubicBezTo>
                  <a:cubicBezTo>
                    <a:pt x="33" y="349"/>
                    <a:pt x="34" y="350"/>
                    <a:pt x="34" y="352"/>
                  </a:cubicBezTo>
                  <a:cubicBezTo>
                    <a:pt x="34" y="354"/>
                    <a:pt x="35" y="355"/>
                    <a:pt x="36" y="356"/>
                  </a:cubicBezTo>
                  <a:cubicBezTo>
                    <a:pt x="40" y="359"/>
                    <a:pt x="40" y="359"/>
                    <a:pt x="40" y="359"/>
                  </a:cubicBezTo>
                  <a:cubicBezTo>
                    <a:pt x="41" y="360"/>
                    <a:pt x="43" y="360"/>
                    <a:pt x="44" y="359"/>
                  </a:cubicBezTo>
                  <a:cubicBezTo>
                    <a:pt x="54" y="356"/>
                    <a:pt x="54" y="356"/>
                    <a:pt x="54" y="356"/>
                  </a:cubicBezTo>
                  <a:cubicBezTo>
                    <a:pt x="54" y="356"/>
                    <a:pt x="54" y="356"/>
                    <a:pt x="54" y="356"/>
                  </a:cubicBezTo>
                  <a:cubicBezTo>
                    <a:pt x="68" y="353"/>
                    <a:pt x="68" y="353"/>
                    <a:pt x="68" y="353"/>
                  </a:cubicBezTo>
                  <a:cubicBezTo>
                    <a:pt x="69" y="353"/>
                    <a:pt x="69" y="353"/>
                    <a:pt x="70" y="353"/>
                  </a:cubicBezTo>
                  <a:cubicBezTo>
                    <a:pt x="78" y="353"/>
                    <a:pt x="78" y="353"/>
                    <a:pt x="78" y="353"/>
                  </a:cubicBezTo>
                  <a:cubicBezTo>
                    <a:pt x="79" y="353"/>
                    <a:pt x="80" y="353"/>
                    <a:pt x="81" y="352"/>
                  </a:cubicBezTo>
                  <a:cubicBezTo>
                    <a:pt x="92" y="344"/>
                    <a:pt x="92" y="344"/>
                    <a:pt x="92" y="344"/>
                  </a:cubicBezTo>
                  <a:cubicBezTo>
                    <a:pt x="92" y="344"/>
                    <a:pt x="92" y="344"/>
                    <a:pt x="92" y="344"/>
                  </a:cubicBezTo>
                  <a:cubicBezTo>
                    <a:pt x="102" y="335"/>
                    <a:pt x="102" y="335"/>
                    <a:pt x="102" y="335"/>
                  </a:cubicBezTo>
                  <a:cubicBezTo>
                    <a:pt x="112" y="326"/>
                    <a:pt x="112" y="326"/>
                    <a:pt x="112" y="326"/>
                  </a:cubicBezTo>
                  <a:cubicBezTo>
                    <a:pt x="108" y="318"/>
                    <a:pt x="108" y="318"/>
                    <a:pt x="108" y="318"/>
                  </a:cubicBezTo>
                  <a:cubicBezTo>
                    <a:pt x="112" y="306"/>
                    <a:pt x="112" y="306"/>
                    <a:pt x="112" y="306"/>
                  </a:cubicBezTo>
                  <a:cubicBezTo>
                    <a:pt x="125" y="293"/>
                    <a:pt x="125" y="293"/>
                    <a:pt x="125" y="293"/>
                  </a:cubicBezTo>
                  <a:cubicBezTo>
                    <a:pt x="126" y="292"/>
                    <a:pt x="127" y="291"/>
                    <a:pt x="129" y="291"/>
                  </a:cubicBezTo>
                  <a:cubicBezTo>
                    <a:pt x="135" y="290"/>
                    <a:pt x="135" y="290"/>
                    <a:pt x="135" y="290"/>
                  </a:cubicBezTo>
                  <a:cubicBezTo>
                    <a:pt x="136" y="290"/>
                    <a:pt x="137" y="290"/>
                    <a:pt x="137" y="289"/>
                  </a:cubicBezTo>
                  <a:cubicBezTo>
                    <a:pt x="147" y="284"/>
                    <a:pt x="147" y="284"/>
                    <a:pt x="147" y="284"/>
                  </a:cubicBezTo>
                  <a:cubicBezTo>
                    <a:pt x="149" y="283"/>
                    <a:pt x="150" y="281"/>
                    <a:pt x="150" y="279"/>
                  </a:cubicBezTo>
                  <a:cubicBezTo>
                    <a:pt x="152" y="273"/>
                    <a:pt x="152" y="273"/>
                    <a:pt x="152" y="273"/>
                  </a:cubicBezTo>
                  <a:cubicBezTo>
                    <a:pt x="152" y="271"/>
                    <a:pt x="152" y="270"/>
                    <a:pt x="152" y="268"/>
                  </a:cubicBezTo>
                  <a:cubicBezTo>
                    <a:pt x="151" y="265"/>
                    <a:pt x="152" y="261"/>
                    <a:pt x="155" y="260"/>
                  </a:cubicBezTo>
                  <a:cubicBezTo>
                    <a:pt x="156" y="259"/>
                    <a:pt x="156" y="259"/>
                    <a:pt x="156" y="259"/>
                  </a:cubicBezTo>
                  <a:cubicBezTo>
                    <a:pt x="158" y="258"/>
                    <a:pt x="160" y="258"/>
                    <a:pt x="162" y="258"/>
                  </a:cubicBezTo>
                  <a:cubicBezTo>
                    <a:pt x="180" y="262"/>
                    <a:pt x="180" y="262"/>
                    <a:pt x="180" y="262"/>
                  </a:cubicBezTo>
                  <a:cubicBezTo>
                    <a:pt x="180" y="262"/>
                    <a:pt x="180" y="262"/>
                    <a:pt x="181" y="262"/>
                  </a:cubicBezTo>
                  <a:cubicBezTo>
                    <a:pt x="185" y="263"/>
                    <a:pt x="185" y="263"/>
                    <a:pt x="185" y="263"/>
                  </a:cubicBezTo>
                  <a:cubicBezTo>
                    <a:pt x="187" y="263"/>
                    <a:pt x="189" y="262"/>
                    <a:pt x="191" y="261"/>
                  </a:cubicBezTo>
                  <a:cubicBezTo>
                    <a:pt x="198" y="255"/>
                    <a:pt x="198" y="255"/>
                    <a:pt x="198" y="255"/>
                  </a:cubicBezTo>
                  <a:cubicBezTo>
                    <a:pt x="210" y="251"/>
                    <a:pt x="210" y="251"/>
                    <a:pt x="210" y="251"/>
                  </a:cubicBezTo>
                  <a:cubicBezTo>
                    <a:pt x="212" y="247"/>
                    <a:pt x="217" y="245"/>
                    <a:pt x="222" y="246"/>
                  </a:cubicBezTo>
                  <a:cubicBezTo>
                    <a:pt x="225" y="247"/>
                    <a:pt x="225" y="247"/>
                    <a:pt x="225" y="247"/>
                  </a:cubicBezTo>
                  <a:cubicBezTo>
                    <a:pt x="230" y="249"/>
                    <a:pt x="234" y="253"/>
                    <a:pt x="236" y="258"/>
                  </a:cubicBezTo>
                  <a:cubicBezTo>
                    <a:pt x="237" y="261"/>
                    <a:pt x="237" y="261"/>
                    <a:pt x="237" y="261"/>
                  </a:cubicBezTo>
                  <a:cubicBezTo>
                    <a:pt x="238" y="265"/>
                    <a:pt x="241" y="269"/>
                    <a:pt x="245" y="271"/>
                  </a:cubicBezTo>
                  <a:cubicBezTo>
                    <a:pt x="258" y="279"/>
                    <a:pt x="258" y="279"/>
                    <a:pt x="258" y="279"/>
                  </a:cubicBezTo>
                  <a:cubicBezTo>
                    <a:pt x="260" y="282"/>
                    <a:pt x="260" y="282"/>
                    <a:pt x="260" y="282"/>
                  </a:cubicBezTo>
                  <a:cubicBezTo>
                    <a:pt x="262" y="286"/>
                    <a:pt x="267" y="289"/>
                    <a:pt x="272" y="289"/>
                  </a:cubicBezTo>
                  <a:cubicBezTo>
                    <a:pt x="275" y="290"/>
                    <a:pt x="277" y="290"/>
                    <a:pt x="277" y="290"/>
                  </a:cubicBezTo>
                  <a:cubicBezTo>
                    <a:pt x="277" y="290"/>
                    <a:pt x="281" y="295"/>
                    <a:pt x="283" y="298"/>
                  </a:cubicBezTo>
                  <a:cubicBezTo>
                    <a:pt x="285" y="300"/>
                    <a:pt x="287" y="301"/>
                    <a:pt x="289" y="302"/>
                  </a:cubicBezTo>
                  <a:cubicBezTo>
                    <a:pt x="292" y="303"/>
                    <a:pt x="292" y="303"/>
                    <a:pt x="292" y="303"/>
                  </a:cubicBezTo>
                  <a:cubicBezTo>
                    <a:pt x="297" y="305"/>
                    <a:pt x="301" y="309"/>
                    <a:pt x="303" y="313"/>
                  </a:cubicBezTo>
                  <a:cubicBezTo>
                    <a:pt x="304" y="314"/>
                    <a:pt x="304" y="314"/>
                    <a:pt x="304" y="314"/>
                  </a:cubicBezTo>
                  <a:cubicBezTo>
                    <a:pt x="304" y="315"/>
                    <a:pt x="304" y="316"/>
                    <a:pt x="304" y="317"/>
                  </a:cubicBezTo>
                  <a:cubicBezTo>
                    <a:pt x="304" y="317"/>
                    <a:pt x="300" y="330"/>
                    <a:pt x="301" y="334"/>
                  </a:cubicBezTo>
                  <a:cubicBezTo>
                    <a:pt x="301" y="335"/>
                    <a:pt x="303" y="336"/>
                    <a:pt x="303" y="336"/>
                  </a:cubicBezTo>
                  <a:cubicBezTo>
                    <a:pt x="306" y="336"/>
                    <a:pt x="311" y="327"/>
                    <a:pt x="311" y="327"/>
                  </a:cubicBezTo>
                  <a:cubicBezTo>
                    <a:pt x="312" y="327"/>
                    <a:pt x="312" y="327"/>
                    <a:pt x="312" y="326"/>
                  </a:cubicBezTo>
                  <a:cubicBezTo>
                    <a:pt x="315" y="324"/>
                    <a:pt x="315" y="324"/>
                    <a:pt x="315" y="324"/>
                  </a:cubicBezTo>
                  <a:cubicBezTo>
                    <a:pt x="317" y="323"/>
                    <a:pt x="318" y="320"/>
                    <a:pt x="316" y="318"/>
                  </a:cubicBezTo>
                  <a:cubicBezTo>
                    <a:pt x="312" y="313"/>
                    <a:pt x="312" y="313"/>
                    <a:pt x="312" y="313"/>
                  </a:cubicBezTo>
                  <a:cubicBezTo>
                    <a:pt x="312" y="311"/>
                    <a:pt x="311" y="310"/>
                    <a:pt x="312" y="308"/>
                  </a:cubicBezTo>
                  <a:cubicBezTo>
                    <a:pt x="312" y="306"/>
                    <a:pt x="312" y="306"/>
                    <a:pt x="312" y="306"/>
                  </a:cubicBezTo>
                  <a:cubicBezTo>
                    <a:pt x="313" y="305"/>
                    <a:pt x="314" y="303"/>
                    <a:pt x="316" y="303"/>
                  </a:cubicBezTo>
                  <a:cubicBezTo>
                    <a:pt x="317" y="302"/>
                    <a:pt x="319" y="303"/>
                    <a:pt x="320" y="304"/>
                  </a:cubicBezTo>
                  <a:cubicBezTo>
                    <a:pt x="325" y="309"/>
                    <a:pt x="325" y="309"/>
                    <a:pt x="325" y="309"/>
                  </a:cubicBezTo>
                  <a:cubicBezTo>
                    <a:pt x="327" y="310"/>
                    <a:pt x="328" y="310"/>
                    <a:pt x="330" y="310"/>
                  </a:cubicBezTo>
                  <a:cubicBezTo>
                    <a:pt x="333" y="309"/>
                    <a:pt x="333" y="309"/>
                    <a:pt x="333" y="309"/>
                  </a:cubicBezTo>
                  <a:cubicBezTo>
                    <a:pt x="330" y="302"/>
                    <a:pt x="330" y="302"/>
                    <a:pt x="330" y="302"/>
                  </a:cubicBezTo>
                  <a:cubicBezTo>
                    <a:pt x="330" y="301"/>
                    <a:pt x="329" y="300"/>
                    <a:pt x="328" y="300"/>
                  </a:cubicBezTo>
                  <a:cubicBezTo>
                    <a:pt x="313" y="291"/>
                    <a:pt x="313" y="291"/>
                    <a:pt x="313" y="291"/>
                  </a:cubicBezTo>
                  <a:cubicBezTo>
                    <a:pt x="312" y="291"/>
                    <a:pt x="312" y="291"/>
                    <a:pt x="312" y="291"/>
                  </a:cubicBezTo>
                  <a:cubicBezTo>
                    <a:pt x="310" y="291"/>
                    <a:pt x="307" y="290"/>
                    <a:pt x="305" y="288"/>
                  </a:cubicBezTo>
                  <a:cubicBezTo>
                    <a:pt x="304" y="287"/>
                    <a:pt x="304" y="287"/>
                    <a:pt x="304" y="287"/>
                  </a:cubicBezTo>
                  <a:cubicBezTo>
                    <a:pt x="307" y="284"/>
                    <a:pt x="307" y="284"/>
                    <a:pt x="307" y="284"/>
                  </a:cubicBezTo>
                  <a:cubicBezTo>
                    <a:pt x="304" y="282"/>
                    <a:pt x="301" y="281"/>
                    <a:pt x="297" y="281"/>
                  </a:cubicBezTo>
                  <a:cubicBezTo>
                    <a:pt x="297" y="281"/>
                    <a:pt x="297" y="281"/>
                    <a:pt x="297" y="281"/>
                  </a:cubicBezTo>
                  <a:cubicBezTo>
                    <a:pt x="293" y="281"/>
                    <a:pt x="289" y="279"/>
                    <a:pt x="286" y="277"/>
                  </a:cubicBezTo>
                  <a:cubicBezTo>
                    <a:pt x="281" y="272"/>
                    <a:pt x="281" y="272"/>
                    <a:pt x="281" y="272"/>
                  </a:cubicBezTo>
                  <a:cubicBezTo>
                    <a:pt x="277" y="259"/>
                    <a:pt x="277" y="259"/>
                    <a:pt x="277" y="259"/>
                  </a:cubicBezTo>
                  <a:cubicBezTo>
                    <a:pt x="263" y="249"/>
                    <a:pt x="263" y="249"/>
                    <a:pt x="263" y="249"/>
                  </a:cubicBezTo>
                  <a:cubicBezTo>
                    <a:pt x="261" y="248"/>
                    <a:pt x="259" y="246"/>
                    <a:pt x="259" y="243"/>
                  </a:cubicBezTo>
                  <a:cubicBezTo>
                    <a:pt x="257" y="237"/>
                    <a:pt x="257" y="237"/>
                    <a:pt x="257" y="237"/>
                  </a:cubicBezTo>
                  <a:cubicBezTo>
                    <a:pt x="256" y="232"/>
                    <a:pt x="259" y="226"/>
                    <a:pt x="264" y="225"/>
                  </a:cubicBezTo>
                  <a:cubicBezTo>
                    <a:pt x="268" y="224"/>
                    <a:pt x="268" y="224"/>
                    <a:pt x="268" y="224"/>
                  </a:cubicBezTo>
                  <a:cubicBezTo>
                    <a:pt x="276" y="227"/>
                    <a:pt x="276" y="227"/>
                    <a:pt x="276" y="227"/>
                  </a:cubicBezTo>
                  <a:cubicBezTo>
                    <a:pt x="275" y="230"/>
                    <a:pt x="275" y="233"/>
                    <a:pt x="278" y="235"/>
                  </a:cubicBezTo>
                  <a:cubicBezTo>
                    <a:pt x="279" y="236"/>
                    <a:pt x="279" y="236"/>
                    <a:pt x="279" y="236"/>
                  </a:cubicBezTo>
                  <a:cubicBezTo>
                    <a:pt x="281" y="237"/>
                    <a:pt x="284" y="238"/>
                    <a:pt x="287" y="236"/>
                  </a:cubicBezTo>
                  <a:cubicBezTo>
                    <a:pt x="288" y="235"/>
                    <a:pt x="289" y="236"/>
                    <a:pt x="290" y="237"/>
                  </a:cubicBezTo>
                  <a:cubicBezTo>
                    <a:pt x="293" y="242"/>
                    <a:pt x="300" y="255"/>
                    <a:pt x="301" y="255"/>
                  </a:cubicBezTo>
                  <a:cubicBezTo>
                    <a:pt x="302" y="256"/>
                    <a:pt x="314" y="267"/>
                    <a:pt x="319" y="272"/>
                  </a:cubicBezTo>
                  <a:cubicBezTo>
                    <a:pt x="321" y="273"/>
                    <a:pt x="323" y="274"/>
                    <a:pt x="326" y="273"/>
                  </a:cubicBezTo>
                  <a:cubicBezTo>
                    <a:pt x="328" y="272"/>
                    <a:pt x="331" y="273"/>
                    <a:pt x="333" y="276"/>
                  </a:cubicBezTo>
                  <a:cubicBezTo>
                    <a:pt x="341" y="287"/>
                    <a:pt x="341" y="287"/>
                    <a:pt x="341" y="287"/>
                  </a:cubicBezTo>
                  <a:cubicBezTo>
                    <a:pt x="342" y="288"/>
                    <a:pt x="343" y="289"/>
                    <a:pt x="343" y="291"/>
                  </a:cubicBezTo>
                  <a:cubicBezTo>
                    <a:pt x="343" y="296"/>
                    <a:pt x="343" y="296"/>
                    <a:pt x="343" y="296"/>
                  </a:cubicBezTo>
                  <a:cubicBezTo>
                    <a:pt x="343" y="299"/>
                    <a:pt x="344" y="302"/>
                    <a:pt x="345" y="305"/>
                  </a:cubicBezTo>
                  <a:cubicBezTo>
                    <a:pt x="349" y="310"/>
                    <a:pt x="349" y="310"/>
                    <a:pt x="349" y="310"/>
                  </a:cubicBezTo>
                  <a:cubicBezTo>
                    <a:pt x="351" y="315"/>
                    <a:pt x="355" y="318"/>
                    <a:pt x="359" y="319"/>
                  </a:cubicBezTo>
                  <a:cubicBezTo>
                    <a:pt x="366" y="321"/>
                    <a:pt x="366" y="321"/>
                    <a:pt x="366" y="321"/>
                  </a:cubicBezTo>
                  <a:cubicBezTo>
                    <a:pt x="362" y="323"/>
                    <a:pt x="362" y="323"/>
                    <a:pt x="362" y="323"/>
                  </a:cubicBezTo>
                  <a:cubicBezTo>
                    <a:pt x="360" y="324"/>
                    <a:pt x="360" y="326"/>
                    <a:pt x="361" y="328"/>
                  </a:cubicBezTo>
                  <a:cubicBezTo>
                    <a:pt x="361" y="328"/>
                    <a:pt x="361" y="328"/>
                    <a:pt x="361" y="328"/>
                  </a:cubicBezTo>
                  <a:cubicBezTo>
                    <a:pt x="362" y="329"/>
                    <a:pt x="363" y="330"/>
                    <a:pt x="364" y="330"/>
                  </a:cubicBezTo>
                  <a:cubicBezTo>
                    <a:pt x="375" y="329"/>
                    <a:pt x="375" y="329"/>
                    <a:pt x="375" y="329"/>
                  </a:cubicBezTo>
                  <a:cubicBezTo>
                    <a:pt x="376" y="329"/>
                    <a:pt x="376" y="329"/>
                    <a:pt x="377" y="329"/>
                  </a:cubicBezTo>
                  <a:cubicBezTo>
                    <a:pt x="385" y="334"/>
                    <a:pt x="385" y="334"/>
                    <a:pt x="385" y="334"/>
                  </a:cubicBezTo>
                  <a:cubicBezTo>
                    <a:pt x="382" y="337"/>
                    <a:pt x="382" y="337"/>
                    <a:pt x="382" y="337"/>
                  </a:cubicBezTo>
                  <a:cubicBezTo>
                    <a:pt x="373" y="334"/>
                    <a:pt x="373" y="334"/>
                    <a:pt x="373" y="334"/>
                  </a:cubicBezTo>
                  <a:cubicBezTo>
                    <a:pt x="371" y="334"/>
                    <a:pt x="369" y="334"/>
                    <a:pt x="369" y="336"/>
                  </a:cubicBezTo>
                  <a:cubicBezTo>
                    <a:pt x="367" y="338"/>
                    <a:pt x="367" y="338"/>
                    <a:pt x="367" y="338"/>
                  </a:cubicBezTo>
                  <a:cubicBezTo>
                    <a:pt x="366" y="340"/>
                    <a:pt x="366" y="341"/>
                    <a:pt x="367" y="342"/>
                  </a:cubicBezTo>
                  <a:cubicBezTo>
                    <a:pt x="373" y="349"/>
                    <a:pt x="373" y="349"/>
                    <a:pt x="373" y="349"/>
                  </a:cubicBezTo>
                  <a:cubicBezTo>
                    <a:pt x="373" y="349"/>
                    <a:pt x="373" y="350"/>
                    <a:pt x="373" y="350"/>
                  </a:cubicBezTo>
                  <a:cubicBezTo>
                    <a:pt x="379" y="354"/>
                    <a:pt x="379" y="354"/>
                    <a:pt x="379" y="354"/>
                  </a:cubicBezTo>
                  <a:cubicBezTo>
                    <a:pt x="380" y="355"/>
                    <a:pt x="380" y="355"/>
                    <a:pt x="381" y="355"/>
                  </a:cubicBezTo>
                  <a:cubicBezTo>
                    <a:pt x="382" y="355"/>
                    <a:pt x="382" y="355"/>
                    <a:pt x="382" y="355"/>
                  </a:cubicBezTo>
                  <a:cubicBezTo>
                    <a:pt x="385" y="355"/>
                    <a:pt x="386" y="352"/>
                    <a:pt x="385" y="349"/>
                  </a:cubicBezTo>
                  <a:cubicBezTo>
                    <a:pt x="384" y="348"/>
                    <a:pt x="384" y="348"/>
                    <a:pt x="384" y="348"/>
                  </a:cubicBezTo>
                  <a:cubicBezTo>
                    <a:pt x="383" y="346"/>
                    <a:pt x="384" y="343"/>
                    <a:pt x="387" y="343"/>
                  </a:cubicBezTo>
                  <a:cubicBezTo>
                    <a:pt x="389" y="343"/>
                    <a:pt x="390" y="341"/>
                    <a:pt x="390" y="338"/>
                  </a:cubicBezTo>
                  <a:cubicBezTo>
                    <a:pt x="388" y="332"/>
                    <a:pt x="388" y="332"/>
                    <a:pt x="388" y="332"/>
                  </a:cubicBezTo>
                  <a:cubicBezTo>
                    <a:pt x="395" y="336"/>
                    <a:pt x="395" y="336"/>
                    <a:pt x="395" y="336"/>
                  </a:cubicBezTo>
                  <a:cubicBezTo>
                    <a:pt x="397" y="333"/>
                    <a:pt x="397" y="333"/>
                    <a:pt x="397" y="333"/>
                  </a:cubicBezTo>
                  <a:cubicBezTo>
                    <a:pt x="398" y="333"/>
                    <a:pt x="398" y="332"/>
                    <a:pt x="398" y="331"/>
                  </a:cubicBezTo>
                  <a:cubicBezTo>
                    <a:pt x="398" y="327"/>
                    <a:pt x="398" y="327"/>
                    <a:pt x="398" y="327"/>
                  </a:cubicBezTo>
                  <a:cubicBezTo>
                    <a:pt x="398" y="325"/>
                    <a:pt x="397" y="324"/>
                    <a:pt x="396" y="323"/>
                  </a:cubicBezTo>
                  <a:cubicBezTo>
                    <a:pt x="387" y="320"/>
                    <a:pt x="387" y="320"/>
                    <a:pt x="387" y="320"/>
                  </a:cubicBezTo>
                  <a:cubicBezTo>
                    <a:pt x="382" y="309"/>
                    <a:pt x="382" y="309"/>
                    <a:pt x="382" y="309"/>
                  </a:cubicBezTo>
                  <a:cubicBezTo>
                    <a:pt x="382" y="309"/>
                    <a:pt x="382" y="309"/>
                    <a:pt x="382" y="309"/>
                  </a:cubicBezTo>
                  <a:cubicBezTo>
                    <a:pt x="381" y="305"/>
                    <a:pt x="381" y="305"/>
                    <a:pt x="381" y="305"/>
                  </a:cubicBezTo>
                  <a:cubicBezTo>
                    <a:pt x="380" y="304"/>
                    <a:pt x="380" y="302"/>
                    <a:pt x="381" y="300"/>
                  </a:cubicBezTo>
                  <a:cubicBezTo>
                    <a:pt x="385" y="303"/>
                    <a:pt x="385" y="303"/>
                    <a:pt x="385" y="303"/>
                  </a:cubicBezTo>
                  <a:cubicBezTo>
                    <a:pt x="387" y="306"/>
                    <a:pt x="390" y="307"/>
                    <a:pt x="392" y="306"/>
                  </a:cubicBezTo>
                  <a:cubicBezTo>
                    <a:pt x="394" y="305"/>
                    <a:pt x="396" y="304"/>
                    <a:pt x="396" y="301"/>
                  </a:cubicBezTo>
                  <a:cubicBezTo>
                    <a:pt x="396" y="299"/>
                    <a:pt x="398" y="297"/>
                    <a:pt x="400" y="297"/>
                  </a:cubicBezTo>
                  <a:cubicBezTo>
                    <a:pt x="418" y="296"/>
                    <a:pt x="418" y="296"/>
                    <a:pt x="418" y="296"/>
                  </a:cubicBezTo>
                  <a:cubicBezTo>
                    <a:pt x="420" y="296"/>
                    <a:pt x="422" y="296"/>
                    <a:pt x="423" y="298"/>
                  </a:cubicBezTo>
                  <a:cubicBezTo>
                    <a:pt x="424" y="300"/>
                    <a:pt x="427" y="300"/>
                    <a:pt x="429" y="300"/>
                  </a:cubicBezTo>
                  <a:cubicBezTo>
                    <a:pt x="443" y="296"/>
                    <a:pt x="443" y="296"/>
                    <a:pt x="443" y="296"/>
                  </a:cubicBezTo>
                  <a:cubicBezTo>
                    <a:pt x="443" y="296"/>
                    <a:pt x="444" y="295"/>
                    <a:pt x="444" y="295"/>
                  </a:cubicBezTo>
                  <a:cubicBezTo>
                    <a:pt x="448" y="293"/>
                    <a:pt x="448" y="293"/>
                    <a:pt x="448" y="293"/>
                  </a:cubicBezTo>
                  <a:cubicBezTo>
                    <a:pt x="450" y="291"/>
                    <a:pt x="451" y="288"/>
                    <a:pt x="450" y="285"/>
                  </a:cubicBezTo>
                  <a:cubicBezTo>
                    <a:pt x="445" y="277"/>
                    <a:pt x="445" y="277"/>
                    <a:pt x="445" y="277"/>
                  </a:cubicBezTo>
                  <a:cubicBezTo>
                    <a:pt x="439" y="272"/>
                    <a:pt x="439" y="272"/>
                    <a:pt x="439" y="272"/>
                  </a:cubicBezTo>
                  <a:cubicBezTo>
                    <a:pt x="444" y="266"/>
                    <a:pt x="444" y="266"/>
                    <a:pt x="444" y="266"/>
                  </a:cubicBezTo>
                  <a:cubicBezTo>
                    <a:pt x="445" y="265"/>
                    <a:pt x="445" y="264"/>
                    <a:pt x="445" y="263"/>
                  </a:cubicBezTo>
                  <a:cubicBezTo>
                    <a:pt x="447" y="251"/>
                    <a:pt x="447" y="251"/>
                    <a:pt x="447" y="251"/>
                  </a:cubicBezTo>
                  <a:cubicBezTo>
                    <a:pt x="447" y="249"/>
                    <a:pt x="447" y="248"/>
                    <a:pt x="448" y="247"/>
                  </a:cubicBezTo>
                  <a:cubicBezTo>
                    <a:pt x="458" y="239"/>
                    <a:pt x="458" y="239"/>
                    <a:pt x="458" y="239"/>
                  </a:cubicBezTo>
                  <a:cubicBezTo>
                    <a:pt x="459" y="239"/>
                    <a:pt x="459" y="238"/>
                    <a:pt x="459" y="238"/>
                  </a:cubicBezTo>
                  <a:cubicBezTo>
                    <a:pt x="466" y="226"/>
                    <a:pt x="466" y="226"/>
                    <a:pt x="466" y="226"/>
                  </a:cubicBezTo>
                  <a:cubicBezTo>
                    <a:pt x="466" y="225"/>
                    <a:pt x="467" y="224"/>
                    <a:pt x="468" y="223"/>
                  </a:cubicBezTo>
                  <a:cubicBezTo>
                    <a:pt x="475" y="221"/>
                    <a:pt x="475" y="221"/>
                    <a:pt x="475" y="221"/>
                  </a:cubicBezTo>
                  <a:cubicBezTo>
                    <a:pt x="477" y="220"/>
                    <a:pt x="479" y="218"/>
                    <a:pt x="479" y="215"/>
                  </a:cubicBezTo>
                  <a:cubicBezTo>
                    <a:pt x="478" y="212"/>
                    <a:pt x="481" y="209"/>
                    <a:pt x="485" y="210"/>
                  </a:cubicBezTo>
                  <a:cubicBezTo>
                    <a:pt x="488" y="210"/>
                    <a:pt x="488" y="210"/>
                    <a:pt x="488" y="210"/>
                  </a:cubicBezTo>
                  <a:cubicBezTo>
                    <a:pt x="490" y="211"/>
                    <a:pt x="491" y="212"/>
                    <a:pt x="492" y="214"/>
                  </a:cubicBezTo>
                  <a:cubicBezTo>
                    <a:pt x="492" y="216"/>
                    <a:pt x="492" y="216"/>
                    <a:pt x="492" y="216"/>
                  </a:cubicBezTo>
                  <a:cubicBezTo>
                    <a:pt x="493" y="219"/>
                    <a:pt x="495" y="220"/>
                    <a:pt x="497" y="220"/>
                  </a:cubicBezTo>
                  <a:cubicBezTo>
                    <a:pt x="498" y="220"/>
                    <a:pt x="498" y="220"/>
                    <a:pt x="498" y="220"/>
                  </a:cubicBezTo>
                  <a:cubicBezTo>
                    <a:pt x="508" y="195"/>
                    <a:pt x="517" y="169"/>
                    <a:pt x="523" y="141"/>
                  </a:cubicBezTo>
                  <a:cubicBezTo>
                    <a:pt x="521" y="140"/>
                    <a:pt x="519" y="137"/>
                    <a:pt x="518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575C78F3-F0E0-4C94-B64E-7F5E30A4E9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725" y="3627438"/>
              <a:ext cx="85725" cy="85725"/>
            </a:xfrm>
            <a:custGeom>
              <a:avLst/>
              <a:gdLst>
                <a:gd name="T0" fmla="*/ 10 w 14"/>
                <a:gd name="T1" fmla="*/ 1 h 14"/>
                <a:gd name="T2" fmla="*/ 7 w 14"/>
                <a:gd name="T3" fmla="*/ 2 h 14"/>
                <a:gd name="T4" fmla="*/ 3 w 14"/>
                <a:gd name="T5" fmla="*/ 0 h 14"/>
                <a:gd name="T6" fmla="*/ 0 w 14"/>
                <a:gd name="T7" fmla="*/ 2 h 14"/>
                <a:gd name="T8" fmla="*/ 0 w 14"/>
                <a:gd name="T9" fmla="*/ 6 h 14"/>
                <a:gd name="T10" fmla="*/ 2 w 14"/>
                <a:gd name="T11" fmla="*/ 9 h 14"/>
                <a:gd name="T12" fmla="*/ 5 w 14"/>
                <a:gd name="T13" fmla="*/ 14 h 14"/>
                <a:gd name="T14" fmla="*/ 10 w 14"/>
                <a:gd name="T15" fmla="*/ 14 h 14"/>
                <a:gd name="T16" fmla="*/ 10 w 14"/>
                <a:gd name="T17" fmla="*/ 6 h 14"/>
                <a:gd name="T18" fmla="*/ 14 w 14"/>
                <a:gd name="T19" fmla="*/ 5 h 14"/>
                <a:gd name="T20" fmla="*/ 13 w 14"/>
                <a:gd name="T21" fmla="*/ 0 h 14"/>
                <a:gd name="T22" fmla="*/ 10 w 14"/>
                <a:gd name="T2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4">
                  <a:moveTo>
                    <a:pt x="10" y="1"/>
                  </a:moveTo>
                  <a:cubicBezTo>
                    <a:pt x="9" y="2"/>
                    <a:pt x="8" y="2"/>
                    <a:pt x="7" y="2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1" y="8"/>
                    <a:pt x="2" y="9"/>
                  </a:cubicBezTo>
                  <a:cubicBezTo>
                    <a:pt x="3" y="11"/>
                    <a:pt x="5" y="14"/>
                    <a:pt x="5" y="14"/>
                  </a:cubicBezTo>
                  <a:cubicBezTo>
                    <a:pt x="5" y="14"/>
                    <a:pt x="10" y="14"/>
                    <a:pt x="10" y="14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1C9BF27-54E2-4B75-BC6B-2AE1C36A9B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5350" y="3652838"/>
              <a:ext cx="49212" cy="53975"/>
            </a:xfrm>
            <a:custGeom>
              <a:avLst/>
              <a:gdLst>
                <a:gd name="T0" fmla="*/ 5 w 8"/>
                <a:gd name="T1" fmla="*/ 0 h 9"/>
                <a:gd name="T2" fmla="*/ 1 w 8"/>
                <a:gd name="T3" fmla="*/ 2 h 9"/>
                <a:gd name="T4" fmla="*/ 0 w 8"/>
                <a:gd name="T5" fmla="*/ 2 h 9"/>
                <a:gd name="T6" fmla="*/ 0 w 8"/>
                <a:gd name="T7" fmla="*/ 6 h 9"/>
                <a:gd name="T8" fmla="*/ 1 w 8"/>
                <a:gd name="T9" fmla="*/ 7 h 9"/>
                <a:gd name="T10" fmla="*/ 4 w 8"/>
                <a:gd name="T11" fmla="*/ 9 h 9"/>
                <a:gd name="T12" fmla="*/ 6 w 8"/>
                <a:gd name="T13" fmla="*/ 9 h 9"/>
                <a:gd name="T14" fmla="*/ 8 w 8"/>
                <a:gd name="T15" fmla="*/ 4 h 9"/>
                <a:gd name="T16" fmla="*/ 5 w 8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9">
                  <a:moveTo>
                    <a:pt x="5" y="0"/>
                  </a:moveTo>
                  <a:cubicBezTo>
                    <a:pt x="3" y="0"/>
                    <a:pt x="1" y="1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2" y="9"/>
                    <a:pt x="4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6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4947D2B7-4BBF-4ED5-B3BD-B6C22B3FF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6000" y="3305175"/>
              <a:ext cx="557212" cy="871537"/>
            </a:xfrm>
            <a:custGeom>
              <a:avLst/>
              <a:gdLst>
                <a:gd name="T0" fmla="*/ 6 w 91"/>
                <a:gd name="T1" fmla="*/ 38 h 143"/>
                <a:gd name="T2" fmla="*/ 3 w 91"/>
                <a:gd name="T3" fmla="*/ 47 h 143"/>
                <a:gd name="T4" fmla="*/ 9 w 91"/>
                <a:gd name="T5" fmla="*/ 46 h 143"/>
                <a:gd name="T6" fmla="*/ 14 w 91"/>
                <a:gd name="T7" fmla="*/ 55 h 143"/>
                <a:gd name="T8" fmla="*/ 13 w 91"/>
                <a:gd name="T9" fmla="*/ 59 h 143"/>
                <a:gd name="T10" fmla="*/ 16 w 91"/>
                <a:gd name="T11" fmla="*/ 67 h 143"/>
                <a:gd name="T12" fmla="*/ 22 w 91"/>
                <a:gd name="T13" fmla="*/ 68 h 143"/>
                <a:gd name="T14" fmla="*/ 28 w 91"/>
                <a:gd name="T15" fmla="*/ 63 h 143"/>
                <a:gd name="T16" fmla="*/ 30 w 91"/>
                <a:gd name="T17" fmla="*/ 68 h 143"/>
                <a:gd name="T18" fmla="*/ 35 w 91"/>
                <a:gd name="T19" fmla="*/ 76 h 143"/>
                <a:gd name="T20" fmla="*/ 34 w 91"/>
                <a:gd name="T21" fmla="*/ 83 h 143"/>
                <a:gd name="T22" fmla="*/ 34 w 91"/>
                <a:gd name="T23" fmla="*/ 86 h 143"/>
                <a:gd name="T24" fmla="*/ 21 w 91"/>
                <a:gd name="T25" fmla="*/ 90 h 143"/>
                <a:gd name="T26" fmla="*/ 21 w 91"/>
                <a:gd name="T27" fmla="*/ 96 h 143"/>
                <a:gd name="T28" fmla="*/ 24 w 91"/>
                <a:gd name="T29" fmla="*/ 101 h 143"/>
                <a:gd name="T30" fmla="*/ 23 w 91"/>
                <a:gd name="T31" fmla="*/ 104 h 143"/>
                <a:gd name="T32" fmla="*/ 11 w 91"/>
                <a:gd name="T33" fmla="*/ 117 h 143"/>
                <a:gd name="T34" fmla="*/ 19 w 91"/>
                <a:gd name="T35" fmla="*/ 115 h 143"/>
                <a:gd name="T36" fmla="*/ 24 w 91"/>
                <a:gd name="T37" fmla="*/ 117 h 143"/>
                <a:gd name="T38" fmla="*/ 36 w 91"/>
                <a:gd name="T39" fmla="*/ 118 h 143"/>
                <a:gd name="T40" fmla="*/ 44 w 91"/>
                <a:gd name="T41" fmla="*/ 112 h 143"/>
                <a:gd name="T42" fmla="*/ 43 w 91"/>
                <a:gd name="T43" fmla="*/ 119 h 143"/>
                <a:gd name="T44" fmla="*/ 37 w 91"/>
                <a:gd name="T45" fmla="*/ 122 h 143"/>
                <a:gd name="T46" fmla="*/ 25 w 91"/>
                <a:gd name="T47" fmla="*/ 123 h 143"/>
                <a:gd name="T48" fmla="*/ 15 w 91"/>
                <a:gd name="T49" fmla="*/ 140 h 143"/>
                <a:gd name="T50" fmla="*/ 18 w 91"/>
                <a:gd name="T51" fmla="*/ 138 h 143"/>
                <a:gd name="T52" fmla="*/ 27 w 91"/>
                <a:gd name="T53" fmla="*/ 135 h 143"/>
                <a:gd name="T54" fmla="*/ 72 w 91"/>
                <a:gd name="T55" fmla="*/ 131 h 143"/>
                <a:gd name="T56" fmla="*/ 82 w 91"/>
                <a:gd name="T57" fmla="*/ 127 h 143"/>
                <a:gd name="T58" fmla="*/ 77 w 91"/>
                <a:gd name="T59" fmla="*/ 120 h 143"/>
                <a:gd name="T60" fmla="*/ 87 w 91"/>
                <a:gd name="T61" fmla="*/ 111 h 143"/>
                <a:gd name="T62" fmla="*/ 89 w 91"/>
                <a:gd name="T63" fmla="*/ 100 h 143"/>
                <a:gd name="T64" fmla="*/ 85 w 91"/>
                <a:gd name="T65" fmla="*/ 97 h 143"/>
                <a:gd name="T66" fmla="*/ 78 w 91"/>
                <a:gd name="T67" fmla="*/ 98 h 143"/>
                <a:gd name="T68" fmla="*/ 72 w 91"/>
                <a:gd name="T69" fmla="*/ 95 h 143"/>
                <a:gd name="T70" fmla="*/ 67 w 91"/>
                <a:gd name="T71" fmla="*/ 80 h 143"/>
                <a:gd name="T72" fmla="*/ 54 w 91"/>
                <a:gd name="T73" fmla="*/ 66 h 143"/>
                <a:gd name="T74" fmla="*/ 50 w 91"/>
                <a:gd name="T75" fmla="*/ 55 h 143"/>
                <a:gd name="T76" fmla="*/ 41 w 91"/>
                <a:gd name="T77" fmla="*/ 50 h 143"/>
                <a:gd name="T78" fmla="*/ 29 w 91"/>
                <a:gd name="T79" fmla="*/ 50 h 143"/>
                <a:gd name="T80" fmla="*/ 31 w 91"/>
                <a:gd name="T81" fmla="*/ 42 h 143"/>
                <a:gd name="T82" fmla="*/ 43 w 91"/>
                <a:gd name="T83" fmla="*/ 29 h 143"/>
                <a:gd name="T84" fmla="*/ 28 w 91"/>
                <a:gd name="T85" fmla="*/ 20 h 143"/>
                <a:gd name="T86" fmla="*/ 30 w 91"/>
                <a:gd name="T87" fmla="*/ 6 h 143"/>
                <a:gd name="T88" fmla="*/ 15 w 91"/>
                <a:gd name="T89" fmla="*/ 0 h 143"/>
                <a:gd name="T90" fmla="*/ 9 w 91"/>
                <a:gd name="T91" fmla="*/ 12 h 143"/>
                <a:gd name="T92" fmla="*/ 4 w 91"/>
                <a:gd name="T93" fmla="*/ 15 h 143"/>
                <a:gd name="T94" fmla="*/ 0 w 91"/>
                <a:gd name="T95" fmla="*/ 27 h 143"/>
                <a:gd name="T96" fmla="*/ 5 w 91"/>
                <a:gd name="T97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1" h="143">
                  <a:moveTo>
                    <a:pt x="5" y="34"/>
                  </a:moveTo>
                  <a:cubicBezTo>
                    <a:pt x="7" y="35"/>
                    <a:pt x="7" y="37"/>
                    <a:pt x="6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2" y="40"/>
                    <a:pt x="1" y="44"/>
                    <a:pt x="3" y="47"/>
                  </a:cubicBezTo>
                  <a:cubicBezTo>
                    <a:pt x="4" y="47"/>
                    <a:pt x="5" y="48"/>
                    <a:pt x="6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10" y="46"/>
                    <a:pt x="12" y="47"/>
                    <a:pt x="13" y="49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5" y="56"/>
                    <a:pt x="14" y="57"/>
                    <a:pt x="14" y="58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11" y="60"/>
                    <a:pt x="11" y="62"/>
                    <a:pt x="13" y="64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7" y="68"/>
                    <a:pt x="17" y="68"/>
                    <a:pt x="18" y="68"/>
                  </a:cubicBezTo>
                  <a:cubicBezTo>
                    <a:pt x="22" y="68"/>
                    <a:pt x="22" y="68"/>
                    <a:pt x="22" y="68"/>
                  </a:cubicBezTo>
                  <a:cubicBezTo>
                    <a:pt x="23" y="69"/>
                    <a:pt x="24" y="68"/>
                    <a:pt x="25" y="67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9" y="69"/>
                    <a:pt x="29" y="71"/>
                    <a:pt x="31" y="72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7" y="78"/>
                    <a:pt x="36" y="80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4"/>
                    <a:pt x="34" y="84"/>
                    <a:pt x="34" y="85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8"/>
                    <a:pt x="33" y="90"/>
                    <a:pt x="3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19" y="90"/>
                    <a:pt x="18" y="91"/>
                    <a:pt x="18" y="93"/>
                  </a:cubicBezTo>
                  <a:cubicBezTo>
                    <a:pt x="18" y="94"/>
                    <a:pt x="19" y="96"/>
                    <a:pt x="21" y="96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24" y="97"/>
                    <a:pt x="25" y="99"/>
                    <a:pt x="24" y="101"/>
                  </a:cubicBezTo>
                  <a:cubicBezTo>
                    <a:pt x="24" y="102"/>
                    <a:pt x="24" y="102"/>
                    <a:pt x="24" y="102"/>
                  </a:cubicBezTo>
                  <a:cubicBezTo>
                    <a:pt x="24" y="103"/>
                    <a:pt x="23" y="103"/>
                    <a:pt x="23" y="104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10" y="109"/>
                    <a:pt x="9" y="114"/>
                    <a:pt x="11" y="117"/>
                  </a:cubicBezTo>
                  <a:cubicBezTo>
                    <a:pt x="12" y="117"/>
                    <a:pt x="13" y="117"/>
                    <a:pt x="13" y="117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20" y="115"/>
                    <a:pt x="21" y="115"/>
                    <a:pt x="22" y="116"/>
                  </a:cubicBezTo>
                  <a:cubicBezTo>
                    <a:pt x="24" y="117"/>
                    <a:pt x="24" y="117"/>
                    <a:pt x="24" y="117"/>
                  </a:cubicBezTo>
                  <a:cubicBezTo>
                    <a:pt x="24" y="118"/>
                    <a:pt x="25" y="118"/>
                    <a:pt x="26" y="118"/>
                  </a:cubicBezTo>
                  <a:cubicBezTo>
                    <a:pt x="36" y="118"/>
                    <a:pt x="36" y="118"/>
                    <a:pt x="36" y="118"/>
                  </a:cubicBezTo>
                  <a:cubicBezTo>
                    <a:pt x="37" y="118"/>
                    <a:pt x="38" y="118"/>
                    <a:pt x="38" y="118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6"/>
                    <a:pt x="44" y="116"/>
                    <a:pt x="44" y="116"/>
                  </a:cubicBezTo>
                  <a:cubicBezTo>
                    <a:pt x="44" y="117"/>
                    <a:pt x="44" y="118"/>
                    <a:pt x="43" y="119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2"/>
                    <a:pt x="37" y="122"/>
                    <a:pt x="37" y="122"/>
                  </a:cubicBezTo>
                  <a:cubicBezTo>
                    <a:pt x="26" y="122"/>
                    <a:pt x="26" y="122"/>
                    <a:pt x="26" y="122"/>
                  </a:cubicBezTo>
                  <a:cubicBezTo>
                    <a:pt x="26" y="122"/>
                    <a:pt x="25" y="123"/>
                    <a:pt x="25" y="123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7" y="143"/>
                    <a:pt x="12" y="143"/>
                    <a:pt x="15" y="140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7" y="138"/>
                    <a:pt x="18" y="138"/>
                    <a:pt x="18" y="138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5" y="138"/>
                    <a:pt x="27" y="137"/>
                    <a:pt x="27" y="135"/>
                  </a:cubicBezTo>
                  <a:cubicBezTo>
                    <a:pt x="27" y="133"/>
                    <a:pt x="27" y="131"/>
                    <a:pt x="28" y="131"/>
                  </a:cubicBezTo>
                  <a:cubicBezTo>
                    <a:pt x="30" y="131"/>
                    <a:pt x="67" y="131"/>
                    <a:pt x="72" y="131"/>
                  </a:cubicBezTo>
                  <a:cubicBezTo>
                    <a:pt x="73" y="131"/>
                    <a:pt x="73" y="131"/>
                    <a:pt x="73" y="131"/>
                  </a:cubicBezTo>
                  <a:cubicBezTo>
                    <a:pt x="75" y="130"/>
                    <a:pt x="81" y="128"/>
                    <a:pt x="82" y="127"/>
                  </a:cubicBezTo>
                  <a:cubicBezTo>
                    <a:pt x="83" y="126"/>
                    <a:pt x="82" y="123"/>
                    <a:pt x="82" y="123"/>
                  </a:cubicBezTo>
                  <a:cubicBezTo>
                    <a:pt x="77" y="120"/>
                    <a:pt x="77" y="120"/>
                    <a:pt x="77" y="120"/>
                  </a:cubicBezTo>
                  <a:cubicBezTo>
                    <a:pt x="86" y="113"/>
                    <a:pt x="86" y="113"/>
                    <a:pt x="86" y="113"/>
                  </a:cubicBezTo>
                  <a:cubicBezTo>
                    <a:pt x="86" y="112"/>
                    <a:pt x="87" y="112"/>
                    <a:pt x="87" y="111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1" y="102"/>
                    <a:pt x="90" y="101"/>
                    <a:pt x="89" y="100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7" y="98"/>
                    <a:pt x="86" y="97"/>
                    <a:pt x="85" y="97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79" y="99"/>
                    <a:pt x="79" y="99"/>
                    <a:pt x="78" y="98"/>
                  </a:cubicBezTo>
                  <a:cubicBezTo>
                    <a:pt x="75" y="98"/>
                    <a:pt x="75" y="98"/>
                    <a:pt x="75" y="98"/>
                  </a:cubicBezTo>
                  <a:cubicBezTo>
                    <a:pt x="73" y="97"/>
                    <a:pt x="73" y="96"/>
                    <a:pt x="72" y="95"/>
                  </a:cubicBezTo>
                  <a:cubicBezTo>
                    <a:pt x="68" y="81"/>
                    <a:pt x="68" y="81"/>
                    <a:pt x="68" y="81"/>
                  </a:cubicBezTo>
                  <a:cubicBezTo>
                    <a:pt x="68" y="81"/>
                    <a:pt x="67" y="80"/>
                    <a:pt x="67" y="80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4" y="67"/>
                    <a:pt x="54" y="67"/>
                    <a:pt x="54" y="66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6"/>
                    <a:pt x="51" y="55"/>
                    <a:pt x="50" y="55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2" y="50"/>
                    <a:pt x="41" y="50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1" y="42"/>
                    <a:pt x="31" y="42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3" y="30"/>
                    <a:pt x="43" y="30"/>
                    <a:pt x="43" y="29"/>
                  </a:cubicBezTo>
                  <a:cubicBezTo>
                    <a:pt x="44" y="25"/>
                    <a:pt x="41" y="20"/>
                    <a:pt x="36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6" y="19"/>
                    <a:pt x="25" y="17"/>
                    <a:pt x="26" y="15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2" y="4"/>
                    <a:pt x="30" y="1"/>
                    <a:pt x="28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0"/>
                    <a:pt x="12" y="1"/>
                    <a:pt x="11" y="3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4"/>
                    <a:pt x="8" y="15"/>
                    <a:pt x="6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1" y="16"/>
                    <a:pt x="1" y="1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0" y="29"/>
                    <a:pt x="1" y="30"/>
                  </a:cubicBezTo>
                  <a:lnTo>
                    <a:pt x="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A9D35176-748E-4622-8257-F82FD9DE9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3900" y="3670300"/>
              <a:ext cx="323850" cy="360362"/>
            </a:xfrm>
            <a:custGeom>
              <a:avLst/>
              <a:gdLst>
                <a:gd name="T0" fmla="*/ 12 w 53"/>
                <a:gd name="T1" fmla="*/ 58 h 59"/>
                <a:gd name="T2" fmla="*/ 15 w 53"/>
                <a:gd name="T3" fmla="*/ 58 h 59"/>
                <a:gd name="T4" fmla="*/ 26 w 53"/>
                <a:gd name="T5" fmla="*/ 51 h 59"/>
                <a:gd name="T6" fmla="*/ 27 w 53"/>
                <a:gd name="T7" fmla="*/ 51 h 59"/>
                <a:gd name="T8" fmla="*/ 43 w 53"/>
                <a:gd name="T9" fmla="*/ 47 h 59"/>
                <a:gd name="T10" fmla="*/ 46 w 53"/>
                <a:gd name="T11" fmla="*/ 43 h 59"/>
                <a:gd name="T12" fmla="*/ 47 w 53"/>
                <a:gd name="T13" fmla="*/ 31 h 59"/>
                <a:gd name="T14" fmla="*/ 46 w 53"/>
                <a:gd name="T15" fmla="*/ 28 h 59"/>
                <a:gd name="T16" fmla="*/ 43 w 53"/>
                <a:gd name="T17" fmla="*/ 25 h 59"/>
                <a:gd name="T18" fmla="*/ 46 w 53"/>
                <a:gd name="T19" fmla="*/ 18 h 59"/>
                <a:gd name="T20" fmla="*/ 47 w 53"/>
                <a:gd name="T21" fmla="*/ 18 h 59"/>
                <a:gd name="T22" fmla="*/ 51 w 53"/>
                <a:gd name="T23" fmla="*/ 15 h 59"/>
                <a:gd name="T24" fmla="*/ 52 w 53"/>
                <a:gd name="T25" fmla="*/ 12 h 59"/>
                <a:gd name="T26" fmla="*/ 51 w 53"/>
                <a:gd name="T27" fmla="*/ 8 h 59"/>
                <a:gd name="T28" fmla="*/ 45 w 53"/>
                <a:gd name="T29" fmla="*/ 2 h 59"/>
                <a:gd name="T30" fmla="*/ 43 w 53"/>
                <a:gd name="T31" fmla="*/ 1 h 59"/>
                <a:gd name="T32" fmla="*/ 36 w 53"/>
                <a:gd name="T33" fmla="*/ 0 h 59"/>
                <a:gd name="T34" fmla="*/ 32 w 53"/>
                <a:gd name="T35" fmla="*/ 2 h 59"/>
                <a:gd name="T36" fmla="*/ 27 w 53"/>
                <a:gd name="T37" fmla="*/ 12 h 59"/>
                <a:gd name="T38" fmla="*/ 24 w 53"/>
                <a:gd name="T39" fmla="*/ 14 h 59"/>
                <a:gd name="T40" fmla="*/ 13 w 53"/>
                <a:gd name="T41" fmla="*/ 17 h 59"/>
                <a:gd name="T42" fmla="*/ 9 w 53"/>
                <a:gd name="T43" fmla="*/ 16 h 59"/>
                <a:gd name="T44" fmla="*/ 3 w 53"/>
                <a:gd name="T45" fmla="*/ 18 h 59"/>
                <a:gd name="T46" fmla="*/ 0 w 53"/>
                <a:gd name="T47" fmla="*/ 23 h 59"/>
                <a:gd name="T48" fmla="*/ 1 w 53"/>
                <a:gd name="T49" fmla="*/ 27 h 59"/>
                <a:gd name="T50" fmla="*/ 1 w 53"/>
                <a:gd name="T51" fmla="*/ 28 h 59"/>
                <a:gd name="T52" fmla="*/ 6 w 53"/>
                <a:gd name="T53" fmla="*/ 29 h 59"/>
                <a:gd name="T54" fmla="*/ 9 w 53"/>
                <a:gd name="T55" fmla="*/ 28 h 59"/>
                <a:gd name="T56" fmla="*/ 11 w 53"/>
                <a:gd name="T57" fmla="*/ 33 h 59"/>
                <a:gd name="T58" fmla="*/ 8 w 53"/>
                <a:gd name="T59" fmla="*/ 35 h 59"/>
                <a:gd name="T60" fmla="*/ 6 w 53"/>
                <a:gd name="T61" fmla="*/ 37 h 59"/>
                <a:gd name="T62" fmla="*/ 1 w 53"/>
                <a:gd name="T63" fmla="*/ 47 h 59"/>
                <a:gd name="T64" fmla="*/ 1 w 53"/>
                <a:gd name="T65" fmla="*/ 51 h 59"/>
                <a:gd name="T66" fmla="*/ 4 w 53"/>
                <a:gd name="T67" fmla="*/ 56 h 59"/>
                <a:gd name="T68" fmla="*/ 7 w 53"/>
                <a:gd name="T69" fmla="*/ 58 h 59"/>
                <a:gd name="T70" fmla="*/ 12 w 53"/>
                <a:gd name="T71" fmla="*/ 58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3" h="59">
                  <a:moveTo>
                    <a:pt x="12" y="58"/>
                  </a:moveTo>
                  <a:cubicBezTo>
                    <a:pt x="13" y="59"/>
                    <a:pt x="14" y="58"/>
                    <a:pt x="15" y="58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6" y="51"/>
                    <a:pt x="26" y="51"/>
                    <a:pt x="27" y="51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5" y="46"/>
                    <a:pt x="46" y="45"/>
                    <a:pt x="46" y="43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0"/>
                    <a:pt x="47" y="29"/>
                    <a:pt x="46" y="28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1" y="22"/>
                    <a:pt x="43" y="18"/>
                    <a:pt x="46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9" y="18"/>
                    <a:pt x="50" y="17"/>
                    <a:pt x="51" y="15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3" y="10"/>
                    <a:pt x="52" y="9"/>
                    <a:pt x="51" y="8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1"/>
                    <a:pt x="44" y="1"/>
                    <a:pt x="43" y="1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4" y="0"/>
                    <a:pt x="33" y="0"/>
                    <a:pt x="32" y="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6" y="13"/>
                    <a:pt x="25" y="13"/>
                    <a:pt x="24" y="14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2" y="17"/>
                    <a:pt x="10" y="17"/>
                    <a:pt x="9" y="16"/>
                  </a:cubicBezTo>
                  <a:cubicBezTo>
                    <a:pt x="7" y="15"/>
                    <a:pt x="4" y="15"/>
                    <a:pt x="3" y="18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6"/>
                    <a:pt x="1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2" y="29"/>
                    <a:pt x="4" y="30"/>
                    <a:pt x="6" y="29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7" y="35"/>
                    <a:pt x="7" y="36"/>
                    <a:pt x="6" y="3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0" y="48"/>
                    <a:pt x="0" y="50"/>
                    <a:pt x="1" y="51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5" y="57"/>
                    <a:pt x="6" y="57"/>
                    <a:pt x="7" y="58"/>
                  </a:cubicBezTo>
                  <a:lnTo>
                    <a:pt x="1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F339BDA3-35A0-4209-BCAC-EB2D6F25C8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9438" y="5445125"/>
              <a:ext cx="90487" cy="42862"/>
            </a:xfrm>
            <a:custGeom>
              <a:avLst/>
              <a:gdLst>
                <a:gd name="T0" fmla="*/ 0 w 15"/>
                <a:gd name="T1" fmla="*/ 6 h 7"/>
                <a:gd name="T2" fmla="*/ 10 w 15"/>
                <a:gd name="T3" fmla="*/ 6 h 7"/>
                <a:gd name="T4" fmla="*/ 15 w 15"/>
                <a:gd name="T5" fmla="*/ 0 h 7"/>
                <a:gd name="T6" fmla="*/ 12 w 15"/>
                <a:gd name="T7" fmla="*/ 0 h 7"/>
                <a:gd name="T8" fmla="*/ 0 w 15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7">
                  <a:moveTo>
                    <a:pt x="0" y="6"/>
                  </a:moveTo>
                  <a:cubicBezTo>
                    <a:pt x="0" y="7"/>
                    <a:pt x="5" y="7"/>
                    <a:pt x="10" y="6"/>
                  </a:cubicBezTo>
                  <a:cubicBezTo>
                    <a:pt x="12" y="4"/>
                    <a:pt x="13" y="2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0" y="0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33952739-E4A7-4299-A6A9-B49C56C1D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2213" y="2341563"/>
              <a:ext cx="696912" cy="371475"/>
            </a:xfrm>
            <a:custGeom>
              <a:avLst/>
              <a:gdLst>
                <a:gd name="T0" fmla="*/ 102 w 114"/>
                <a:gd name="T1" fmla="*/ 6 h 61"/>
                <a:gd name="T2" fmla="*/ 89 w 114"/>
                <a:gd name="T3" fmla="*/ 0 h 61"/>
                <a:gd name="T4" fmla="*/ 69 w 114"/>
                <a:gd name="T5" fmla="*/ 2 h 61"/>
                <a:gd name="T6" fmla="*/ 61 w 114"/>
                <a:gd name="T7" fmla="*/ 6 h 61"/>
                <a:gd name="T8" fmla="*/ 55 w 114"/>
                <a:gd name="T9" fmla="*/ 11 h 61"/>
                <a:gd name="T10" fmla="*/ 48 w 114"/>
                <a:gd name="T11" fmla="*/ 11 h 61"/>
                <a:gd name="T12" fmla="*/ 41 w 114"/>
                <a:gd name="T13" fmla="*/ 10 h 61"/>
                <a:gd name="T14" fmla="*/ 36 w 114"/>
                <a:gd name="T15" fmla="*/ 15 h 61"/>
                <a:gd name="T16" fmla="*/ 29 w 114"/>
                <a:gd name="T17" fmla="*/ 15 h 61"/>
                <a:gd name="T18" fmla="*/ 24 w 114"/>
                <a:gd name="T19" fmla="*/ 10 h 61"/>
                <a:gd name="T20" fmla="*/ 5 w 114"/>
                <a:gd name="T21" fmla="*/ 11 h 61"/>
                <a:gd name="T22" fmla="*/ 3 w 114"/>
                <a:gd name="T23" fmla="*/ 13 h 61"/>
                <a:gd name="T24" fmla="*/ 3 w 114"/>
                <a:gd name="T25" fmla="*/ 25 h 61"/>
                <a:gd name="T26" fmla="*/ 12 w 114"/>
                <a:gd name="T27" fmla="*/ 38 h 61"/>
                <a:gd name="T28" fmla="*/ 20 w 114"/>
                <a:gd name="T29" fmla="*/ 42 h 61"/>
                <a:gd name="T30" fmla="*/ 22 w 114"/>
                <a:gd name="T31" fmla="*/ 42 h 61"/>
                <a:gd name="T32" fmla="*/ 40 w 114"/>
                <a:gd name="T33" fmla="*/ 55 h 61"/>
                <a:gd name="T34" fmla="*/ 59 w 114"/>
                <a:gd name="T35" fmla="*/ 61 h 61"/>
                <a:gd name="T36" fmla="*/ 64 w 114"/>
                <a:gd name="T37" fmla="*/ 61 h 61"/>
                <a:gd name="T38" fmla="*/ 67 w 114"/>
                <a:gd name="T39" fmla="*/ 61 h 61"/>
                <a:gd name="T40" fmla="*/ 100 w 114"/>
                <a:gd name="T41" fmla="*/ 46 h 61"/>
                <a:gd name="T42" fmla="*/ 101 w 114"/>
                <a:gd name="T43" fmla="*/ 45 h 61"/>
                <a:gd name="T44" fmla="*/ 109 w 114"/>
                <a:gd name="T45" fmla="*/ 36 h 61"/>
                <a:gd name="T46" fmla="*/ 109 w 114"/>
                <a:gd name="T47" fmla="*/ 17 h 61"/>
                <a:gd name="T48" fmla="*/ 102 w 114"/>
                <a:gd name="T49" fmla="*/ 6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4" h="61">
                  <a:moveTo>
                    <a:pt x="102" y="6"/>
                  </a:moveTo>
                  <a:cubicBezTo>
                    <a:pt x="99" y="2"/>
                    <a:pt x="94" y="0"/>
                    <a:pt x="89" y="0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6" y="3"/>
                    <a:pt x="64" y="4"/>
                    <a:pt x="61" y="6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3" y="13"/>
                    <a:pt x="50" y="12"/>
                    <a:pt x="48" y="11"/>
                  </a:cubicBezTo>
                  <a:cubicBezTo>
                    <a:pt x="46" y="9"/>
                    <a:pt x="43" y="8"/>
                    <a:pt x="41" y="10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4" y="17"/>
                    <a:pt x="30" y="17"/>
                    <a:pt x="29" y="15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19" y="4"/>
                    <a:pt x="9" y="4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1" y="17"/>
                    <a:pt x="0" y="21"/>
                    <a:pt x="3" y="25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4" y="40"/>
                    <a:pt x="17" y="42"/>
                    <a:pt x="20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2" y="43"/>
                    <a:pt x="33" y="50"/>
                    <a:pt x="40" y="55"/>
                  </a:cubicBezTo>
                  <a:cubicBezTo>
                    <a:pt x="46" y="59"/>
                    <a:pt x="52" y="61"/>
                    <a:pt x="59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1"/>
                    <a:pt x="66" y="61"/>
                    <a:pt x="67" y="61"/>
                  </a:cubicBezTo>
                  <a:cubicBezTo>
                    <a:pt x="100" y="46"/>
                    <a:pt x="100" y="46"/>
                    <a:pt x="100" y="46"/>
                  </a:cubicBezTo>
                  <a:cubicBezTo>
                    <a:pt x="100" y="46"/>
                    <a:pt x="101" y="45"/>
                    <a:pt x="101" y="45"/>
                  </a:cubicBezTo>
                  <a:cubicBezTo>
                    <a:pt x="109" y="36"/>
                    <a:pt x="109" y="36"/>
                    <a:pt x="109" y="36"/>
                  </a:cubicBezTo>
                  <a:cubicBezTo>
                    <a:pt x="113" y="31"/>
                    <a:pt x="114" y="23"/>
                    <a:pt x="109" y="17"/>
                  </a:cubicBezTo>
                  <a:lnTo>
                    <a:pt x="102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F518A963-40E3-4D03-ADB8-6982F2063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5981" y="325439"/>
              <a:ext cx="384175" cy="244475"/>
            </a:xfrm>
            <a:custGeom>
              <a:avLst/>
              <a:gdLst>
                <a:gd name="T0" fmla="*/ 0 w 63"/>
                <a:gd name="T1" fmla="*/ 7 h 40"/>
                <a:gd name="T2" fmla="*/ 0 w 63"/>
                <a:gd name="T3" fmla="*/ 11 h 40"/>
                <a:gd name="T4" fmla="*/ 4 w 63"/>
                <a:gd name="T5" fmla="*/ 15 h 40"/>
                <a:gd name="T6" fmla="*/ 11 w 63"/>
                <a:gd name="T7" fmla="*/ 15 h 40"/>
                <a:gd name="T8" fmla="*/ 11 w 63"/>
                <a:gd name="T9" fmla="*/ 18 h 40"/>
                <a:gd name="T10" fmla="*/ 7 w 63"/>
                <a:gd name="T11" fmla="*/ 20 h 40"/>
                <a:gd name="T12" fmla="*/ 5 w 63"/>
                <a:gd name="T13" fmla="*/ 24 h 40"/>
                <a:gd name="T14" fmla="*/ 8 w 63"/>
                <a:gd name="T15" fmla="*/ 30 h 40"/>
                <a:gd name="T16" fmla="*/ 9 w 63"/>
                <a:gd name="T17" fmla="*/ 31 h 40"/>
                <a:gd name="T18" fmla="*/ 24 w 63"/>
                <a:gd name="T19" fmla="*/ 40 h 40"/>
                <a:gd name="T20" fmla="*/ 28 w 63"/>
                <a:gd name="T21" fmla="*/ 40 h 40"/>
                <a:gd name="T22" fmla="*/ 40 w 63"/>
                <a:gd name="T23" fmla="*/ 33 h 40"/>
                <a:gd name="T24" fmla="*/ 41 w 63"/>
                <a:gd name="T25" fmla="*/ 32 h 40"/>
                <a:gd name="T26" fmla="*/ 42 w 63"/>
                <a:gd name="T27" fmla="*/ 30 h 40"/>
                <a:gd name="T28" fmla="*/ 44 w 63"/>
                <a:gd name="T29" fmla="*/ 28 h 40"/>
                <a:gd name="T30" fmla="*/ 50 w 63"/>
                <a:gd name="T31" fmla="*/ 25 h 40"/>
                <a:gd name="T32" fmla="*/ 50 w 63"/>
                <a:gd name="T33" fmla="*/ 28 h 40"/>
                <a:gd name="T34" fmla="*/ 53 w 63"/>
                <a:gd name="T35" fmla="*/ 32 h 40"/>
                <a:gd name="T36" fmla="*/ 61 w 63"/>
                <a:gd name="T37" fmla="*/ 34 h 40"/>
                <a:gd name="T38" fmla="*/ 63 w 63"/>
                <a:gd name="T39" fmla="*/ 30 h 40"/>
                <a:gd name="T40" fmla="*/ 10 w 63"/>
                <a:gd name="T41" fmla="*/ 0 h 40"/>
                <a:gd name="T42" fmla="*/ 2 w 63"/>
                <a:gd name="T43" fmla="*/ 3 h 40"/>
                <a:gd name="T44" fmla="*/ 0 w 63"/>
                <a:gd name="T45" fmla="*/ 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3" h="40">
                  <a:moveTo>
                    <a:pt x="0" y="7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3"/>
                    <a:pt x="1" y="15"/>
                    <a:pt x="4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21"/>
                    <a:pt x="5" y="23"/>
                    <a:pt x="5" y="24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1"/>
                    <a:pt x="9" y="3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5" y="40"/>
                    <a:pt x="27" y="40"/>
                    <a:pt x="28" y="40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40" y="33"/>
                    <a:pt x="41" y="32"/>
                    <a:pt x="41" y="32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3" y="29"/>
                    <a:pt x="43" y="28"/>
                    <a:pt x="44" y="28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30"/>
                    <a:pt x="51" y="31"/>
                    <a:pt x="53" y="32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46" y="19"/>
                    <a:pt x="28" y="9"/>
                    <a:pt x="10" y="0"/>
                  </a:cubicBezTo>
                  <a:cubicBezTo>
                    <a:pt x="7" y="1"/>
                    <a:pt x="4" y="3"/>
                    <a:pt x="2" y="3"/>
                  </a:cubicBezTo>
                  <a:cubicBezTo>
                    <a:pt x="1" y="4"/>
                    <a:pt x="0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37398BD3-ED1B-40A7-90A4-1BBCC3C9F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244" y="533401"/>
              <a:ext cx="354012" cy="292100"/>
            </a:xfrm>
            <a:custGeom>
              <a:avLst/>
              <a:gdLst>
                <a:gd name="T0" fmla="*/ 34 w 58"/>
                <a:gd name="T1" fmla="*/ 5 h 48"/>
                <a:gd name="T2" fmla="*/ 30 w 58"/>
                <a:gd name="T3" fmla="*/ 7 h 48"/>
                <a:gd name="T4" fmla="*/ 27 w 58"/>
                <a:gd name="T5" fmla="*/ 7 h 48"/>
                <a:gd name="T6" fmla="*/ 17 w 58"/>
                <a:gd name="T7" fmla="*/ 4 h 48"/>
                <a:gd name="T8" fmla="*/ 15 w 58"/>
                <a:gd name="T9" fmla="*/ 4 h 48"/>
                <a:gd name="T10" fmla="*/ 3 w 58"/>
                <a:gd name="T11" fmla="*/ 9 h 48"/>
                <a:gd name="T12" fmla="*/ 1 w 58"/>
                <a:gd name="T13" fmla="*/ 15 h 48"/>
                <a:gd name="T14" fmla="*/ 2 w 58"/>
                <a:gd name="T15" fmla="*/ 15 h 48"/>
                <a:gd name="T16" fmla="*/ 4 w 58"/>
                <a:gd name="T17" fmla="*/ 17 h 48"/>
                <a:gd name="T18" fmla="*/ 14 w 58"/>
                <a:gd name="T19" fmla="*/ 17 h 48"/>
                <a:gd name="T20" fmla="*/ 16 w 58"/>
                <a:gd name="T21" fmla="*/ 17 h 48"/>
                <a:gd name="T22" fmla="*/ 27 w 58"/>
                <a:gd name="T23" fmla="*/ 23 h 48"/>
                <a:gd name="T24" fmla="*/ 25 w 58"/>
                <a:gd name="T25" fmla="*/ 25 h 48"/>
                <a:gd name="T26" fmla="*/ 20 w 58"/>
                <a:gd name="T27" fmla="*/ 26 h 48"/>
                <a:gd name="T28" fmla="*/ 15 w 58"/>
                <a:gd name="T29" fmla="*/ 23 h 48"/>
                <a:gd name="T30" fmla="*/ 12 w 58"/>
                <a:gd name="T31" fmla="*/ 23 h 48"/>
                <a:gd name="T32" fmla="*/ 9 w 58"/>
                <a:gd name="T33" fmla="*/ 24 h 48"/>
                <a:gd name="T34" fmla="*/ 8 w 58"/>
                <a:gd name="T35" fmla="*/ 30 h 48"/>
                <a:gd name="T36" fmla="*/ 14 w 58"/>
                <a:gd name="T37" fmla="*/ 34 h 48"/>
                <a:gd name="T38" fmla="*/ 15 w 58"/>
                <a:gd name="T39" fmla="*/ 35 h 48"/>
                <a:gd name="T40" fmla="*/ 26 w 58"/>
                <a:gd name="T41" fmla="*/ 36 h 48"/>
                <a:gd name="T42" fmla="*/ 29 w 58"/>
                <a:gd name="T43" fmla="*/ 39 h 48"/>
                <a:gd name="T44" fmla="*/ 30 w 58"/>
                <a:gd name="T45" fmla="*/ 43 h 48"/>
                <a:gd name="T46" fmla="*/ 32 w 58"/>
                <a:gd name="T47" fmla="*/ 46 h 48"/>
                <a:gd name="T48" fmla="*/ 37 w 58"/>
                <a:gd name="T49" fmla="*/ 48 h 48"/>
                <a:gd name="T50" fmla="*/ 41 w 58"/>
                <a:gd name="T51" fmla="*/ 47 h 48"/>
                <a:gd name="T52" fmla="*/ 57 w 58"/>
                <a:gd name="T53" fmla="*/ 30 h 48"/>
                <a:gd name="T54" fmla="*/ 58 w 58"/>
                <a:gd name="T55" fmla="*/ 28 h 48"/>
                <a:gd name="T56" fmla="*/ 57 w 58"/>
                <a:gd name="T57" fmla="*/ 15 h 48"/>
                <a:gd name="T58" fmla="*/ 36 w 58"/>
                <a:gd name="T59" fmla="*/ 0 h 48"/>
                <a:gd name="T60" fmla="*/ 34 w 58"/>
                <a:gd name="T61" fmla="*/ 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8" h="48">
                  <a:moveTo>
                    <a:pt x="34" y="5"/>
                  </a:moveTo>
                  <a:cubicBezTo>
                    <a:pt x="30" y="7"/>
                    <a:pt x="30" y="7"/>
                    <a:pt x="30" y="7"/>
                  </a:cubicBezTo>
                  <a:cubicBezTo>
                    <a:pt x="29" y="7"/>
                    <a:pt x="28" y="7"/>
                    <a:pt x="27" y="7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6" y="4"/>
                    <a:pt x="16" y="4"/>
                    <a:pt x="15" y="4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10"/>
                    <a:pt x="0" y="13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6"/>
                    <a:pt x="3" y="16"/>
                    <a:pt x="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5" y="17"/>
                    <a:pt x="15" y="17"/>
                    <a:pt x="16" y="17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6"/>
                    <a:pt x="22" y="26"/>
                    <a:pt x="20" y="26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4" y="23"/>
                    <a:pt x="13" y="23"/>
                    <a:pt x="12" y="23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6" y="25"/>
                    <a:pt x="5" y="29"/>
                    <a:pt x="8" y="30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35"/>
                    <a:pt x="15" y="35"/>
                    <a:pt x="15" y="35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7" y="36"/>
                    <a:pt x="29" y="37"/>
                    <a:pt x="29" y="39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5"/>
                    <a:pt x="31" y="46"/>
                    <a:pt x="32" y="46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8" y="48"/>
                    <a:pt x="40" y="48"/>
                    <a:pt x="41" y="47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8" y="30"/>
                    <a:pt x="58" y="29"/>
                    <a:pt x="58" y="28"/>
                  </a:cubicBezTo>
                  <a:cubicBezTo>
                    <a:pt x="57" y="15"/>
                    <a:pt x="57" y="15"/>
                    <a:pt x="57" y="15"/>
                  </a:cubicBezTo>
                  <a:cubicBezTo>
                    <a:pt x="50" y="10"/>
                    <a:pt x="43" y="5"/>
                    <a:pt x="36" y="0"/>
                  </a:cubicBezTo>
                  <a:cubicBezTo>
                    <a:pt x="37" y="2"/>
                    <a:pt x="36" y="4"/>
                    <a:pt x="3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2" name="Freeform 2511">
            <a:extLst>
              <a:ext uri="{FF2B5EF4-FFF2-40B4-BE49-F238E27FC236}">
                <a16:creationId xmlns:a16="http://schemas.microsoft.com/office/drawing/2014/main" id="{483B4C71-0473-4422-9B48-DDD210B1D9F9}"/>
              </a:ext>
            </a:extLst>
          </p:cNvPr>
          <p:cNvSpPr>
            <a:spLocks noEditPoints="1"/>
          </p:cNvSpPr>
          <p:nvPr/>
        </p:nvSpPr>
        <p:spPr bwMode="auto">
          <a:xfrm>
            <a:off x="2232422" y="4915809"/>
            <a:ext cx="201613" cy="285750"/>
          </a:xfrm>
          <a:custGeom>
            <a:avLst/>
            <a:gdLst>
              <a:gd name="T0" fmla="*/ 288 w 631"/>
              <a:gd name="T1" fmla="*/ 449 h 901"/>
              <a:gd name="T2" fmla="*/ 251 w 631"/>
              <a:gd name="T3" fmla="*/ 434 h 901"/>
              <a:gd name="T4" fmla="*/ 220 w 631"/>
              <a:gd name="T5" fmla="*/ 411 h 901"/>
              <a:gd name="T6" fmla="*/ 196 w 631"/>
              <a:gd name="T7" fmla="*/ 380 h 901"/>
              <a:gd name="T8" fmla="*/ 183 w 631"/>
              <a:gd name="T9" fmla="*/ 343 h 901"/>
              <a:gd name="T10" fmla="*/ 180 w 631"/>
              <a:gd name="T11" fmla="*/ 302 h 901"/>
              <a:gd name="T12" fmla="*/ 190 w 631"/>
              <a:gd name="T13" fmla="*/ 264 h 901"/>
              <a:gd name="T14" fmla="*/ 211 w 631"/>
              <a:gd name="T15" fmla="*/ 231 h 901"/>
              <a:gd name="T16" fmla="*/ 240 w 631"/>
              <a:gd name="T17" fmla="*/ 204 h 901"/>
              <a:gd name="T18" fmla="*/ 275 w 631"/>
              <a:gd name="T19" fmla="*/ 186 h 901"/>
              <a:gd name="T20" fmla="*/ 315 w 631"/>
              <a:gd name="T21" fmla="*/ 181 h 901"/>
              <a:gd name="T22" fmla="*/ 355 w 631"/>
              <a:gd name="T23" fmla="*/ 186 h 901"/>
              <a:gd name="T24" fmla="*/ 391 w 631"/>
              <a:gd name="T25" fmla="*/ 204 h 901"/>
              <a:gd name="T26" fmla="*/ 419 w 631"/>
              <a:gd name="T27" fmla="*/ 231 h 901"/>
              <a:gd name="T28" fmla="*/ 439 w 631"/>
              <a:gd name="T29" fmla="*/ 264 h 901"/>
              <a:gd name="T30" fmla="*/ 449 w 631"/>
              <a:gd name="T31" fmla="*/ 302 h 901"/>
              <a:gd name="T32" fmla="*/ 448 w 631"/>
              <a:gd name="T33" fmla="*/ 343 h 901"/>
              <a:gd name="T34" fmla="*/ 434 w 631"/>
              <a:gd name="T35" fmla="*/ 380 h 901"/>
              <a:gd name="T36" fmla="*/ 411 w 631"/>
              <a:gd name="T37" fmla="*/ 411 h 901"/>
              <a:gd name="T38" fmla="*/ 380 w 631"/>
              <a:gd name="T39" fmla="*/ 435 h 901"/>
              <a:gd name="T40" fmla="*/ 342 w 631"/>
              <a:gd name="T41" fmla="*/ 449 h 901"/>
              <a:gd name="T42" fmla="*/ 315 w 631"/>
              <a:gd name="T43" fmla="*/ 0 h 901"/>
              <a:gd name="T44" fmla="*/ 267 w 631"/>
              <a:gd name="T45" fmla="*/ 4 h 901"/>
              <a:gd name="T46" fmla="*/ 221 w 631"/>
              <a:gd name="T47" fmla="*/ 15 h 901"/>
              <a:gd name="T48" fmla="*/ 178 w 631"/>
              <a:gd name="T49" fmla="*/ 31 h 901"/>
              <a:gd name="T50" fmla="*/ 139 w 631"/>
              <a:gd name="T51" fmla="*/ 54 h 901"/>
              <a:gd name="T52" fmla="*/ 103 w 631"/>
              <a:gd name="T53" fmla="*/ 83 h 901"/>
              <a:gd name="T54" fmla="*/ 71 w 631"/>
              <a:gd name="T55" fmla="*/ 115 h 901"/>
              <a:gd name="T56" fmla="*/ 45 w 631"/>
              <a:gd name="T57" fmla="*/ 152 h 901"/>
              <a:gd name="T58" fmla="*/ 24 w 631"/>
              <a:gd name="T59" fmla="*/ 193 h 901"/>
              <a:gd name="T60" fmla="*/ 10 w 631"/>
              <a:gd name="T61" fmla="*/ 237 h 901"/>
              <a:gd name="T62" fmla="*/ 1 w 631"/>
              <a:gd name="T63" fmla="*/ 283 h 901"/>
              <a:gd name="T64" fmla="*/ 1 w 631"/>
              <a:gd name="T65" fmla="*/ 333 h 901"/>
              <a:gd name="T66" fmla="*/ 12 w 631"/>
              <a:gd name="T67" fmla="*/ 389 h 901"/>
              <a:gd name="T68" fmla="*/ 35 w 631"/>
              <a:gd name="T69" fmla="*/ 453 h 901"/>
              <a:gd name="T70" fmla="*/ 92 w 631"/>
              <a:gd name="T71" fmla="*/ 570 h 901"/>
              <a:gd name="T72" fmla="*/ 175 w 631"/>
              <a:gd name="T73" fmla="*/ 707 h 901"/>
              <a:gd name="T74" fmla="*/ 251 w 631"/>
              <a:gd name="T75" fmla="*/ 822 h 901"/>
              <a:gd name="T76" fmla="*/ 306 w 631"/>
              <a:gd name="T77" fmla="*/ 898 h 901"/>
              <a:gd name="T78" fmla="*/ 315 w 631"/>
              <a:gd name="T79" fmla="*/ 901 h 901"/>
              <a:gd name="T80" fmla="*/ 325 w 631"/>
              <a:gd name="T81" fmla="*/ 898 h 901"/>
              <a:gd name="T82" fmla="*/ 380 w 631"/>
              <a:gd name="T83" fmla="*/ 822 h 901"/>
              <a:gd name="T84" fmla="*/ 456 w 631"/>
              <a:gd name="T85" fmla="*/ 707 h 901"/>
              <a:gd name="T86" fmla="*/ 537 w 631"/>
              <a:gd name="T87" fmla="*/ 570 h 901"/>
              <a:gd name="T88" fmla="*/ 594 w 631"/>
              <a:gd name="T89" fmla="*/ 453 h 901"/>
              <a:gd name="T90" fmla="*/ 618 w 631"/>
              <a:gd name="T91" fmla="*/ 389 h 901"/>
              <a:gd name="T92" fmla="*/ 630 w 631"/>
              <a:gd name="T93" fmla="*/ 333 h 901"/>
              <a:gd name="T94" fmla="*/ 629 w 631"/>
              <a:gd name="T95" fmla="*/ 283 h 901"/>
              <a:gd name="T96" fmla="*/ 621 w 631"/>
              <a:gd name="T97" fmla="*/ 237 h 901"/>
              <a:gd name="T98" fmla="*/ 605 w 631"/>
              <a:gd name="T99" fmla="*/ 193 h 901"/>
              <a:gd name="T100" fmla="*/ 585 w 631"/>
              <a:gd name="T101" fmla="*/ 152 h 901"/>
              <a:gd name="T102" fmla="*/ 558 w 631"/>
              <a:gd name="T103" fmla="*/ 116 h 901"/>
              <a:gd name="T104" fmla="*/ 527 w 631"/>
              <a:gd name="T105" fmla="*/ 83 h 901"/>
              <a:gd name="T106" fmla="*/ 491 w 631"/>
              <a:gd name="T107" fmla="*/ 54 h 901"/>
              <a:gd name="T108" fmla="*/ 451 w 631"/>
              <a:gd name="T109" fmla="*/ 31 h 901"/>
              <a:gd name="T110" fmla="*/ 408 w 631"/>
              <a:gd name="T111" fmla="*/ 15 h 901"/>
              <a:gd name="T112" fmla="*/ 363 w 631"/>
              <a:gd name="T113" fmla="*/ 5 h 901"/>
              <a:gd name="T114" fmla="*/ 315 w 631"/>
              <a:gd name="T115" fmla="*/ 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31" h="901">
                <a:moveTo>
                  <a:pt x="315" y="451"/>
                </a:moveTo>
                <a:lnTo>
                  <a:pt x="302" y="451"/>
                </a:lnTo>
                <a:lnTo>
                  <a:pt x="288" y="449"/>
                </a:lnTo>
                <a:lnTo>
                  <a:pt x="275" y="445"/>
                </a:lnTo>
                <a:lnTo>
                  <a:pt x="263" y="441"/>
                </a:lnTo>
                <a:lnTo>
                  <a:pt x="251" y="434"/>
                </a:lnTo>
                <a:lnTo>
                  <a:pt x="240" y="428"/>
                </a:lnTo>
                <a:lnTo>
                  <a:pt x="229" y="420"/>
                </a:lnTo>
                <a:lnTo>
                  <a:pt x="220" y="411"/>
                </a:lnTo>
                <a:lnTo>
                  <a:pt x="211" y="402"/>
                </a:lnTo>
                <a:lnTo>
                  <a:pt x="204" y="391"/>
                </a:lnTo>
                <a:lnTo>
                  <a:pt x="196" y="380"/>
                </a:lnTo>
                <a:lnTo>
                  <a:pt x="190" y="368"/>
                </a:lnTo>
                <a:lnTo>
                  <a:pt x="186" y="356"/>
                </a:lnTo>
                <a:lnTo>
                  <a:pt x="183" y="343"/>
                </a:lnTo>
                <a:lnTo>
                  <a:pt x="180" y="330"/>
                </a:lnTo>
                <a:lnTo>
                  <a:pt x="180" y="316"/>
                </a:lnTo>
                <a:lnTo>
                  <a:pt x="180" y="302"/>
                </a:lnTo>
                <a:lnTo>
                  <a:pt x="183" y="289"/>
                </a:lnTo>
                <a:lnTo>
                  <a:pt x="186" y="276"/>
                </a:lnTo>
                <a:lnTo>
                  <a:pt x="190" y="264"/>
                </a:lnTo>
                <a:lnTo>
                  <a:pt x="196" y="251"/>
                </a:lnTo>
                <a:lnTo>
                  <a:pt x="204" y="240"/>
                </a:lnTo>
                <a:lnTo>
                  <a:pt x="211" y="231"/>
                </a:lnTo>
                <a:lnTo>
                  <a:pt x="220" y="221"/>
                </a:lnTo>
                <a:lnTo>
                  <a:pt x="229" y="212"/>
                </a:lnTo>
                <a:lnTo>
                  <a:pt x="240" y="204"/>
                </a:lnTo>
                <a:lnTo>
                  <a:pt x="251" y="197"/>
                </a:lnTo>
                <a:lnTo>
                  <a:pt x="263" y="192"/>
                </a:lnTo>
                <a:lnTo>
                  <a:pt x="275" y="186"/>
                </a:lnTo>
                <a:lnTo>
                  <a:pt x="288" y="183"/>
                </a:lnTo>
                <a:lnTo>
                  <a:pt x="302" y="181"/>
                </a:lnTo>
                <a:lnTo>
                  <a:pt x="315" y="181"/>
                </a:lnTo>
                <a:lnTo>
                  <a:pt x="329" y="181"/>
                </a:lnTo>
                <a:lnTo>
                  <a:pt x="342" y="183"/>
                </a:lnTo>
                <a:lnTo>
                  <a:pt x="355" y="186"/>
                </a:lnTo>
                <a:lnTo>
                  <a:pt x="368" y="192"/>
                </a:lnTo>
                <a:lnTo>
                  <a:pt x="380" y="197"/>
                </a:lnTo>
                <a:lnTo>
                  <a:pt x="391" y="204"/>
                </a:lnTo>
                <a:lnTo>
                  <a:pt x="401" y="212"/>
                </a:lnTo>
                <a:lnTo>
                  <a:pt x="411" y="221"/>
                </a:lnTo>
                <a:lnTo>
                  <a:pt x="419" y="231"/>
                </a:lnTo>
                <a:lnTo>
                  <a:pt x="427" y="240"/>
                </a:lnTo>
                <a:lnTo>
                  <a:pt x="434" y="251"/>
                </a:lnTo>
                <a:lnTo>
                  <a:pt x="439" y="264"/>
                </a:lnTo>
                <a:lnTo>
                  <a:pt x="444" y="276"/>
                </a:lnTo>
                <a:lnTo>
                  <a:pt x="448" y="289"/>
                </a:lnTo>
                <a:lnTo>
                  <a:pt x="449" y="302"/>
                </a:lnTo>
                <a:lnTo>
                  <a:pt x="450" y="316"/>
                </a:lnTo>
                <a:lnTo>
                  <a:pt x="449" y="330"/>
                </a:lnTo>
                <a:lnTo>
                  <a:pt x="448" y="343"/>
                </a:lnTo>
                <a:lnTo>
                  <a:pt x="444" y="356"/>
                </a:lnTo>
                <a:lnTo>
                  <a:pt x="439" y="368"/>
                </a:lnTo>
                <a:lnTo>
                  <a:pt x="434" y="380"/>
                </a:lnTo>
                <a:lnTo>
                  <a:pt x="427" y="391"/>
                </a:lnTo>
                <a:lnTo>
                  <a:pt x="419" y="402"/>
                </a:lnTo>
                <a:lnTo>
                  <a:pt x="411" y="411"/>
                </a:lnTo>
                <a:lnTo>
                  <a:pt x="401" y="420"/>
                </a:lnTo>
                <a:lnTo>
                  <a:pt x="391" y="428"/>
                </a:lnTo>
                <a:lnTo>
                  <a:pt x="380" y="435"/>
                </a:lnTo>
                <a:lnTo>
                  <a:pt x="368" y="441"/>
                </a:lnTo>
                <a:lnTo>
                  <a:pt x="355" y="445"/>
                </a:lnTo>
                <a:lnTo>
                  <a:pt x="342" y="449"/>
                </a:lnTo>
                <a:lnTo>
                  <a:pt x="329" y="451"/>
                </a:lnTo>
                <a:lnTo>
                  <a:pt x="315" y="451"/>
                </a:lnTo>
                <a:close/>
                <a:moveTo>
                  <a:pt x="315" y="0"/>
                </a:moveTo>
                <a:lnTo>
                  <a:pt x="299" y="0"/>
                </a:lnTo>
                <a:lnTo>
                  <a:pt x="283" y="3"/>
                </a:lnTo>
                <a:lnTo>
                  <a:pt x="267" y="4"/>
                </a:lnTo>
                <a:lnTo>
                  <a:pt x="252" y="7"/>
                </a:lnTo>
                <a:lnTo>
                  <a:pt x="237" y="10"/>
                </a:lnTo>
                <a:lnTo>
                  <a:pt x="221" y="15"/>
                </a:lnTo>
                <a:lnTo>
                  <a:pt x="207" y="20"/>
                </a:lnTo>
                <a:lnTo>
                  <a:pt x="193" y="26"/>
                </a:lnTo>
                <a:lnTo>
                  <a:pt x="178" y="31"/>
                </a:lnTo>
                <a:lnTo>
                  <a:pt x="165" y="39"/>
                </a:lnTo>
                <a:lnTo>
                  <a:pt x="152" y="47"/>
                </a:lnTo>
                <a:lnTo>
                  <a:pt x="139" y="54"/>
                </a:lnTo>
                <a:lnTo>
                  <a:pt x="126" y="63"/>
                </a:lnTo>
                <a:lnTo>
                  <a:pt x="114" y="73"/>
                </a:lnTo>
                <a:lnTo>
                  <a:pt x="103" y="83"/>
                </a:lnTo>
                <a:lnTo>
                  <a:pt x="92" y="93"/>
                </a:lnTo>
                <a:lnTo>
                  <a:pt x="81" y="104"/>
                </a:lnTo>
                <a:lnTo>
                  <a:pt x="71" y="115"/>
                </a:lnTo>
                <a:lnTo>
                  <a:pt x="63" y="127"/>
                </a:lnTo>
                <a:lnTo>
                  <a:pt x="54" y="140"/>
                </a:lnTo>
                <a:lnTo>
                  <a:pt x="45" y="152"/>
                </a:lnTo>
                <a:lnTo>
                  <a:pt x="37" y="166"/>
                </a:lnTo>
                <a:lnTo>
                  <a:pt x="31" y="180"/>
                </a:lnTo>
                <a:lnTo>
                  <a:pt x="24" y="193"/>
                </a:lnTo>
                <a:lnTo>
                  <a:pt x="19" y="207"/>
                </a:lnTo>
                <a:lnTo>
                  <a:pt x="14" y="223"/>
                </a:lnTo>
                <a:lnTo>
                  <a:pt x="10" y="237"/>
                </a:lnTo>
                <a:lnTo>
                  <a:pt x="6" y="253"/>
                </a:lnTo>
                <a:lnTo>
                  <a:pt x="3" y="268"/>
                </a:lnTo>
                <a:lnTo>
                  <a:pt x="1" y="283"/>
                </a:lnTo>
                <a:lnTo>
                  <a:pt x="0" y="300"/>
                </a:lnTo>
                <a:lnTo>
                  <a:pt x="0" y="316"/>
                </a:lnTo>
                <a:lnTo>
                  <a:pt x="1" y="333"/>
                </a:lnTo>
                <a:lnTo>
                  <a:pt x="3" y="351"/>
                </a:lnTo>
                <a:lnTo>
                  <a:pt x="6" y="369"/>
                </a:lnTo>
                <a:lnTo>
                  <a:pt x="12" y="389"/>
                </a:lnTo>
                <a:lnTo>
                  <a:pt x="19" y="409"/>
                </a:lnTo>
                <a:lnTo>
                  <a:pt x="26" y="431"/>
                </a:lnTo>
                <a:lnTo>
                  <a:pt x="35" y="453"/>
                </a:lnTo>
                <a:lnTo>
                  <a:pt x="45" y="475"/>
                </a:lnTo>
                <a:lnTo>
                  <a:pt x="67" y="522"/>
                </a:lnTo>
                <a:lnTo>
                  <a:pt x="92" y="570"/>
                </a:lnTo>
                <a:lnTo>
                  <a:pt x="119" y="616"/>
                </a:lnTo>
                <a:lnTo>
                  <a:pt x="146" y="663"/>
                </a:lnTo>
                <a:lnTo>
                  <a:pt x="175" y="707"/>
                </a:lnTo>
                <a:lnTo>
                  <a:pt x="201" y="749"/>
                </a:lnTo>
                <a:lnTo>
                  <a:pt x="227" y="788"/>
                </a:lnTo>
                <a:lnTo>
                  <a:pt x="251" y="822"/>
                </a:lnTo>
                <a:lnTo>
                  <a:pt x="286" y="872"/>
                </a:lnTo>
                <a:lnTo>
                  <a:pt x="303" y="895"/>
                </a:lnTo>
                <a:lnTo>
                  <a:pt x="306" y="898"/>
                </a:lnTo>
                <a:lnTo>
                  <a:pt x="308" y="900"/>
                </a:lnTo>
                <a:lnTo>
                  <a:pt x="311" y="901"/>
                </a:lnTo>
                <a:lnTo>
                  <a:pt x="315" y="901"/>
                </a:lnTo>
                <a:lnTo>
                  <a:pt x="318" y="901"/>
                </a:lnTo>
                <a:lnTo>
                  <a:pt x="321" y="900"/>
                </a:lnTo>
                <a:lnTo>
                  <a:pt x="325" y="898"/>
                </a:lnTo>
                <a:lnTo>
                  <a:pt x="327" y="895"/>
                </a:lnTo>
                <a:lnTo>
                  <a:pt x="343" y="872"/>
                </a:lnTo>
                <a:lnTo>
                  <a:pt x="380" y="822"/>
                </a:lnTo>
                <a:lnTo>
                  <a:pt x="403" y="788"/>
                </a:lnTo>
                <a:lnTo>
                  <a:pt x="428" y="749"/>
                </a:lnTo>
                <a:lnTo>
                  <a:pt x="456" y="707"/>
                </a:lnTo>
                <a:lnTo>
                  <a:pt x="483" y="663"/>
                </a:lnTo>
                <a:lnTo>
                  <a:pt x="511" y="616"/>
                </a:lnTo>
                <a:lnTo>
                  <a:pt x="537" y="570"/>
                </a:lnTo>
                <a:lnTo>
                  <a:pt x="562" y="522"/>
                </a:lnTo>
                <a:lnTo>
                  <a:pt x="585" y="475"/>
                </a:lnTo>
                <a:lnTo>
                  <a:pt x="594" y="453"/>
                </a:lnTo>
                <a:lnTo>
                  <a:pt x="603" y="431"/>
                </a:lnTo>
                <a:lnTo>
                  <a:pt x="611" y="409"/>
                </a:lnTo>
                <a:lnTo>
                  <a:pt x="618" y="389"/>
                </a:lnTo>
                <a:lnTo>
                  <a:pt x="623" y="369"/>
                </a:lnTo>
                <a:lnTo>
                  <a:pt x="627" y="351"/>
                </a:lnTo>
                <a:lnTo>
                  <a:pt x="630" y="333"/>
                </a:lnTo>
                <a:lnTo>
                  <a:pt x="631" y="316"/>
                </a:lnTo>
                <a:lnTo>
                  <a:pt x="630" y="300"/>
                </a:lnTo>
                <a:lnTo>
                  <a:pt x="629" y="283"/>
                </a:lnTo>
                <a:lnTo>
                  <a:pt x="626" y="268"/>
                </a:lnTo>
                <a:lnTo>
                  <a:pt x="624" y="253"/>
                </a:lnTo>
                <a:lnTo>
                  <a:pt x="621" y="237"/>
                </a:lnTo>
                <a:lnTo>
                  <a:pt x="616" y="223"/>
                </a:lnTo>
                <a:lnTo>
                  <a:pt x="611" y="207"/>
                </a:lnTo>
                <a:lnTo>
                  <a:pt x="605" y="193"/>
                </a:lnTo>
                <a:lnTo>
                  <a:pt x="599" y="180"/>
                </a:lnTo>
                <a:lnTo>
                  <a:pt x="592" y="166"/>
                </a:lnTo>
                <a:lnTo>
                  <a:pt x="585" y="152"/>
                </a:lnTo>
                <a:lnTo>
                  <a:pt x="577" y="140"/>
                </a:lnTo>
                <a:lnTo>
                  <a:pt x="568" y="127"/>
                </a:lnTo>
                <a:lnTo>
                  <a:pt x="558" y="116"/>
                </a:lnTo>
                <a:lnTo>
                  <a:pt x="548" y="104"/>
                </a:lnTo>
                <a:lnTo>
                  <a:pt x="538" y="93"/>
                </a:lnTo>
                <a:lnTo>
                  <a:pt x="527" y="83"/>
                </a:lnTo>
                <a:lnTo>
                  <a:pt x="515" y="73"/>
                </a:lnTo>
                <a:lnTo>
                  <a:pt x="504" y="63"/>
                </a:lnTo>
                <a:lnTo>
                  <a:pt x="491" y="54"/>
                </a:lnTo>
                <a:lnTo>
                  <a:pt x="479" y="47"/>
                </a:lnTo>
                <a:lnTo>
                  <a:pt x="466" y="39"/>
                </a:lnTo>
                <a:lnTo>
                  <a:pt x="451" y="31"/>
                </a:lnTo>
                <a:lnTo>
                  <a:pt x="438" y="26"/>
                </a:lnTo>
                <a:lnTo>
                  <a:pt x="424" y="20"/>
                </a:lnTo>
                <a:lnTo>
                  <a:pt x="408" y="15"/>
                </a:lnTo>
                <a:lnTo>
                  <a:pt x="394" y="10"/>
                </a:lnTo>
                <a:lnTo>
                  <a:pt x="379" y="7"/>
                </a:lnTo>
                <a:lnTo>
                  <a:pt x="363" y="5"/>
                </a:lnTo>
                <a:lnTo>
                  <a:pt x="348" y="3"/>
                </a:lnTo>
                <a:lnTo>
                  <a:pt x="331" y="2"/>
                </a:lnTo>
                <a:lnTo>
                  <a:pt x="315" y="0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Freeform 2511">
            <a:extLst>
              <a:ext uri="{FF2B5EF4-FFF2-40B4-BE49-F238E27FC236}">
                <a16:creationId xmlns:a16="http://schemas.microsoft.com/office/drawing/2014/main" id="{356F3155-47FD-44A4-B29E-5543F6D92A2A}"/>
              </a:ext>
            </a:extLst>
          </p:cNvPr>
          <p:cNvSpPr>
            <a:spLocks noEditPoints="1"/>
          </p:cNvSpPr>
          <p:nvPr/>
        </p:nvSpPr>
        <p:spPr bwMode="auto">
          <a:xfrm>
            <a:off x="1502569" y="2246686"/>
            <a:ext cx="201613" cy="285750"/>
          </a:xfrm>
          <a:custGeom>
            <a:avLst/>
            <a:gdLst>
              <a:gd name="T0" fmla="*/ 288 w 631"/>
              <a:gd name="T1" fmla="*/ 449 h 901"/>
              <a:gd name="T2" fmla="*/ 251 w 631"/>
              <a:gd name="T3" fmla="*/ 434 h 901"/>
              <a:gd name="T4" fmla="*/ 220 w 631"/>
              <a:gd name="T5" fmla="*/ 411 h 901"/>
              <a:gd name="T6" fmla="*/ 196 w 631"/>
              <a:gd name="T7" fmla="*/ 380 h 901"/>
              <a:gd name="T8" fmla="*/ 183 w 631"/>
              <a:gd name="T9" fmla="*/ 343 h 901"/>
              <a:gd name="T10" fmla="*/ 180 w 631"/>
              <a:gd name="T11" fmla="*/ 302 h 901"/>
              <a:gd name="T12" fmla="*/ 190 w 631"/>
              <a:gd name="T13" fmla="*/ 264 h 901"/>
              <a:gd name="T14" fmla="*/ 211 w 631"/>
              <a:gd name="T15" fmla="*/ 231 h 901"/>
              <a:gd name="T16" fmla="*/ 240 w 631"/>
              <a:gd name="T17" fmla="*/ 204 h 901"/>
              <a:gd name="T18" fmla="*/ 275 w 631"/>
              <a:gd name="T19" fmla="*/ 186 h 901"/>
              <a:gd name="T20" fmla="*/ 315 w 631"/>
              <a:gd name="T21" fmla="*/ 181 h 901"/>
              <a:gd name="T22" fmla="*/ 355 w 631"/>
              <a:gd name="T23" fmla="*/ 186 h 901"/>
              <a:gd name="T24" fmla="*/ 391 w 631"/>
              <a:gd name="T25" fmla="*/ 204 h 901"/>
              <a:gd name="T26" fmla="*/ 419 w 631"/>
              <a:gd name="T27" fmla="*/ 231 h 901"/>
              <a:gd name="T28" fmla="*/ 439 w 631"/>
              <a:gd name="T29" fmla="*/ 264 h 901"/>
              <a:gd name="T30" fmla="*/ 449 w 631"/>
              <a:gd name="T31" fmla="*/ 302 h 901"/>
              <a:gd name="T32" fmla="*/ 448 w 631"/>
              <a:gd name="T33" fmla="*/ 343 h 901"/>
              <a:gd name="T34" fmla="*/ 434 w 631"/>
              <a:gd name="T35" fmla="*/ 380 h 901"/>
              <a:gd name="T36" fmla="*/ 411 w 631"/>
              <a:gd name="T37" fmla="*/ 411 h 901"/>
              <a:gd name="T38" fmla="*/ 380 w 631"/>
              <a:gd name="T39" fmla="*/ 435 h 901"/>
              <a:gd name="T40" fmla="*/ 342 w 631"/>
              <a:gd name="T41" fmla="*/ 449 h 901"/>
              <a:gd name="T42" fmla="*/ 315 w 631"/>
              <a:gd name="T43" fmla="*/ 0 h 901"/>
              <a:gd name="T44" fmla="*/ 267 w 631"/>
              <a:gd name="T45" fmla="*/ 4 h 901"/>
              <a:gd name="T46" fmla="*/ 221 w 631"/>
              <a:gd name="T47" fmla="*/ 15 h 901"/>
              <a:gd name="T48" fmla="*/ 178 w 631"/>
              <a:gd name="T49" fmla="*/ 31 h 901"/>
              <a:gd name="T50" fmla="*/ 139 w 631"/>
              <a:gd name="T51" fmla="*/ 54 h 901"/>
              <a:gd name="T52" fmla="*/ 103 w 631"/>
              <a:gd name="T53" fmla="*/ 83 h 901"/>
              <a:gd name="T54" fmla="*/ 71 w 631"/>
              <a:gd name="T55" fmla="*/ 115 h 901"/>
              <a:gd name="T56" fmla="*/ 45 w 631"/>
              <a:gd name="T57" fmla="*/ 152 h 901"/>
              <a:gd name="T58" fmla="*/ 24 w 631"/>
              <a:gd name="T59" fmla="*/ 193 h 901"/>
              <a:gd name="T60" fmla="*/ 10 w 631"/>
              <a:gd name="T61" fmla="*/ 237 h 901"/>
              <a:gd name="T62" fmla="*/ 1 w 631"/>
              <a:gd name="T63" fmla="*/ 283 h 901"/>
              <a:gd name="T64" fmla="*/ 1 w 631"/>
              <a:gd name="T65" fmla="*/ 333 h 901"/>
              <a:gd name="T66" fmla="*/ 12 w 631"/>
              <a:gd name="T67" fmla="*/ 389 h 901"/>
              <a:gd name="T68" fmla="*/ 35 w 631"/>
              <a:gd name="T69" fmla="*/ 453 h 901"/>
              <a:gd name="T70" fmla="*/ 92 w 631"/>
              <a:gd name="T71" fmla="*/ 570 h 901"/>
              <a:gd name="T72" fmla="*/ 175 w 631"/>
              <a:gd name="T73" fmla="*/ 707 h 901"/>
              <a:gd name="T74" fmla="*/ 251 w 631"/>
              <a:gd name="T75" fmla="*/ 822 h 901"/>
              <a:gd name="T76" fmla="*/ 306 w 631"/>
              <a:gd name="T77" fmla="*/ 898 h 901"/>
              <a:gd name="T78" fmla="*/ 315 w 631"/>
              <a:gd name="T79" fmla="*/ 901 h 901"/>
              <a:gd name="T80" fmla="*/ 325 w 631"/>
              <a:gd name="T81" fmla="*/ 898 h 901"/>
              <a:gd name="T82" fmla="*/ 380 w 631"/>
              <a:gd name="T83" fmla="*/ 822 h 901"/>
              <a:gd name="T84" fmla="*/ 456 w 631"/>
              <a:gd name="T85" fmla="*/ 707 h 901"/>
              <a:gd name="T86" fmla="*/ 537 w 631"/>
              <a:gd name="T87" fmla="*/ 570 h 901"/>
              <a:gd name="T88" fmla="*/ 594 w 631"/>
              <a:gd name="T89" fmla="*/ 453 h 901"/>
              <a:gd name="T90" fmla="*/ 618 w 631"/>
              <a:gd name="T91" fmla="*/ 389 h 901"/>
              <a:gd name="T92" fmla="*/ 630 w 631"/>
              <a:gd name="T93" fmla="*/ 333 h 901"/>
              <a:gd name="T94" fmla="*/ 629 w 631"/>
              <a:gd name="T95" fmla="*/ 283 h 901"/>
              <a:gd name="T96" fmla="*/ 621 w 631"/>
              <a:gd name="T97" fmla="*/ 237 h 901"/>
              <a:gd name="T98" fmla="*/ 605 w 631"/>
              <a:gd name="T99" fmla="*/ 193 h 901"/>
              <a:gd name="T100" fmla="*/ 585 w 631"/>
              <a:gd name="T101" fmla="*/ 152 h 901"/>
              <a:gd name="T102" fmla="*/ 558 w 631"/>
              <a:gd name="T103" fmla="*/ 116 h 901"/>
              <a:gd name="T104" fmla="*/ 527 w 631"/>
              <a:gd name="T105" fmla="*/ 83 h 901"/>
              <a:gd name="T106" fmla="*/ 491 w 631"/>
              <a:gd name="T107" fmla="*/ 54 h 901"/>
              <a:gd name="T108" fmla="*/ 451 w 631"/>
              <a:gd name="T109" fmla="*/ 31 h 901"/>
              <a:gd name="T110" fmla="*/ 408 w 631"/>
              <a:gd name="T111" fmla="*/ 15 h 901"/>
              <a:gd name="T112" fmla="*/ 363 w 631"/>
              <a:gd name="T113" fmla="*/ 5 h 901"/>
              <a:gd name="T114" fmla="*/ 315 w 631"/>
              <a:gd name="T115" fmla="*/ 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31" h="901">
                <a:moveTo>
                  <a:pt x="315" y="451"/>
                </a:moveTo>
                <a:lnTo>
                  <a:pt x="302" y="451"/>
                </a:lnTo>
                <a:lnTo>
                  <a:pt x="288" y="449"/>
                </a:lnTo>
                <a:lnTo>
                  <a:pt x="275" y="445"/>
                </a:lnTo>
                <a:lnTo>
                  <a:pt x="263" y="441"/>
                </a:lnTo>
                <a:lnTo>
                  <a:pt x="251" y="434"/>
                </a:lnTo>
                <a:lnTo>
                  <a:pt x="240" y="428"/>
                </a:lnTo>
                <a:lnTo>
                  <a:pt x="229" y="420"/>
                </a:lnTo>
                <a:lnTo>
                  <a:pt x="220" y="411"/>
                </a:lnTo>
                <a:lnTo>
                  <a:pt x="211" y="402"/>
                </a:lnTo>
                <a:lnTo>
                  <a:pt x="204" y="391"/>
                </a:lnTo>
                <a:lnTo>
                  <a:pt x="196" y="380"/>
                </a:lnTo>
                <a:lnTo>
                  <a:pt x="190" y="368"/>
                </a:lnTo>
                <a:lnTo>
                  <a:pt x="186" y="356"/>
                </a:lnTo>
                <a:lnTo>
                  <a:pt x="183" y="343"/>
                </a:lnTo>
                <a:lnTo>
                  <a:pt x="180" y="330"/>
                </a:lnTo>
                <a:lnTo>
                  <a:pt x="180" y="316"/>
                </a:lnTo>
                <a:lnTo>
                  <a:pt x="180" y="302"/>
                </a:lnTo>
                <a:lnTo>
                  <a:pt x="183" y="289"/>
                </a:lnTo>
                <a:lnTo>
                  <a:pt x="186" y="276"/>
                </a:lnTo>
                <a:lnTo>
                  <a:pt x="190" y="264"/>
                </a:lnTo>
                <a:lnTo>
                  <a:pt x="196" y="251"/>
                </a:lnTo>
                <a:lnTo>
                  <a:pt x="204" y="240"/>
                </a:lnTo>
                <a:lnTo>
                  <a:pt x="211" y="231"/>
                </a:lnTo>
                <a:lnTo>
                  <a:pt x="220" y="221"/>
                </a:lnTo>
                <a:lnTo>
                  <a:pt x="229" y="212"/>
                </a:lnTo>
                <a:lnTo>
                  <a:pt x="240" y="204"/>
                </a:lnTo>
                <a:lnTo>
                  <a:pt x="251" y="197"/>
                </a:lnTo>
                <a:lnTo>
                  <a:pt x="263" y="192"/>
                </a:lnTo>
                <a:lnTo>
                  <a:pt x="275" y="186"/>
                </a:lnTo>
                <a:lnTo>
                  <a:pt x="288" y="183"/>
                </a:lnTo>
                <a:lnTo>
                  <a:pt x="302" y="181"/>
                </a:lnTo>
                <a:lnTo>
                  <a:pt x="315" y="181"/>
                </a:lnTo>
                <a:lnTo>
                  <a:pt x="329" y="181"/>
                </a:lnTo>
                <a:lnTo>
                  <a:pt x="342" y="183"/>
                </a:lnTo>
                <a:lnTo>
                  <a:pt x="355" y="186"/>
                </a:lnTo>
                <a:lnTo>
                  <a:pt x="368" y="192"/>
                </a:lnTo>
                <a:lnTo>
                  <a:pt x="380" y="197"/>
                </a:lnTo>
                <a:lnTo>
                  <a:pt x="391" y="204"/>
                </a:lnTo>
                <a:lnTo>
                  <a:pt x="401" y="212"/>
                </a:lnTo>
                <a:lnTo>
                  <a:pt x="411" y="221"/>
                </a:lnTo>
                <a:lnTo>
                  <a:pt x="419" y="231"/>
                </a:lnTo>
                <a:lnTo>
                  <a:pt x="427" y="240"/>
                </a:lnTo>
                <a:lnTo>
                  <a:pt x="434" y="251"/>
                </a:lnTo>
                <a:lnTo>
                  <a:pt x="439" y="264"/>
                </a:lnTo>
                <a:lnTo>
                  <a:pt x="444" y="276"/>
                </a:lnTo>
                <a:lnTo>
                  <a:pt x="448" y="289"/>
                </a:lnTo>
                <a:lnTo>
                  <a:pt x="449" y="302"/>
                </a:lnTo>
                <a:lnTo>
                  <a:pt x="450" y="316"/>
                </a:lnTo>
                <a:lnTo>
                  <a:pt x="449" y="330"/>
                </a:lnTo>
                <a:lnTo>
                  <a:pt x="448" y="343"/>
                </a:lnTo>
                <a:lnTo>
                  <a:pt x="444" y="356"/>
                </a:lnTo>
                <a:lnTo>
                  <a:pt x="439" y="368"/>
                </a:lnTo>
                <a:lnTo>
                  <a:pt x="434" y="380"/>
                </a:lnTo>
                <a:lnTo>
                  <a:pt x="427" y="391"/>
                </a:lnTo>
                <a:lnTo>
                  <a:pt x="419" y="402"/>
                </a:lnTo>
                <a:lnTo>
                  <a:pt x="411" y="411"/>
                </a:lnTo>
                <a:lnTo>
                  <a:pt x="401" y="420"/>
                </a:lnTo>
                <a:lnTo>
                  <a:pt x="391" y="428"/>
                </a:lnTo>
                <a:lnTo>
                  <a:pt x="380" y="435"/>
                </a:lnTo>
                <a:lnTo>
                  <a:pt x="368" y="441"/>
                </a:lnTo>
                <a:lnTo>
                  <a:pt x="355" y="445"/>
                </a:lnTo>
                <a:lnTo>
                  <a:pt x="342" y="449"/>
                </a:lnTo>
                <a:lnTo>
                  <a:pt x="329" y="451"/>
                </a:lnTo>
                <a:lnTo>
                  <a:pt x="315" y="451"/>
                </a:lnTo>
                <a:close/>
                <a:moveTo>
                  <a:pt x="315" y="0"/>
                </a:moveTo>
                <a:lnTo>
                  <a:pt x="299" y="0"/>
                </a:lnTo>
                <a:lnTo>
                  <a:pt x="283" y="3"/>
                </a:lnTo>
                <a:lnTo>
                  <a:pt x="267" y="4"/>
                </a:lnTo>
                <a:lnTo>
                  <a:pt x="252" y="7"/>
                </a:lnTo>
                <a:lnTo>
                  <a:pt x="237" y="10"/>
                </a:lnTo>
                <a:lnTo>
                  <a:pt x="221" y="15"/>
                </a:lnTo>
                <a:lnTo>
                  <a:pt x="207" y="20"/>
                </a:lnTo>
                <a:lnTo>
                  <a:pt x="193" y="26"/>
                </a:lnTo>
                <a:lnTo>
                  <a:pt x="178" y="31"/>
                </a:lnTo>
                <a:lnTo>
                  <a:pt x="165" y="39"/>
                </a:lnTo>
                <a:lnTo>
                  <a:pt x="152" y="47"/>
                </a:lnTo>
                <a:lnTo>
                  <a:pt x="139" y="54"/>
                </a:lnTo>
                <a:lnTo>
                  <a:pt x="126" y="63"/>
                </a:lnTo>
                <a:lnTo>
                  <a:pt x="114" y="73"/>
                </a:lnTo>
                <a:lnTo>
                  <a:pt x="103" y="83"/>
                </a:lnTo>
                <a:lnTo>
                  <a:pt x="92" y="93"/>
                </a:lnTo>
                <a:lnTo>
                  <a:pt x="81" y="104"/>
                </a:lnTo>
                <a:lnTo>
                  <a:pt x="71" y="115"/>
                </a:lnTo>
                <a:lnTo>
                  <a:pt x="63" y="127"/>
                </a:lnTo>
                <a:lnTo>
                  <a:pt x="54" y="140"/>
                </a:lnTo>
                <a:lnTo>
                  <a:pt x="45" y="152"/>
                </a:lnTo>
                <a:lnTo>
                  <a:pt x="37" y="166"/>
                </a:lnTo>
                <a:lnTo>
                  <a:pt x="31" y="180"/>
                </a:lnTo>
                <a:lnTo>
                  <a:pt x="24" y="193"/>
                </a:lnTo>
                <a:lnTo>
                  <a:pt x="19" y="207"/>
                </a:lnTo>
                <a:lnTo>
                  <a:pt x="14" y="223"/>
                </a:lnTo>
                <a:lnTo>
                  <a:pt x="10" y="237"/>
                </a:lnTo>
                <a:lnTo>
                  <a:pt x="6" y="253"/>
                </a:lnTo>
                <a:lnTo>
                  <a:pt x="3" y="268"/>
                </a:lnTo>
                <a:lnTo>
                  <a:pt x="1" y="283"/>
                </a:lnTo>
                <a:lnTo>
                  <a:pt x="0" y="300"/>
                </a:lnTo>
                <a:lnTo>
                  <a:pt x="0" y="316"/>
                </a:lnTo>
                <a:lnTo>
                  <a:pt x="1" y="333"/>
                </a:lnTo>
                <a:lnTo>
                  <a:pt x="3" y="351"/>
                </a:lnTo>
                <a:lnTo>
                  <a:pt x="6" y="369"/>
                </a:lnTo>
                <a:lnTo>
                  <a:pt x="12" y="389"/>
                </a:lnTo>
                <a:lnTo>
                  <a:pt x="19" y="409"/>
                </a:lnTo>
                <a:lnTo>
                  <a:pt x="26" y="431"/>
                </a:lnTo>
                <a:lnTo>
                  <a:pt x="35" y="453"/>
                </a:lnTo>
                <a:lnTo>
                  <a:pt x="45" y="475"/>
                </a:lnTo>
                <a:lnTo>
                  <a:pt x="67" y="522"/>
                </a:lnTo>
                <a:lnTo>
                  <a:pt x="92" y="570"/>
                </a:lnTo>
                <a:lnTo>
                  <a:pt x="119" y="616"/>
                </a:lnTo>
                <a:lnTo>
                  <a:pt x="146" y="663"/>
                </a:lnTo>
                <a:lnTo>
                  <a:pt x="175" y="707"/>
                </a:lnTo>
                <a:lnTo>
                  <a:pt x="201" y="749"/>
                </a:lnTo>
                <a:lnTo>
                  <a:pt x="227" y="788"/>
                </a:lnTo>
                <a:lnTo>
                  <a:pt x="251" y="822"/>
                </a:lnTo>
                <a:lnTo>
                  <a:pt x="286" y="872"/>
                </a:lnTo>
                <a:lnTo>
                  <a:pt x="303" y="895"/>
                </a:lnTo>
                <a:lnTo>
                  <a:pt x="306" y="898"/>
                </a:lnTo>
                <a:lnTo>
                  <a:pt x="308" y="900"/>
                </a:lnTo>
                <a:lnTo>
                  <a:pt x="311" y="901"/>
                </a:lnTo>
                <a:lnTo>
                  <a:pt x="315" y="901"/>
                </a:lnTo>
                <a:lnTo>
                  <a:pt x="318" y="901"/>
                </a:lnTo>
                <a:lnTo>
                  <a:pt x="321" y="900"/>
                </a:lnTo>
                <a:lnTo>
                  <a:pt x="325" y="898"/>
                </a:lnTo>
                <a:lnTo>
                  <a:pt x="327" y="895"/>
                </a:lnTo>
                <a:lnTo>
                  <a:pt x="343" y="872"/>
                </a:lnTo>
                <a:lnTo>
                  <a:pt x="380" y="822"/>
                </a:lnTo>
                <a:lnTo>
                  <a:pt x="403" y="788"/>
                </a:lnTo>
                <a:lnTo>
                  <a:pt x="428" y="749"/>
                </a:lnTo>
                <a:lnTo>
                  <a:pt x="456" y="707"/>
                </a:lnTo>
                <a:lnTo>
                  <a:pt x="483" y="663"/>
                </a:lnTo>
                <a:lnTo>
                  <a:pt x="511" y="616"/>
                </a:lnTo>
                <a:lnTo>
                  <a:pt x="537" y="570"/>
                </a:lnTo>
                <a:lnTo>
                  <a:pt x="562" y="522"/>
                </a:lnTo>
                <a:lnTo>
                  <a:pt x="585" y="475"/>
                </a:lnTo>
                <a:lnTo>
                  <a:pt x="594" y="453"/>
                </a:lnTo>
                <a:lnTo>
                  <a:pt x="603" y="431"/>
                </a:lnTo>
                <a:lnTo>
                  <a:pt x="611" y="409"/>
                </a:lnTo>
                <a:lnTo>
                  <a:pt x="618" y="389"/>
                </a:lnTo>
                <a:lnTo>
                  <a:pt x="623" y="369"/>
                </a:lnTo>
                <a:lnTo>
                  <a:pt x="627" y="351"/>
                </a:lnTo>
                <a:lnTo>
                  <a:pt x="630" y="333"/>
                </a:lnTo>
                <a:lnTo>
                  <a:pt x="631" y="316"/>
                </a:lnTo>
                <a:lnTo>
                  <a:pt x="630" y="300"/>
                </a:lnTo>
                <a:lnTo>
                  <a:pt x="629" y="283"/>
                </a:lnTo>
                <a:lnTo>
                  <a:pt x="626" y="268"/>
                </a:lnTo>
                <a:lnTo>
                  <a:pt x="624" y="253"/>
                </a:lnTo>
                <a:lnTo>
                  <a:pt x="621" y="237"/>
                </a:lnTo>
                <a:lnTo>
                  <a:pt x="616" y="223"/>
                </a:lnTo>
                <a:lnTo>
                  <a:pt x="611" y="207"/>
                </a:lnTo>
                <a:lnTo>
                  <a:pt x="605" y="193"/>
                </a:lnTo>
                <a:lnTo>
                  <a:pt x="599" y="180"/>
                </a:lnTo>
                <a:lnTo>
                  <a:pt x="592" y="166"/>
                </a:lnTo>
                <a:lnTo>
                  <a:pt x="585" y="152"/>
                </a:lnTo>
                <a:lnTo>
                  <a:pt x="577" y="140"/>
                </a:lnTo>
                <a:lnTo>
                  <a:pt x="568" y="127"/>
                </a:lnTo>
                <a:lnTo>
                  <a:pt x="558" y="116"/>
                </a:lnTo>
                <a:lnTo>
                  <a:pt x="548" y="104"/>
                </a:lnTo>
                <a:lnTo>
                  <a:pt x="538" y="93"/>
                </a:lnTo>
                <a:lnTo>
                  <a:pt x="527" y="83"/>
                </a:lnTo>
                <a:lnTo>
                  <a:pt x="515" y="73"/>
                </a:lnTo>
                <a:lnTo>
                  <a:pt x="504" y="63"/>
                </a:lnTo>
                <a:lnTo>
                  <a:pt x="491" y="54"/>
                </a:lnTo>
                <a:lnTo>
                  <a:pt x="479" y="47"/>
                </a:lnTo>
                <a:lnTo>
                  <a:pt x="466" y="39"/>
                </a:lnTo>
                <a:lnTo>
                  <a:pt x="451" y="31"/>
                </a:lnTo>
                <a:lnTo>
                  <a:pt x="438" y="26"/>
                </a:lnTo>
                <a:lnTo>
                  <a:pt x="424" y="20"/>
                </a:lnTo>
                <a:lnTo>
                  <a:pt x="408" y="15"/>
                </a:lnTo>
                <a:lnTo>
                  <a:pt x="394" y="10"/>
                </a:lnTo>
                <a:lnTo>
                  <a:pt x="379" y="7"/>
                </a:lnTo>
                <a:lnTo>
                  <a:pt x="363" y="5"/>
                </a:lnTo>
                <a:lnTo>
                  <a:pt x="348" y="3"/>
                </a:lnTo>
                <a:lnTo>
                  <a:pt x="331" y="2"/>
                </a:lnTo>
                <a:lnTo>
                  <a:pt x="315" y="0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Freeform 2511">
            <a:extLst>
              <a:ext uri="{FF2B5EF4-FFF2-40B4-BE49-F238E27FC236}">
                <a16:creationId xmlns:a16="http://schemas.microsoft.com/office/drawing/2014/main" id="{3D17B880-C2E3-4713-8D77-6F90A1B5E98B}"/>
              </a:ext>
            </a:extLst>
          </p:cNvPr>
          <p:cNvSpPr>
            <a:spLocks noEditPoints="1"/>
          </p:cNvSpPr>
          <p:nvPr/>
        </p:nvSpPr>
        <p:spPr bwMode="auto">
          <a:xfrm>
            <a:off x="4109990" y="4749681"/>
            <a:ext cx="201613" cy="285750"/>
          </a:xfrm>
          <a:custGeom>
            <a:avLst/>
            <a:gdLst>
              <a:gd name="T0" fmla="*/ 288 w 631"/>
              <a:gd name="T1" fmla="*/ 449 h 901"/>
              <a:gd name="T2" fmla="*/ 251 w 631"/>
              <a:gd name="T3" fmla="*/ 434 h 901"/>
              <a:gd name="T4" fmla="*/ 220 w 631"/>
              <a:gd name="T5" fmla="*/ 411 h 901"/>
              <a:gd name="T6" fmla="*/ 196 w 631"/>
              <a:gd name="T7" fmla="*/ 380 h 901"/>
              <a:gd name="T8" fmla="*/ 183 w 631"/>
              <a:gd name="T9" fmla="*/ 343 h 901"/>
              <a:gd name="T10" fmla="*/ 180 w 631"/>
              <a:gd name="T11" fmla="*/ 302 h 901"/>
              <a:gd name="T12" fmla="*/ 190 w 631"/>
              <a:gd name="T13" fmla="*/ 264 h 901"/>
              <a:gd name="T14" fmla="*/ 211 w 631"/>
              <a:gd name="T15" fmla="*/ 231 h 901"/>
              <a:gd name="T16" fmla="*/ 240 w 631"/>
              <a:gd name="T17" fmla="*/ 204 h 901"/>
              <a:gd name="T18" fmla="*/ 275 w 631"/>
              <a:gd name="T19" fmla="*/ 186 h 901"/>
              <a:gd name="T20" fmla="*/ 315 w 631"/>
              <a:gd name="T21" fmla="*/ 181 h 901"/>
              <a:gd name="T22" fmla="*/ 355 w 631"/>
              <a:gd name="T23" fmla="*/ 186 h 901"/>
              <a:gd name="T24" fmla="*/ 391 w 631"/>
              <a:gd name="T25" fmla="*/ 204 h 901"/>
              <a:gd name="T26" fmla="*/ 419 w 631"/>
              <a:gd name="T27" fmla="*/ 231 h 901"/>
              <a:gd name="T28" fmla="*/ 439 w 631"/>
              <a:gd name="T29" fmla="*/ 264 h 901"/>
              <a:gd name="T30" fmla="*/ 449 w 631"/>
              <a:gd name="T31" fmla="*/ 302 h 901"/>
              <a:gd name="T32" fmla="*/ 448 w 631"/>
              <a:gd name="T33" fmla="*/ 343 h 901"/>
              <a:gd name="T34" fmla="*/ 434 w 631"/>
              <a:gd name="T35" fmla="*/ 380 h 901"/>
              <a:gd name="T36" fmla="*/ 411 w 631"/>
              <a:gd name="T37" fmla="*/ 411 h 901"/>
              <a:gd name="T38" fmla="*/ 380 w 631"/>
              <a:gd name="T39" fmla="*/ 435 h 901"/>
              <a:gd name="T40" fmla="*/ 342 w 631"/>
              <a:gd name="T41" fmla="*/ 449 h 901"/>
              <a:gd name="T42" fmla="*/ 315 w 631"/>
              <a:gd name="T43" fmla="*/ 0 h 901"/>
              <a:gd name="T44" fmla="*/ 267 w 631"/>
              <a:gd name="T45" fmla="*/ 4 h 901"/>
              <a:gd name="T46" fmla="*/ 221 w 631"/>
              <a:gd name="T47" fmla="*/ 15 h 901"/>
              <a:gd name="T48" fmla="*/ 178 w 631"/>
              <a:gd name="T49" fmla="*/ 31 h 901"/>
              <a:gd name="T50" fmla="*/ 139 w 631"/>
              <a:gd name="T51" fmla="*/ 54 h 901"/>
              <a:gd name="T52" fmla="*/ 103 w 631"/>
              <a:gd name="T53" fmla="*/ 83 h 901"/>
              <a:gd name="T54" fmla="*/ 71 w 631"/>
              <a:gd name="T55" fmla="*/ 115 h 901"/>
              <a:gd name="T56" fmla="*/ 45 w 631"/>
              <a:gd name="T57" fmla="*/ 152 h 901"/>
              <a:gd name="T58" fmla="*/ 24 w 631"/>
              <a:gd name="T59" fmla="*/ 193 h 901"/>
              <a:gd name="T60" fmla="*/ 10 w 631"/>
              <a:gd name="T61" fmla="*/ 237 h 901"/>
              <a:gd name="T62" fmla="*/ 1 w 631"/>
              <a:gd name="T63" fmla="*/ 283 h 901"/>
              <a:gd name="T64" fmla="*/ 1 w 631"/>
              <a:gd name="T65" fmla="*/ 333 h 901"/>
              <a:gd name="T66" fmla="*/ 12 w 631"/>
              <a:gd name="T67" fmla="*/ 389 h 901"/>
              <a:gd name="T68" fmla="*/ 35 w 631"/>
              <a:gd name="T69" fmla="*/ 453 h 901"/>
              <a:gd name="T70" fmla="*/ 92 w 631"/>
              <a:gd name="T71" fmla="*/ 570 h 901"/>
              <a:gd name="T72" fmla="*/ 175 w 631"/>
              <a:gd name="T73" fmla="*/ 707 h 901"/>
              <a:gd name="T74" fmla="*/ 251 w 631"/>
              <a:gd name="T75" fmla="*/ 822 h 901"/>
              <a:gd name="T76" fmla="*/ 306 w 631"/>
              <a:gd name="T77" fmla="*/ 898 h 901"/>
              <a:gd name="T78" fmla="*/ 315 w 631"/>
              <a:gd name="T79" fmla="*/ 901 h 901"/>
              <a:gd name="T80" fmla="*/ 325 w 631"/>
              <a:gd name="T81" fmla="*/ 898 h 901"/>
              <a:gd name="T82" fmla="*/ 380 w 631"/>
              <a:gd name="T83" fmla="*/ 822 h 901"/>
              <a:gd name="T84" fmla="*/ 456 w 631"/>
              <a:gd name="T85" fmla="*/ 707 h 901"/>
              <a:gd name="T86" fmla="*/ 537 w 631"/>
              <a:gd name="T87" fmla="*/ 570 h 901"/>
              <a:gd name="T88" fmla="*/ 594 w 631"/>
              <a:gd name="T89" fmla="*/ 453 h 901"/>
              <a:gd name="T90" fmla="*/ 618 w 631"/>
              <a:gd name="T91" fmla="*/ 389 h 901"/>
              <a:gd name="T92" fmla="*/ 630 w 631"/>
              <a:gd name="T93" fmla="*/ 333 h 901"/>
              <a:gd name="T94" fmla="*/ 629 w 631"/>
              <a:gd name="T95" fmla="*/ 283 h 901"/>
              <a:gd name="T96" fmla="*/ 621 w 631"/>
              <a:gd name="T97" fmla="*/ 237 h 901"/>
              <a:gd name="T98" fmla="*/ 605 w 631"/>
              <a:gd name="T99" fmla="*/ 193 h 901"/>
              <a:gd name="T100" fmla="*/ 585 w 631"/>
              <a:gd name="T101" fmla="*/ 152 h 901"/>
              <a:gd name="T102" fmla="*/ 558 w 631"/>
              <a:gd name="T103" fmla="*/ 116 h 901"/>
              <a:gd name="T104" fmla="*/ 527 w 631"/>
              <a:gd name="T105" fmla="*/ 83 h 901"/>
              <a:gd name="T106" fmla="*/ 491 w 631"/>
              <a:gd name="T107" fmla="*/ 54 h 901"/>
              <a:gd name="T108" fmla="*/ 451 w 631"/>
              <a:gd name="T109" fmla="*/ 31 h 901"/>
              <a:gd name="T110" fmla="*/ 408 w 631"/>
              <a:gd name="T111" fmla="*/ 15 h 901"/>
              <a:gd name="T112" fmla="*/ 363 w 631"/>
              <a:gd name="T113" fmla="*/ 5 h 901"/>
              <a:gd name="T114" fmla="*/ 315 w 631"/>
              <a:gd name="T115" fmla="*/ 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31" h="901">
                <a:moveTo>
                  <a:pt x="315" y="451"/>
                </a:moveTo>
                <a:lnTo>
                  <a:pt x="302" y="451"/>
                </a:lnTo>
                <a:lnTo>
                  <a:pt x="288" y="449"/>
                </a:lnTo>
                <a:lnTo>
                  <a:pt x="275" y="445"/>
                </a:lnTo>
                <a:lnTo>
                  <a:pt x="263" y="441"/>
                </a:lnTo>
                <a:lnTo>
                  <a:pt x="251" y="434"/>
                </a:lnTo>
                <a:lnTo>
                  <a:pt x="240" y="428"/>
                </a:lnTo>
                <a:lnTo>
                  <a:pt x="229" y="420"/>
                </a:lnTo>
                <a:lnTo>
                  <a:pt x="220" y="411"/>
                </a:lnTo>
                <a:lnTo>
                  <a:pt x="211" y="402"/>
                </a:lnTo>
                <a:lnTo>
                  <a:pt x="204" y="391"/>
                </a:lnTo>
                <a:lnTo>
                  <a:pt x="196" y="380"/>
                </a:lnTo>
                <a:lnTo>
                  <a:pt x="190" y="368"/>
                </a:lnTo>
                <a:lnTo>
                  <a:pt x="186" y="356"/>
                </a:lnTo>
                <a:lnTo>
                  <a:pt x="183" y="343"/>
                </a:lnTo>
                <a:lnTo>
                  <a:pt x="180" y="330"/>
                </a:lnTo>
                <a:lnTo>
                  <a:pt x="180" y="316"/>
                </a:lnTo>
                <a:lnTo>
                  <a:pt x="180" y="302"/>
                </a:lnTo>
                <a:lnTo>
                  <a:pt x="183" y="289"/>
                </a:lnTo>
                <a:lnTo>
                  <a:pt x="186" y="276"/>
                </a:lnTo>
                <a:lnTo>
                  <a:pt x="190" y="264"/>
                </a:lnTo>
                <a:lnTo>
                  <a:pt x="196" y="251"/>
                </a:lnTo>
                <a:lnTo>
                  <a:pt x="204" y="240"/>
                </a:lnTo>
                <a:lnTo>
                  <a:pt x="211" y="231"/>
                </a:lnTo>
                <a:lnTo>
                  <a:pt x="220" y="221"/>
                </a:lnTo>
                <a:lnTo>
                  <a:pt x="229" y="212"/>
                </a:lnTo>
                <a:lnTo>
                  <a:pt x="240" y="204"/>
                </a:lnTo>
                <a:lnTo>
                  <a:pt x="251" y="197"/>
                </a:lnTo>
                <a:lnTo>
                  <a:pt x="263" y="192"/>
                </a:lnTo>
                <a:lnTo>
                  <a:pt x="275" y="186"/>
                </a:lnTo>
                <a:lnTo>
                  <a:pt x="288" y="183"/>
                </a:lnTo>
                <a:lnTo>
                  <a:pt x="302" y="181"/>
                </a:lnTo>
                <a:lnTo>
                  <a:pt x="315" y="181"/>
                </a:lnTo>
                <a:lnTo>
                  <a:pt x="329" y="181"/>
                </a:lnTo>
                <a:lnTo>
                  <a:pt x="342" y="183"/>
                </a:lnTo>
                <a:lnTo>
                  <a:pt x="355" y="186"/>
                </a:lnTo>
                <a:lnTo>
                  <a:pt x="368" y="192"/>
                </a:lnTo>
                <a:lnTo>
                  <a:pt x="380" y="197"/>
                </a:lnTo>
                <a:lnTo>
                  <a:pt x="391" y="204"/>
                </a:lnTo>
                <a:lnTo>
                  <a:pt x="401" y="212"/>
                </a:lnTo>
                <a:lnTo>
                  <a:pt x="411" y="221"/>
                </a:lnTo>
                <a:lnTo>
                  <a:pt x="419" y="231"/>
                </a:lnTo>
                <a:lnTo>
                  <a:pt x="427" y="240"/>
                </a:lnTo>
                <a:lnTo>
                  <a:pt x="434" y="251"/>
                </a:lnTo>
                <a:lnTo>
                  <a:pt x="439" y="264"/>
                </a:lnTo>
                <a:lnTo>
                  <a:pt x="444" y="276"/>
                </a:lnTo>
                <a:lnTo>
                  <a:pt x="448" y="289"/>
                </a:lnTo>
                <a:lnTo>
                  <a:pt x="449" y="302"/>
                </a:lnTo>
                <a:lnTo>
                  <a:pt x="450" y="316"/>
                </a:lnTo>
                <a:lnTo>
                  <a:pt x="449" y="330"/>
                </a:lnTo>
                <a:lnTo>
                  <a:pt x="448" y="343"/>
                </a:lnTo>
                <a:lnTo>
                  <a:pt x="444" y="356"/>
                </a:lnTo>
                <a:lnTo>
                  <a:pt x="439" y="368"/>
                </a:lnTo>
                <a:lnTo>
                  <a:pt x="434" y="380"/>
                </a:lnTo>
                <a:lnTo>
                  <a:pt x="427" y="391"/>
                </a:lnTo>
                <a:lnTo>
                  <a:pt x="419" y="402"/>
                </a:lnTo>
                <a:lnTo>
                  <a:pt x="411" y="411"/>
                </a:lnTo>
                <a:lnTo>
                  <a:pt x="401" y="420"/>
                </a:lnTo>
                <a:lnTo>
                  <a:pt x="391" y="428"/>
                </a:lnTo>
                <a:lnTo>
                  <a:pt x="380" y="435"/>
                </a:lnTo>
                <a:lnTo>
                  <a:pt x="368" y="441"/>
                </a:lnTo>
                <a:lnTo>
                  <a:pt x="355" y="445"/>
                </a:lnTo>
                <a:lnTo>
                  <a:pt x="342" y="449"/>
                </a:lnTo>
                <a:lnTo>
                  <a:pt x="329" y="451"/>
                </a:lnTo>
                <a:lnTo>
                  <a:pt x="315" y="451"/>
                </a:lnTo>
                <a:close/>
                <a:moveTo>
                  <a:pt x="315" y="0"/>
                </a:moveTo>
                <a:lnTo>
                  <a:pt x="299" y="0"/>
                </a:lnTo>
                <a:lnTo>
                  <a:pt x="283" y="3"/>
                </a:lnTo>
                <a:lnTo>
                  <a:pt x="267" y="4"/>
                </a:lnTo>
                <a:lnTo>
                  <a:pt x="252" y="7"/>
                </a:lnTo>
                <a:lnTo>
                  <a:pt x="237" y="10"/>
                </a:lnTo>
                <a:lnTo>
                  <a:pt x="221" y="15"/>
                </a:lnTo>
                <a:lnTo>
                  <a:pt x="207" y="20"/>
                </a:lnTo>
                <a:lnTo>
                  <a:pt x="193" y="26"/>
                </a:lnTo>
                <a:lnTo>
                  <a:pt x="178" y="31"/>
                </a:lnTo>
                <a:lnTo>
                  <a:pt x="165" y="39"/>
                </a:lnTo>
                <a:lnTo>
                  <a:pt x="152" y="47"/>
                </a:lnTo>
                <a:lnTo>
                  <a:pt x="139" y="54"/>
                </a:lnTo>
                <a:lnTo>
                  <a:pt x="126" y="63"/>
                </a:lnTo>
                <a:lnTo>
                  <a:pt x="114" y="73"/>
                </a:lnTo>
                <a:lnTo>
                  <a:pt x="103" y="83"/>
                </a:lnTo>
                <a:lnTo>
                  <a:pt x="92" y="93"/>
                </a:lnTo>
                <a:lnTo>
                  <a:pt x="81" y="104"/>
                </a:lnTo>
                <a:lnTo>
                  <a:pt x="71" y="115"/>
                </a:lnTo>
                <a:lnTo>
                  <a:pt x="63" y="127"/>
                </a:lnTo>
                <a:lnTo>
                  <a:pt x="54" y="140"/>
                </a:lnTo>
                <a:lnTo>
                  <a:pt x="45" y="152"/>
                </a:lnTo>
                <a:lnTo>
                  <a:pt x="37" y="166"/>
                </a:lnTo>
                <a:lnTo>
                  <a:pt x="31" y="180"/>
                </a:lnTo>
                <a:lnTo>
                  <a:pt x="24" y="193"/>
                </a:lnTo>
                <a:lnTo>
                  <a:pt x="19" y="207"/>
                </a:lnTo>
                <a:lnTo>
                  <a:pt x="14" y="223"/>
                </a:lnTo>
                <a:lnTo>
                  <a:pt x="10" y="237"/>
                </a:lnTo>
                <a:lnTo>
                  <a:pt x="6" y="253"/>
                </a:lnTo>
                <a:lnTo>
                  <a:pt x="3" y="268"/>
                </a:lnTo>
                <a:lnTo>
                  <a:pt x="1" y="283"/>
                </a:lnTo>
                <a:lnTo>
                  <a:pt x="0" y="300"/>
                </a:lnTo>
                <a:lnTo>
                  <a:pt x="0" y="316"/>
                </a:lnTo>
                <a:lnTo>
                  <a:pt x="1" y="333"/>
                </a:lnTo>
                <a:lnTo>
                  <a:pt x="3" y="351"/>
                </a:lnTo>
                <a:lnTo>
                  <a:pt x="6" y="369"/>
                </a:lnTo>
                <a:lnTo>
                  <a:pt x="12" y="389"/>
                </a:lnTo>
                <a:lnTo>
                  <a:pt x="19" y="409"/>
                </a:lnTo>
                <a:lnTo>
                  <a:pt x="26" y="431"/>
                </a:lnTo>
                <a:lnTo>
                  <a:pt x="35" y="453"/>
                </a:lnTo>
                <a:lnTo>
                  <a:pt x="45" y="475"/>
                </a:lnTo>
                <a:lnTo>
                  <a:pt x="67" y="522"/>
                </a:lnTo>
                <a:lnTo>
                  <a:pt x="92" y="570"/>
                </a:lnTo>
                <a:lnTo>
                  <a:pt x="119" y="616"/>
                </a:lnTo>
                <a:lnTo>
                  <a:pt x="146" y="663"/>
                </a:lnTo>
                <a:lnTo>
                  <a:pt x="175" y="707"/>
                </a:lnTo>
                <a:lnTo>
                  <a:pt x="201" y="749"/>
                </a:lnTo>
                <a:lnTo>
                  <a:pt x="227" y="788"/>
                </a:lnTo>
                <a:lnTo>
                  <a:pt x="251" y="822"/>
                </a:lnTo>
                <a:lnTo>
                  <a:pt x="286" y="872"/>
                </a:lnTo>
                <a:lnTo>
                  <a:pt x="303" y="895"/>
                </a:lnTo>
                <a:lnTo>
                  <a:pt x="306" y="898"/>
                </a:lnTo>
                <a:lnTo>
                  <a:pt x="308" y="900"/>
                </a:lnTo>
                <a:lnTo>
                  <a:pt x="311" y="901"/>
                </a:lnTo>
                <a:lnTo>
                  <a:pt x="315" y="901"/>
                </a:lnTo>
                <a:lnTo>
                  <a:pt x="318" y="901"/>
                </a:lnTo>
                <a:lnTo>
                  <a:pt x="321" y="900"/>
                </a:lnTo>
                <a:lnTo>
                  <a:pt x="325" y="898"/>
                </a:lnTo>
                <a:lnTo>
                  <a:pt x="327" y="895"/>
                </a:lnTo>
                <a:lnTo>
                  <a:pt x="343" y="872"/>
                </a:lnTo>
                <a:lnTo>
                  <a:pt x="380" y="822"/>
                </a:lnTo>
                <a:lnTo>
                  <a:pt x="403" y="788"/>
                </a:lnTo>
                <a:lnTo>
                  <a:pt x="428" y="749"/>
                </a:lnTo>
                <a:lnTo>
                  <a:pt x="456" y="707"/>
                </a:lnTo>
                <a:lnTo>
                  <a:pt x="483" y="663"/>
                </a:lnTo>
                <a:lnTo>
                  <a:pt x="511" y="616"/>
                </a:lnTo>
                <a:lnTo>
                  <a:pt x="537" y="570"/>
                </a:lnTo>
                <a:lnTo>
                  <a:pt x="562" y="522"/>
                </a:lnTo>
                <a:lnTo>
                  <a:pt x="585" y="475"/>
                </a:lnTo>
                <a:lnTo>
                  <a:pt x="594" y="453"/>
                </a:lnTo>
                <a:lnTo>
                  <a:pt x="603" y="431"/>
                </a:lnTo>
                <a:lnTo>
                  <a:pt x="611" y="409"/>
                </a:lnTo>
                <a:lnTo>
                  <a:pt x="618" y="389"/>
                </a:lnTo>
                <a:lnTo>
                  <a:pt x="623" y="369"/>
                </a:lnTo>
                <a:lnTo>
                  <a:pt x="627" y="351"/>
                </a:lnTo>
                <a:lnTo>
                  <a:pt x="630" y="333"/>
                </a:lnTo>
                <a:lnTo>
                  <a:pt x="631" y="316"/>
                </a:lnTo>
                <a:lnTo>
                  <a:pt x="630" y="300"/>
                </a:lnTo>
                <a:lnTo>
                  <a:pt x="629" y="283"/>
                </a:lnTo>
                <a:lnTo>
                  <a:pt x="626" y="268"/>
                </a:lnTo>
                <a:lnTo>
                  <a:pt x="624" y="253"/>
                </a:lnTo>
                <a:lnTo>
                  <a:pt x="621" y="237"/>
                </a:lnTo>
                <a:lnTo>
                  <a:pt x="616" y="223"/>
                </a:lnTo>
                <a:lnTo>
                  <a:pt x="611" y="207"/>
                </a:lnTo>
                <a:lnTo>
                  <a:pt x="605" y="193"/>
                </a:lnTo>
                <a:lnTo>
                  <a:pt x="599" y="180"/>
                </a:lnTo>
                <a:lnTo>
                  <a:pt x="592" y="166"/>
                </a:lnTo>
                <a:lnTo>
                  <a:pt x="585" y="152"/>
                </a:lnTo>
                <a:lnTo>
                  <a:pt x="577" y="140"/>
                </a:lnTo>
                <a:lnTo>
                  <a:pt x="568" y="127"/>
                </a:lnTo>
                <a:lnTo>
                  <a:pt x="558" y="116"/>
                </a:lnTo>
                <a:lnTo>
                  <a:pt x="548" y="104"/>
                </a:lnTo>
                <a:lnTo>
                  <a:pt x="538" y="93"/>
                </a:lnTo>
                <a:lnTo>
                  <a:pt x="527" y="83"/>
                </a:lnTo>
                <a:lnTo>
                  <a:pt x="515" y="73"/>
                </a:lnTo>
                <a:lnTo>
                  <a:pt x="504" y="63"/>
                </a:lnTo>
                <a:lnTo>
                  <a:pt x="491" y="54"/>
                </a:lnTo>
                <a:lnTo>
                  <a:pt x="479" y="47"/>
                </a:lnTo>
                <a:lnTo>
                  <a:pt x="466" y="39"/>
                </a:lnTo>
                <a:lnTo>
                  <a:pt x="451" y="31"/>
                </a:lnTo>
                <a:lnTo>
                  <a:pt x="438" y="26"/>
                </a:lnTo>
                <a:lnTo>
                  <a:pt x="424" y="20"/>
                </a:lnTo>
                <a:lnTo>
                  <a:pt x="408" y="15"/>
                </a:lnTo>
                <a:lnTo>
                  <a:pt x="394" y="10"/>
                </a:lnTo>
                <a:lnTo>
                  <a:pt x="379" y="7"/>
                </a:lnTo>
                <a:lnTo>
                  <a:pt x="363" y="5"/>
                </a:lnTo>
                <a:lnTo>
                  <a:pt x="348" y="3"/>
                </a:lnTo>
                <a:lnTo>
                  <a:pt x="331" y="2"/>
                </a:lnTo>
                <a:lnTo>
                  <a:pt x="315" y="0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1" name="Freeform 2511">
            <a:extLst>
              <a:ext uri="{FF2B5EF4-FFF2-40B4-BE49-F238E27FC236}">
                <a16:creationId xmlns:a16="http://schemas.microsoft.com/office/drawing/2014/main" id="{13E25518-7720-4ADC-9357-D54BA1B4819B}"/>
              </a:ext>
            </a:extLst>
          </p:cNvPr>
          <p:cNvSpPr>
            <a:spLocks noEditPoints="1"/>
          </p:cNvSpPr>
          <p:nvPr/>
        </p:nvSpPr>
        <p:spPr bwMode="auto">
          <a:xfrm>
            <a:off x="4533900" y="3414713"/>
            <a:ext cx="201613" cy="285750"/>
          </a:xfrm>
          <a:custGeom>
            <a:avLst/>
            <a:gdLst>
              <a:gd name="T0" fmla="*/ 288 w 631"/>
              <a:gd name="T1" fmla="*/ 449 h 901"/>
              <a:gd name="T2" fmla="*/ 251 w 631"/>
              <a:gd name="T3" fmla="*/ 434 h 901"/>
              <a:gd name="T4" fmla="*/ 220 w 631"/>
              <a:gd name="T5" fmla="*/ 411 h 901"/>
              <a:gd name="T6" fmla="*/ 196 w 631"/>
              <a:gd name="T7" fmla="*/ 380 h 901"/>
              <a:gd name="T8" fmla="*/ 183 w 631"/>
              <a:gd name="T9" fmla="*/ 343 h 901"/>
              <a:gd name="T10" fmla="*/ 180 w 631"/>
              <a:gd name="T11" fmla="*/ 302 h 901"/>
              <a:gd name="T12" fmla="*/ 190 w 631"/>
              <a:gd name="T13" fmla="*/ 264 h 901"/>
              <a:gd name="T14" fmla="*/ 211 w 631"/>
              <a:gd name="T15" fmla="*/ 231 h 901"/>
              <a:gd name="T16" fmla="*/ 240 w 631"/>
              <a:gd name="T17" fmla="*/ 204 h 901"/>
              <a:gd name="T18" fmla="*/ 275 w 631"/>
              <a:gd name="T19" fmla="*/ 186 h 901"/>
              <a:gd name="T20" fmla="*/ 315 w 631"/>
              <a:gd name="T21" fmla="*/ 181 h 901"/>
              <a:gd name="T22" fmla="*/ 355 w 631"/>
              <a:gd name="T23" fmla="*/ 186 h 901"/>
              <a:gd name="T24" fmla="*/ 391 w 631"/>
              <a:gd name="T25" fmla="*/ 204 h 901"/>
              <a:gd name="T26" fmla="*/ 419 w 631"/>
              <a:gd name="T27" fmla="*/ 231 h 901"/>
              <a:gd name="T28" fmla="*/ 439 w 631"/>
              <a:gd name="T29" fmla="*/ 264 h 901"/>
              <a:gd name="T30" fmla="*/ 449 w 631"/>
              <a:gd name="T31" fmla="*/ 302 h 901"/>
              <a:gd name="T32" fmla="*/ 448 w 631"/>
              <a:gd name="T33" fmla="*/ 343 h 901"/>
              <a:gd name="T34" fmla="*/ 434 w 631"/>
              <a:gd name="T35" fmla="*/ 380 h 901"/>
              <a:gd name="T36" fmla="*/ 411 w 631"/>
              <a:gd name="T37" fmla="*/ 411 h 901"/>
              <a:gd name="T38" fmla="*/ 380 w 631"/>
              <a:gd name="T39" fmla="*/ 435 h 901"/>
              <a:gd name="T40" fmla="*/ 342 w 631"/>
              <a:gd name="T41" fmla="*/ 449 h 901"/>
              <a:gd name="T42" fmla="*/ 315 w 631"/>
              <a:gd name="T43" fmla="*/ 0 h 901"/>
              <a:gd name="T44" fmla="*/ 267 w 631"/>
              <a:gd name="T45" fmla="*/ 4 h 901"/>
              <a:gd name="T46" fmla="*/ 221 w 631"/>
              <a:gd name="T47" fmla="*/ 15 h 901"/>
              <a:gd name="T48" fmla="*/ 178 w 631"/>
              <a:gd name="T49" fmla="*/ 31 h 901"/>
              <a:gd name="T50" fmla="*/ 139 w 631"/>
              <a:gd name="T51" fmla="*/ 54 h 901"/>
              <a:gd name="T52" fmla="*/ 103 w 631"/>
              <a:gd name="T53" fmla="*/ 83 h 901"/>
              <a:gd name="T54" fmla="*/ 71 w 631"/>
              <a:gd name="T55" fmla="*/ 115 h 901"/>
              <a:gd name="T56" fmla="*/ 45 w 631"/>
              <a:gd name="T57" fmla="*/ 152 h 901"/>
              <a:gd name="T58" fmla="*/ 24 w 631"/>
              <a:gd name="T59" fmla="*/ 193 h 901"/>
              <a:gd name="T60" fmla="*/ 10 w 631"/>
              <a:gd name="T61" fmla="*/ 237 h 901"/>
              <a:gd name="T62" fmla="*/ 1 w 631"/>
              <a:gd name="T63" fmla="*/ 283 h 901"/>
              <a:gd name="T64" fmla="*/ 1 w 631"/>
              <a:gd name="T65" fmla="*/ 333 h 901"/>
              <a:gd name="T66" fmla="*/ 12 w 631"/>
              <a:gd name="T67" fmla="*/ 389 h 901"/>
              <a:gd name="T68" fmla="*/ 35 w 631"/>
              <a:gd name="T69" fmla="*/ 453 h 901"/>
              <a:gd name="T70" fmla="*/ 92 w 631"/>
              <a:gd name="T71" fmla="*/ 570 h 901"/>
              <a:gd name="T72" fmla="*/ 175 w 631"/>
              <a:gd name="T73" fmla="*/ 707 h 901"/>
              <a:gd name="T74" fmla="*/ 251 w 631"/>
              <a:gd name="T75" fmla="*/ 822 h 901"/>
              <a:gd name="T76" fmla="*/ 306 w 631"/>
              <a:gd name="T77" fmla="*/ 898 h 901"/>
              <a:gd name="T78" fmla="*/ 315 w 631"/>
              <a:gd name="T79" fmla="*/ 901 h 901"/>
              <a:gd name="T80" fmla="*/ 325 w 631"/>
              <a:gd name="T81" fmla="*/ 898 h 901"/>
              <a:gd name="T82" fmla="*/ 380 w 631"/>
              <a:gd name="T83" fmla="*/ 822 h 901"/>
              <a:gd name="T84" fmla="*/ 456 w 631"/>
              <a:gd name="T85" fmla="*/ 707 h 901"/>
              <a:gd name="T86" fmla="*/ 537 w 631"/>
              <a:gd name="T87" fmla="*/ 570 h 901"/>
              <a:gd name="T88" fmla="*/ 594 w 631"/>
              <a:gd name="T89" fmla="*/ 453 h 901"/>
              <a:gd name="T90" fmla="*/ 618 w 631"/>
              <a:gd name="T91" fmla="*/ 389 h 901"/>
              <a:gd name="T92" fmla="*/ 630 w 631"/>
              <a:gd name="T93" fmla="*/ 333 h 901"/>
              <a:gd name="T94" fmla="*/ 629 w 631"/>
              <a:gd name="T95" fmla="*/ 283 h 901"/>
              <a:gd name="T96" fmla="*/ 621 w 631"/>
              <a:gd name="T97" fmla="*/ 237 h 901"/>
              <a:gd name="T98" fmla="*/ 605 w 631"/>
              <a:gd name="T99" fmla="*/ 193 h 901"/>
              <a:gd name="T100" fmla="*/ 585 w 631"/>
              <a:gd name="T101" fmla="*/ 152 h 901"/>
              <a:gd name="T102" fmla="*/ 558 w 631"/>
              <a:gd name="T103" fmla="*/ 116 h 901"/>
              <a:gd name="T104" fmla="*/ 527 w 631"/>
              <a:gd name="T105" fmla="*/ 83 h 901"/>
              <a:gd name="T106" fmla="*/ 491 w 631"/>
              <a:gd name="T107" fmla="*/ 54 h 901"/>
              <a:gd name="T108" fmla="*/ 451 w 631"/>
              <a:gd name="T109" fmla="*/ 31 h 901"/>
              <a:gd name="T110" fmla="*/ 408 w 631"/>
              <a:gd name="T111" fmla="*/ 15 h 901"/>
              <a:gd name="T112" fmla="*/ 363 w 631"/>
              <a:gd name="T113" fmla="*/ 5 h 901"/>
              <a:gd name="T114" fmla="*/ 315 w 631"/>
              <a:gd name="T115" fmla="*/ 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31" h="901">
                <a:moveTo>
                  <a:pt x="315" y="451"/>
                </a:moveTo>
                <a:lnTo>
                  <a:pt x="302" y="451"/>
                </a:lnTo>
                <a:lnTo>
                  <a:pt x="288" y="449"/>
                </a:lnTo>
                <a:lnTo>
                  <a:pt x="275" y="445"/>
                </a:lnTo>
                <a:lnTo>
                  <a:pt x="263" y="441"/>
                </a:lnTo>
                <a:lnTo>
                  <a:pt x="251" y="434"/>
                </a:lnTo>
                <a:lnTo>
                  <a:pt x="240" y="428"/>
                </a:lnTo>
                <a:lnTo>
                  <a:pt x="229" y="420"/>
                </a:lnTo>
                <a:lnTo>
                  <a:pt x="220" y="411"/>
                </a:lnTo>
                <a:lnTo>
                  <a:pt x="211" y="402"/>
                </a:lnTo>
                <a:lnTo>
                  <a:pt x="204" y="391"/>
                </a:lnTo>
                <a:lnTo>
                  <a:pt x="196" y="380"/>
                </a:lnTo>
                <a:lnTo>
                  <a:pt x="190" y="368"/>
                </a:lnTo>
                <a:lnTo>
                  <a:pt x="186" y="356"/>
                </a:lnTo>
                <a:lnTo>
                  <a:pt x="183" y="343"/>
                </a:lnTo>
                <a:lnTo>
                  <a:pt x="180" y="330"/>
                </a:lnTo>
                <a:lnTo>
                  <a:pt x="180" y="316"/>
                </a:lnTo>
                <a:lnTo>
                  <a:pt x="180" y="302"/>
                </a:lnTo>
                <a:lnTo>
                  <a:pt x="183" y="289"/>
                </a:lnTo>
                <a:lnTo>
                  <a:pt x="186" y="276"/>
                </a:lnTo>
                <a:lnTo>
                  <a:pt x="190" y="264"/>
                </a:lnTo>
                <a:lnTo>
                  <a:pt x="196" y="251"/>
                </a:lnTo>
                <a:lnTo>
                  <a:pt x="204" y="240"/>
                </a:lnTo>
                <a:lnTo>
                  <a:pt x="211" y="231"/>
                </a:lnTo>
                <a:lnTo>
                  <a:pt x="220" y="221"/>
                </a:lnTo>
                <a:lnTo>
                  <a:pt x="229" y="212"/>
                </a:lnTo>
                <a:lnTo>
                  <a:pt x="240" y="204"/>
                </a:lnTo>
                <a:lnTo>
                  <a:pt x="251" y="197"/>
                </a:lnTo>
                <a:lnTo>
                  <a:pt x="263" y="192"/>
                </a:lnTo>
                <a:lnTo>
                  <a:pt x="275" y="186"/>
                </a:lnTo>
                <a:lnTo>
                  <a:pt x="288" y="183"/>
                </a:lnTo>
                <a:lnTo>
                  <a:pt x="302" y="181"/>
                </a:lnTo>
                <a:lnTo>
                  <a:pt x="315" y="181"/>
                </a:lnTo>
                <a:lnTo>
                  <a:pt x="329" y="181"/>
                </a:lnTo>
                <a:lnTo>
                  <a:pt x="342" y="183"/>
                </a:lnTo>
                <a:lnTo>
                  <a:pt x="355" y="186"/>
                </a:lnTo>
                <a:lnTo>
                  <a:pt x="368" y="192"/>
                </a:lnTo>
                <a:lnTo>
                  <a:pt x="380" y="197"/>
                </a:lnTo>
                <a:lnTo>
                  <a:pt x="391" y="204"/>
                </a:lnTo>
                <a:lnTo>
                  <a:pt x="401" y="212"/>
                </a:lnTo>
                <a:lnTo>
                  <a:pt x="411" y="221"/>
                </a:lnTo>
                <a:lnTo>
                  <a:pt x="419" y="231"/>
                </a:lnTo>
                <a:lnTo>
                  <a:pt x="427" y="240"/>
                </a:lnTo>
                <a:lnTo>
                  <a:pt x="434" y="251"/>
                </a:lnTo>
                <a:lnTo>
                  <a:pt x="439" y="264"/>
                </a:lnTo>
                <a:lnTo>
                  <a:pt x="444" y="276"/>
                </a:lnTo>
                <a:lnTo>
                  <a:pt x="448" y="289"/>
                </a:lnTo>
                <a:lnTo>
                  <a:pt x="449" y="302"/>
                </a:lnTo>
                <a:lnTo>
                  <a:pt x="450" y="316"/>
                </a:lnTo>
                <a:lnTo>
                  <a:pt x="449" y="330"/>
                </a:lnTo>
                <a:lnTo>
                  <a:pt x="448" y="343"/>
                </a:lnTo>
                <a:lnTo>
                  <a:pt x="444" y="356"/>
                </a:lnTo>
                <a:lnTo>
                  <a:pt x="439" y="368"/>
                </a:lnTo>
                <a:lnTo>
                  <a:pt x="434" y="380"/>
                </a:lnTo>
                <a:lnTo>
                  <a:pt x="427" y="391"/>
                </a:lnTo>
                <a:lnTo>
                  <a:pt x="419" y="402"/>
                </a:lnTo>
                <a:lnTo>
                  <a:pt x="411" y="411"/>
                </a:lnTo>
                <a:lnTo>
                  <a:pt x="401" y="420"/>
                </a:lnTo>
                <a:lnTo>
                  <a:pt x="391" y="428"/>
                </a:lnTo>
                <a:lnTo>
                  <a:pt x="380" y="435"/>
                </a:lnTo>
                <a:lnTo>
                  <a:pt x="368" y="441"/>
                </a:lnTo>
                <a:lnTo>
                  <a:pt x="355" y="445"/>
                </a:lnTo>
                <a:lnTo>
                  <a:pt x="342" y="449"/>
                </a:lnTo>
                <a:lnTo>
                  <a:pt x="329" y="451"/>
                </a:lnTo>
                <a:lnTo>
                  <a:pt x="315" y="451"/>
                </a:lnTo>
                <a:close/>
                <a:moveTo>
                  <a:pt x="315" y="0"/>
                </a:moveTo>
                <a:lnTo>
                  <a:pt x="299" y="0"/>
                </a:lnTo>
                <a:lnTo>
                  <a:pt x="283" y="3"/>
                </a:lnTo>
                <a:lnTo>
                  <a:pt x="267" y="4"/>
                </a:lnTo>
                <a:lnTo>
                  <a:pt x="252" y="7"/>
                </a:lnTo>
                <a:lnTo>
                  <a:pt x="237" y="10"/>
                </a:lnTo>
                <a:lnTo>
                  <a:pt x="221" y="15"/>
                </a:lnTo>
                <a:lnTo>
                  <a:pt x="207" y="20"/>
                </a:lnTo>
                <a:lnTo>
                  <a:pt x="193" y="26"/>
                </a:lnTo>
                <a:lnTo>
                  <a:pt x="178" y="31"/>
                </a:lnTo>
                <a:lnTo>
                  <a:pt x="165" y="39"/>
                </a:lnTo>
                <a:lnTo>
                  <a:pt x="152" y="47"/>
                </a:lnTo>
                <a:lnTo>
                  <a:pt x="139" y="54"/>
                </a:lnTo>
                <a:lnTo>
                  <a:pt x="126" y="63"/>
                </a:lnTo>
                <a:lnTo>
                  <a:pt x="114" y="73"/>
                </a:lnTo>
                <a:lnTo>
                  <a:pt x="103" y="83"/>
                </a:lnTo>
                <a:lnTo>
                  <a:pt x="92" y="93"/>
                </a:lnTo>
                <a:lnTo>
                  <a:pt x="81" y="104"/>
                </a:lnTo>
                <a:lnTo>
                  <a:pt x="71" y="115"/>
                </a:lnTo>
                <a:lnTo>
                  <a:pt x="63" y="127"/>
                </a:lnTo>
                <a:lnTo>
                  <a:pt x="54" y="140"/>
                </a:lnTo>
                <a:lnTo>
                  <a:pt x="45" y="152"/>
                </a:lnTo>
                <a:lnTo>
                  <a:pt x="37" y="166"/>
                </a:lnTo>
                <a:lnTo>
                  <a:pt x="31" y="180"/>
                </a:lnTo>
                <a:lnTo>
                  <a:pt x="24" y="193"/>
                </a:lnTo>
                <a:lnTo>
                  <a:pt x="19" y="207"/>
                </a:lnTo>
                <a:lnTo>
                  <a:pt x="14" y="223"/>
                </a:lnTo>
                <a:lnTo>
                  <a:pt x="10" y="237"/>
                </a:lnTo>
                <a:lnTo>
                  <a:pt x="6" y="253"/>
                </a:lnTo>
                <a:lnTo>
                  <a:pt x="3" y="268"/>
                </a:lnTo>
                <a:lnTo>
                  <a:pt x="1" y="283"/>
                </a:lnTo>
                <a:lnTo>
                  <a:pt x="0" y="300"/>
                </a:lnTo>
                <a:lnTo>
                  <a:pt x="0" y="316"/>
                </a:lnTo>
                <a:lnTo>
                  <a:pt x="1" y="333"/>
                </a:lnTo>
                <a:lnTo>
                  <a:pt x="3" y="351"/>
                </a:lnTo>
                <a:lnTo>
                  <a:pt x="6" y="369"/>
                </a:lnTo>
                <a:lnTo>
                  <a:pt x="12" y="389"/>
                </a:lnTo>
                <a:lnTo>
                  <a:pt x="19" y="409"/>
                </a:lnTo>
                <a:lnTo>
                  <a:pt x="26" y="431"/>
                </a:lnTo>
                <a:lnTo>
                  <a:pt x="35" y="453"/>
                </a:lnTo>
                <a:lnTo>
                  <a:pt x="45" y="475"/>
                </a:lnTo>
                <a:lnTo>
                  <a:pt x="67" y="522"/>
                </a:lnTo>
                <a:lnTo>
                  <a:pt x="92" y="570"/>
                </a:lnTo>
                <a:lnTo>
                  <a:pt x="119" y="616"/>
                </a:lnTo>
                <a:lnTo>
                  <a:pt x="146" y="663"/>
                </a:lnTo>
                <a:lnTo>
                  <a:pt x="175" y="707"/>
                </a:lnTo>
                <a:lnTo>
                  <a:pt x="201" y="749"/>
                </a:lnTo>
                <a:lnTo>
                  <a:pt x="227" y="788"/>
                </a:lnTo>
                <a:lnTo>
                  <a:pt x="251" y="822"/>
                </a:lnTo>
                <a:lnTo>
                  <a:pt x="286" y="872"/>
                </a:lnTo>
                <a:lnTo>
                  <a:pt x="303" y="895"/>
                </a:lnTo>
                <a:lnTo>
                  <a:pt x="306" y="898"/>
                </a:lnTo>
                <a:lnTo>
                  <a:pt x="308" y="900"/>
                </a:lnTo>
                <a:lnTo>
                  <a:pt x="311" y="901"/>
                </a:lnTo>
                <a:lnTo>
                  <a:pt x="315" y="901"/>
                </a:lnTo>
                <a:lnTo>
                  <a:pt x="318" y="901"/>
                </a:lnTo>
                <a:lnTo>
                  <a:pt x="321" y="900"/>
                </a:lnTo>
                <a:lnTo>
                  <a:pt x="325" y="898"/>
                </a:lnTo>
                <a:lnTo>
                  <a:pt x="327" y="895"/>
                </a:lnTo>
                <a:lnTo>
                  <a:pt x="343" y="872"/>
                </a:lnTo>
                <a:lnTo>
                  <a:pt x="380" y="822"/>
                </a:lnTo>
                <a:lnTo>
                  <a:pt x="403" y="788"/>
                </a:lnTo>
                <a:lnTo>
                  <a:pt x="428" y="749"/>
                </a:lnTo>
                <a:lnTo>
                  <a:pt x="456" y="707"/>
                </a:lnTo>
                <a:lnTo>
                  <a:pt x="483" y="663"/>
                </a:lnTo>
                <a:lnTo>
                  <a:pt x="511" y="616"/>
                </a:lnTo>
                <a:lnTo>
                  <a:pt x="537" y="570"/>
                </a:lnTo>
                <a:lnTo>
                  <a:pt x="562" y="522"/>
                </a:lnTo>
                <a:lnTo>
                  <a:pt x="585" y="475"/>
                </a:lnTo>
                <a:lnTo>
                  <a:pt x="594" y="453"/>
                </a:lnTo>
                <a:lnTo>
                  <a:pt x="603" y="431"/>
                </a:lnTo>
                <a:lnTo>
                  <a:pt x="611" y="409"/>
                </a:lnTo>
                <a:lnTo>
                  <a:pt x="618" y="389"/>
                </a:lnTo>
                <a:lnTo>
                  <a:pt x="623" y="369"/>
                </a:lnTo>
                <a:lnTo>
                  <a:pt x="627" y="351"/>
                </a:lnTo>
                <a:lnTo>
                  <a:pt x="630" y="333"/>
                </a:lnTo>
                <a:lnTo>
                  <a:pt x="631" y="316"/>
                </a:lnTo>
                <a:lnTo>
                  <a:pt x="630" y="300"/>
                </a:lnTo>
                <a:lnTo>
                  <a:pt x="629" y="283"/>
                </a:lnTo>
                <a:lnTo>
                  <a:pt x="626" y="268"/>
                </a:lnTo>
                <a:lnTo>
                  <a:pt x="624" y="253"/>
                </a:lnTo>
                <a:lnTo>
                  <a:pt x="621" y="237"/>
                </a:lnTo>
                <a:lnTo>
                  <a:pt x="616" y="223"/>
                </a:lnTo>
                <a:lnTo>
                  <a:pt x="611" y="207"/>
                </a:lnTo>
                <a:lnTo>
                  <a:pt x="605" y="193"/>
                </a:lnTo>
                <a:lnTo>
                  <a:pt x="599" y="180"/>
                </a:lnTo>
                <a:lnTo>
                  <a:pt x="592" y="166"/>
                </a:lnTo>
                <a:lnTo>
                  <a:pt x="585" y="152"/>
                </a:lnTo>
                <a:lnTo>
                  <a:pt x="577" y="140"/>
                </a:lnTo>
                <a:lnTo>
                  <a:pt x="568" y="127"/>
                </a:lnTo>
                <a:lnTo>
                  <a:pt x="558" y="116"/>
                </a:lnTo>
                <a:lnTo>
                  <a:pt x="548" y="104"/>
                </a:lnTo>
                <a:lnTo>
                  <a:pt x="538" y="93"/>
                </a:lnTo>
                <a:lnTo>
                  <a:pt x="527" y="83"/>
                </a:lnTo>
                <a:lnTo>
                  <a:pt x="515" y="73"/>
                </a:lnTo>
                <a:lnTo>
                  <a:pt x="504" y="63"/>
                </a:lnTo>
                <a:lnTo>
                  <a:pt x="491" y="54"/>
                </a:lnTo>
                <a:lnTo>
                  <a:pt x="479" y="47"/>
                </a:lnTo>
                <a:lnTo>
                  <a:pt x="466" y="39"/>
                </a:lnTo>
                <a:lnTo>
                  <a:pt x="451" y="31"/>
                </a:lnTo>
                <a:lnTo>
                  <a:pt x="438" y="26"/>
                </a:lnTo>
                <a:lnTo>
                  <a:pt x="424" y="20"/>
                </a:lnTo>
                <a:lnTo>
                  <a:pt x="408" y="15"/>
                </a:lnTo>
                <a:lnTo>
                  <a:pt x="394" y="10"/>
                </a:lnTo>
                <a:lnTo>
                  <a:pt x="379" y="7"/>
                </a:lnTo>
                <a:lnTo>
                  <a:pt x="363" y="5"/>
                </a:lnTo>
                <a:lnTo>
                  <a:pt x="348" y="3"/>
                </a:lnTo>
                <a:lnTo>
                  <a:pt x="331" y="2"/>
                </a:lnTo>
                <a:lnTo>
                  <a:pt x="315" y="0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2" name="Freeform 2511">
            <a:extLst>
              <a:ext uri="{FF2B5EF4-FFF2-40B4-BE49-F238E27FC236}">
                <a16:creationId xmlns:a16="http://schemas.microsoft.com/office/drawing/2014/main" id="{55B7E008-D049-4B7F-8C42-05501A972CBA}"/>
              </a:ext>
            </a:extLst>
          </p:cNvPr>
          <p:cNvSpPr>
            <a:spLocks noEditPoints="1"/>
          </p:cNvSpPr>
          <p:nvPr/>
        </p:nvSpPr>
        <p:spPr bwMode="auto">
          <a:xfrm>
            <a:off x="3680562" y="2897188"/>
            <a:ext cx="201613" cy="285750"/>
          </a:xfrm>
          <a:custGeom>
            <a:avLst/>
            <a:gdLst>
              <a:gd name="T0" fmla="*/ 288 w 631"/>
              <a:gd name="T1" fmla="*/ 449 h 901"/>
              <a:gd name="T2" fmla="*/ 251 w 631"/>
              <a:gd name="T3" fmla="*/ 434 h 901"/>
              <a:gd name="T4" fmla="*/ 220 w 631"/>
              <a:gd name="T5" fmla="*/ 411 h 901"/>
              <a:gd name="T6" fmla="*/ 196 w 631"/>
              <a:gd name="T7" fmla="*/ 380 h 901"/>
              <a:gd name="T8" fmla="*/ 183 w 631"/>
              <a:gd name="T9" fmla="*/ 343 h 901"/>
              <a:gd name="T10" fmla="*/ 180 w 631"/>
              <a:gd name="T11" fmla="*/ 302 h 901"/>
              <a:gd name="T12" fmla="*/ 190 w 631"/>
              <a:gd name="T13" fmla="*/ 264 h 901"/>
              <a:gd name="T14" fmla="*/ 211 w 631"/>
              <a:gd name="T15" fmla="*/ 231 h 901"/>
              <a:gd name="T16" fmla="*/ 240 w 631"/>
              <a:gd name="T17" fmla="*/ 204 h 901"/>
              <a:gd name="T18" fmla="*/ 275 w 631"/>
              <a:gd name="T19" fmla="*/ 186 h 901"/>
              <a:gd name="T20" fmla="*/ 315 w 631"/>
              <a:gd name="T21" fmla="*/ 181 h 901"/>
              <a:gd name="T22" fmla="*/ 355 w 631"/>
              <a:gd name="T23" fmla="*/ 186 h 901"/>
              <a:gd name="T24" fmla="*/ 391 w 631"/>
              <a:gd name="T25" fmla="*/ 204 h 901"/>
              <a:gd name="T26" fmla="*/ 419 w 631"/>
              <a:gd name="T27" fmla="*/ 231 h 901"/>
              <a:gd name="T28" fmla="*/ 439 w 631"/>
              <a:gd name="T29" fmla="*/ 264 h 901"/>
              <a:gd name="T30" fmla="*/ 449 w 631"/>
              <a:gd name="T31" fmla="*/ 302 h 901"/>
              <a:gd name="T32" fmla="*/ 448 w 631"/>
              <a:gd name="T33" fmla="*/ 343 h 901"/>
              <a:gd name="T34" fmla="*/ 434 w 631"/>
              <a:gd name="T35" fmla="*/ 380 h 901"/>
              <a:gd name="T36" fmla="*/ 411 w 631"/>
              <a:gd name="T37" fmla="*/ 411 h 901"/>
              <a:gd name="T38" fmla="*/ 380 w 631"/>
              <a:gd name="T39" fmla="*/ 435 h 901"/>
              <a:gd name="T40" fmla="*/ 342 w 631"/>
              <a:gd name="T41" fmla="*/ 449 h 901"/>
              <a:gd name="T42" fmla="*/ 315 w 631"/>
              <a:gd name="T43" fmla="*/ 0 h 901"/>
              <a:gd name="T44" fmla="*/ 267 w 631"/>
              <a:gd name="T45" fmla="*/ 4 h 901"/>
              <a:gd name="T46" fmla="*/ 221 w 631"/>
              <a:gd name="T47" fmla="*/ 15 h 901"/>
              <a:gd name="T48" fmla="*/ 178 w 631"/>
              <a:gd name="T49" fmla="*/ 31 h 901"/>
              <a:gd name="T50" fmla="*/ 139 w 631"/>
              <a:gd name="T51" fmla="*/ 54 h 901"/>
              <a:gd name="T52" fmla="*/ 103 w 631"/>
              <a:gd name="T53" fmla="*/ 83 h 901"/>
              <a:gd name="T54" fmla="*/ 71 w 631"/>
              <a:gd name="T55" fmla="*/ 115 h 901"/>
              <a:gd name="T56" fmla="*/ 45 w 631"/>
              <a:gd name="T57" fmla="*/ 152 h 901"/>
              <a:gd name="T58" fmla="*/ 24 w 631"/>
              <a:gd name="T59" fmla="*/ 193 h 901"/>
              <a:gd name="T60" fmla="*/ 10 w 631"/>
              <a:gd name="T61" fmla="*/ 237 h 901"/>
              <a:gd name="T62" fmla="*/ 1 w 631"/>
              <a:gd name="T63" fmla="*/ 283 h 901"/>
              <a:gd name="T64" fmla="*/ 1 w 631"/>
              <a:gd name="T65" fmla="*/ 333 h 901"/>
              <a:gd name="T66" fmla="*/ 12 w 631"/>
              <a:gd name="T67" fmla="*/ 389 h 901"/>
              <a:gd name="T68" fmla="*/ 35 w 631"/>
              <a:gd name="T69" fmla="*/ 453 h 901"/>
              <a:gd name="T70" fmla="*/ 92 w 631"/>
              <a:gd name="T71" fmla="*/ 570 h 901"/>
              <a:gd name="T72" fmla="*/ 175 w 631"/>
              <a:gd name="T73" fmla="*/ 707 h 901"/>
              <a:gd name="T74" fmla="*/ 251 w 631"/>
              <a:gd name="T75" fmla="*/ 822 h 901"/>
              <a:gd name="T76" fmla="*/ 306 w 631"/>
              <a:gd name="T77" fmla="*/ 898 h 901"/>
              <a:gd name="T78" fmla="*/ 315 w 631"/>
              <a:gd name="T79" fmla="*/ 901 h 901"/>
              <a:gd name="T80" fmla="*/ 325 w 631"/>
              <a:gd name="T81" fmla="*/ 898 h 901"/>
              <a:gd name="T82" fmla="*/ 380 w 631"/>
              <a:gd name="T83" fmla="*/ 822 h 901"/>
              <a:gd name="T84" fmla="*/ 456 w 631"/>
              <a:gd name="T85" fmla="*/ 707 h 901"/>
              <a:gd name="T86" fmla="*/ 537 w 631"/>
              <a:gd name="T87" fmla="*/ 570 h 901"/>
              <a:gd name="T88" fmla="*/ 594 w 631"/>
              <a:gd name="T89" fmla="*/ 453 h 901"/>
              <a:gd name="T90" fmla="*/ 618 w 631"/>
              <a:gd name="T91" fmla="*/ 389 h 901"/>
              <a:gd name="T92" fmla="*/ 630 w 631"/>
              <a:gd name="T93" fmla="*/ 333 h 901"/>
              <a:gd name="T94" fmla="*/ 629 w 631"/>
              <a:gd name="T95" fmla="*/ 283 h 901"/>
              <a:gd name="T96" fmla="*/ 621 w 631"/>
              <a:gd name="T97" fmla="*/ 237 h 901"/>
              <a:gd name="T98" fmla="*/ 605 w 631"/>
              <a:gd name="T99" fmla="*/ 193 h 901"/>
              <a:gd name="T100" fmla="*/ 585 w 631"/>
              <a:gd name="T101" fmla="*/ 152 h 901"/>
              <a:gd name="T102" fmla="*/ 558 w 631"/>
              <a:gd name="T103" fmla="*/ 116 h 901"/>
              <a:gd name="T104" fmla="*/ 527 w 631"/>
              <a:gd name="T105" fmla="*/ 83 h 901"/>
              <a:gd name="T106" fmla="*/ 491 w 631"/>
              <a:gd name="T107" fmla="*/ 54 h 901"/>
              <a:gd name="T108" fmla="*/ 451 w 631"/>
              <a:gd name="T109" fmla="*/ 31 h 901"/>
              <a:gd name="T110" fmla="*/ 408 w 631"/>
              <a:gd name="T111" fmla="*/ 15 h 901"/>
              <a:gd name="T112" fmla="*/ 363 w 631"/>
              <a:gd name="T113" fmla="*/ 5 h 901"/>
              <a:gd name="T114" fmla="*/ 315 w 631"/>
              <a:gd name="T115" fmla="*/ 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31" h="901">
                <a:moveTo>
                  <a:pt x="315" y="451"/>
                </a:moveTo>
                <a:lnTo>
                  <a:pt x="302" y="451"/>
                </a:lnTo>
                <a:lnTo>
                  <a:pt x="288" y="449"/>
                </a:lnTo>
                <a:lnTo>
                  <a:pt x="275" y="445"/>
                </a:lnTo>
                <a:lnTo>
                  <a:pt x="263" y="441"/>
                </a:lnTo>
                <a:lnTo>
                  <a:pt x="251" y="434"/>
                </a:lnTo>
                <a:lnTo>
                  <a:pt x="240" y="428"/>
                </a:lnTo>
                <a:lnTo>
                  <a:pt x="229" y="420"/>
                </a:lnTo>
                <a:lnTo>
                  <a:pt x="220" y="411"/>
                </a:lnTo>
                <a:lnTo>
                  <a:pt x="211" y="402"/>
                </a:lnTo>
                <a:lnTo>
                  <a:pt x="204" y="391"/>
                </a:lnTo>
                <a:lnTo>
                  <a:pt x="196" y="380"/>
                </a:lnTo>
                <a:lnTo>
                  <a:pt x="190" y="368"/>
                </a:lnTo>
                <a:lnTo>
                  <a:pt x="186" y="356"/>
                </a:lnTo>
                <a:lnTo>
                  <a:pt x="183" y="343"/>
                </a:lnTo>
                <a:lnTo>
                  <a:pt x="180" y="330"/>
                </a:lnTo>
                <a:lnTo>
                  <a:pt x="180" y="316"/>
                </a:lnTo>
                <a:lnTo>
                  <a:pt x="180" y="302"/>
                </a:lnTo>
                <a:lnTo>
                  <a:pt x="183" y="289"/>
                </a:lnTo>
                <a:lnTo>
                  <a:pt x="186" y="276"/>
                </a:lnTo>
                <a:lnTo>
                  <a:pt x="190" y="264"/>
                </a:lnTo>
                <a:lnTo>
                  <a:pt x="196" y="251"/>
                </a:lnTo>
                <a:lnTo>
                  <a:pt x="204" y="240"/>
                </a:lnTo>
                <a:lnTo>
                  <a:pt x="211" y="231"/>
                </a:lnTo>
                <a:lnTo>
                  <a:pt x="220" y="221"/>
                </a:lnTo>
                <a:lnTo>
                  <a:pt x="229" y="212"/>
                </a:lnTo>
                <a:lnTo>
                  <a:pt x="240" y="204"/>
                </a:lnTo>
                <a:lnTo>
                  <a:pt x="251" y="197"/>
                </a:lnTo>
                <a:lnTo>
                  <a:pt x="263" y="192"/>
                </a:lnTo>
                <a:lnTo>
                  <a:pt x="275" y="186"/>
                </a:lnTo>
                <a:lnTo>
                  <a:pt x="288" y="183"/>
                </a:lnTo>
                <a:lnTo>
                  <a:pt x="302" y="181"/>
                </a:lnTo>
                <a:lnTo>
                  <a:pt x="315" y="181"/>
                </a:lnTo>
                <a:lnTo>
                  <a:pt x="329" y="181"/>
                </a:lnTo>
                <a:lnTo>
                  <a:pt x="342" y="183"/>
                </a:lnTo>
                <a:lnTo>
                  <a:pt x="355" y="186"/>
                </a:lnTo>
                <a:lnTo>
                  <a:pt x="368" y="192"/>
                </a:lnTo>
                <a:lnTo>
                  <a:pt x="380" y="197"/>
                </a:lnTo>
                <a:lnTo>
                  <a:pt x="391" y="204"/>
                </a:lnTo>
                <a:lnTo>
                  <a:pt x="401" y="212"/>
                </a:lnTo>
                <a:lnTo>
                  <a:pt x="411" y="221"/>
                </a:lnTo>
                <a:lnTo>
                  <a:pt x="419" y="231"/>
                </a:lnTo>
                <a:lnTo>
                  <a:pt x="427" y="240"/>
                </a:lnTo>
                <a:lnTo>
                  <a:pt x="434" y="251"/>
                </a:lnTo>
                <a:lnTo>
                  <a:pt x="439" y="264"/>
                </a:lnTo>
                <a:lnTo>
                  <a:pt x="444" y="276"/>
                </a:lnTo>
                <a:lnTo>
                  <a:pt x="448" y="289"/>
                </a:lnTo>
                <a:lnTo>
                  <a:pt x="449" y="302"/>
                </a:lnTo>
                <a:lnTo>
                  <a:pt x="450" y="316"/>
                </a:lnTo>
                <a:lnTo>
                  <a:pt x="449" y="330"/>
                </a:lnTo>
                <a:lnTo>
                  <a:pt x="448" y="343"/>
                </a:lnTo>
                <a:lnTo>
                  <a:pt x="444" y="356"/>
                </a:lnTo>
                <a:lnTo>
                  <a:pt x="439" y="368"/>
                </a:lnTo>
                <a:lnTo>
                  <a:pt x="434" y="380"/>
                </a:lnTo>
                <a:lnTo>
                  <a:pt x="427" y="391"/>
                </a:lnTo>
                <a:lnTo>
                  <a:pt x="419" y="402"/>
                </a:lnTo>
                <a:lnTo>
                  <a:pt x="411" y="411"/>
                </a:lnTo>
                <a:lnTo>
                  <a:pt x="401" y="420"/>
                </a:lnTo>
                <a:lnTo>
                  <a:pt x="391" y="428"/>
                </a:lnTo>
                <a:lnTo>
                  <a:pt x="380" y="435"/>
                </a:lnTo>
                <a:lnTo>
                  <a:pt x="368" y="441"/>
                </a:lnTo>
                <a:lnTo>
                  <a:pt x="355" y="445"/>
                </a:lnTo>
                <a:lnTo>
                  <a:pt x="342" y="449"/>
                </a:lnTo>
                <a:lnTo>
                  <a:pt x="329" y="451"/>
                </a:lnTo>
                <a:lnTo>
                  <a:pt x="315" y="451"/>
                </a:lnTo>
                <a:close/>
                <a:moveTo>
                  <a:pt x="315" y="0"/>
                </a:moveTo>
                <a:lnTo>
                  <a:pt x="299" y="0"/>
                </a:lnTo>
                <a:lnTo>
                  <a:pt x="283" y="3"/>
                </a:lnTo>
                <a:lnTo>
                  <a:pt x="267" y="4"/>
                </a:lnTo>
                <a:lnTo>
                  <a:pt x="252" y="7"/>
                </a:lnTo>
                <a:lnTo>
                  <a:pt x="237" y="10"/>
                </a:lnTo>
                <a:lnTo>
                  <a:pt x="221" y="15"/>
                </a:lnTo>
                <a:lnTo>
                  <a:pt x="207" y="20"/>
                </a:lnTo>
                <a:lnTo>
                  <a:pt x="193" y="26"/>
                </a:lnTo>
                <a:lnTo>
                  <a:pt x="178" y="31"/>
                </a:lnTo>
                <a:lnTo>
                  <a:pt x="165" y="39"/>
                </a:lnTo>
                <a:lnTo>
                  <a:pt x="152" y="47"/>
                </a:lnTo>
                <a:lnTo>
                  <a:pt x="139" y="54"/>
                </a:lnTo>
                <a:lnTo>
                  <a:pt x="126" y="63"/>
                </a:lnTo>
                <a:lnTo>
                  <a:pt x="114" y="73"/>
                </a:lnTo>
                <a:lnTo>
                  <a:pt x="103" y="83"/>
                </a:lnTo>
                <a:lnTo>
                  <a:pt x="92" y="93"/>
                </a:lnTo>
                <a:lnTo>
                  <a:pt x="81" y="104"/>
                </a:lnTo>
                <a:lnTo>
                  <a:pt x="71" y="115"/>
                </a:lnTo>
                <a:lnTo>
                  <a:pt x="63" y="127"/>
                </a:lnTo>
                <a:lnTo>
                  <a:pt x="54" y="140"/>
                </a:lnTo>
                <a:lnTo>
                  <a:pt x="45" y="152"/>
                </a:lnTo>
                <a:lnTo>
                  <a:pt x="37" y="166"/>
                </a:lnTo>
                <a:lnTo>
                  <a:pt x="31" y="180"/>
                </a:lnTo>
                <a:lnTo>
                  <a:pt x="24" y="193"/>
                </a:lnTo>
                <a:lnTo>
                  <a:pt x="19" y="207"/>
                </a:lnTo>
                <a:lnTo>
                  <a:pt x="14" y="223"/>
                </a:lnTo>
                <a:lnTo>
                  <a:pt x="10" y="237"/>
                </a:lnTo>
                <a:lnTo>
                  <a:pt x="6" y="253"/>
                </a:lnTo>
                <a:lnTo>
                  <a:pt x="3" y="268"/>
                </a:lnTo>
                <a:lnTo>
                  <a:pt x="1" y="283"/>
                </a:lnTo>
                <a:lnTo>
                  <a:pt x="0" y="300"/>
                </a:lnTo>
                <a:lnTo>
                  <a:pt x="0" y="316"/>
                </a:lnTo>
                <a:lnTo>
                  <a:pt x="1" y="333"/>
                </a:lnTo>
                <a:lnTo>
                  <a:pt x="3" y="351"/>
                </a:lnTo>
                <a:lnTo>
                  <a:pt x="6" y="369"/>
                </a:lnTo>
                <a:lnTo>
                  <a:pt x="12" y="389"/>
                </a:lnTo>
                <a:lnTo>
                  <a:pt x="19" y="409"/>
                </a:lnTo>
                <a:lnTo>
                  <a:pt x="26" y="431"/>
                </a:lnTo>
                <a:lnTo>
                  <a:pt x="35" y="453"/>
                </a:lnTo>
                <a:lnTo>
                  <a:pt x="45" y="475"/>
                </a:lnTo>
                <a:lnTo>
                  <a:pt x="67" y="522"/>
                </a:lnTo>
                <a:lnTo>
                  <a:pt x="92" y="570"/>
                </a:lnTo>
                <a:lnTo>
                  <a:pt x="119" y="616"/>
                </a:lnTo>
                <a:lnTo>
                  <a:pt x="146" y="663"/>
                </a:lnTo>
                <a:lnTo>
                  <a:pt x="175" y="707"/>
                </a:lnTo>
                <a:lnTo>
                  <a:pt x="201" y="749"/>
                </a:lnTo>
                <a:lnTo>
                  <a:pt x="227" y="788"/>
                </a:lnTo>
                <a:lnTo>
                  <a:pt x="251" y="822"/>
                </a:lnTo>
                <a:lnTo>
                  <a:pt x="286" y="872"/>
                </a:lnTo>
                <a:lnTo>
                  <a:pt x="303" y="895"/>
                </a:lnTo>
                <a:lnTo>
                  <a:pt x="306" y="898"/>
                </a:lnTo>
                <a:lnTo>
                  <a:pt x="308" y="900"/>
                </a:lnTo>
                <a:lnTo>
                  <a:pt x="311" y="901"/>
                </a:lnTo>
                <a:lnTo>
                  <a:pt x="315" y="901"/>
                </a:lnTo>
                <a:lnTo>
                  <a:pt x="318" y="901"/>
                </a:lnTo>
                <a:lnTo>
                  <a:pt x="321" y="900"/>
                </a:lnTo>
                <a:lnTo>
                  <a:pt x="325" y="898"/>
                </a:lnTo>
                <a:lnTo>
                  <a:pt x="327" y="895"/>
                </a:lnTo>
                <a:lnTo>
                  <a:pt x="343" y="872"/>
                </a:lnTo>
                <a:lnTo>
                  <a:pt x="380" y="822"/>
                </a:lnTo>
                <a:lnTo>
                  <a:pt x="403" y="788"/>
                </a:lnTo>
                <a:lnTo>
                  <a:pt x="428" y="749"/>
                </a:lnTo>
                <a:lnTo>
                  <a:pt x="456" y="707"/>
                </a:lnTo>
                <a:lnTo>
                  <a:pt x="483" y="663"/>
                </a:lnTo>
                <a:lnTo>
                  <a:pt x="511" y="616"/>
                </a:lnTo>
                <a:lnTo>
                  <a:pt x="537" y="570"/>
                </a:lnTo>
                <a:lnTo>
                  <a:pt x="562" y="522"/>
                </a:lnTo>
                <a:lnTo>
                  <a:pt x="585" y="475"/>
                </a:lnTo>
                <a:lnTo>
                  <a:pt x="594" y="453"/>
                </a:lnTo>
                <a:lnTo>
                  <a:pt x="603" y="431"/>
                </a:lnTo>
                <a:lnTo>
                  <a:pt x="611" y="409"/>
                </a:lnTo>
                <a:lnTo>
                  <a:pt x="618" y="389"/>
                </a:lnTo>
                <a:lnTo>
                  <a:pt x="623" y="369"/>
                </a:lnTo>
                <a:lnTo>
                  <a:pt x="627" y="351"/>
                </a:lnTo>
                <a:lnTo>
                  <a:pt x="630" y="333"/>
                </a:lnTo>
                <a:lnTo>
                  <a:pt x="631" y="316"/>
                </a:lnTo>
                <a:lnTo>
                  <a:pt x="630" y="300"/>
                </a:lnTo>
                <a:lnTo>
                  <a:pt x="629" y="283"/>
                </a:lnTo>
                <a:lnTo>
                  <a:pt x="626" y="268"/>
                </a:lnTo>
                <a:lnTo>
                  <a:pt x="624" y="253"/>
                </a:lnTo>
                <a:lnTo>
                  <a:pt x="621" y="237"/>
                </a:lnTo>
                <a:lnTo>
                  <a:pt x="616" y="223"/>
                </a:lnTo>
                <a:lnTo>
                  <a:pt x="611" y="207"/>
                </a:lnTo>
                <a:lnTo>
                  <a:pt x="605" y="193"/>
                </a:lnTo>
                <a:lnTo>
                  <a:pt x="599" y="180"/>
                </a:lnTo>
                <a:lnTo>
                  <a:pt x="592" y="166"/>
                </a:lnTo>
                <a:lnTo>
                  <a:pt x="585" y="152"/>
                </a:lnTo>
                <a:lnTo>
                  <a:pt x="577" y="140"/>
                </a:lnTo>
                <a:lnTo>
                  <a:pt x="568" y="127"/>
                </a:lnTo>
                <a:lnTo>
                  <a:pt x="558" y="116"/>
                </a:lnTo>
                <a:lnTo>
                  <a:pt x="548" y="104"/>
                </a:lnTo>
                <a:lnTo>
                  <a:pt x="538" y="93"/>
                </a:lnTo>
                <a:lnTo>
                  <a:pt x="527" y="83"/>
                </a:lnTo>
                <a:lnTo>
                  <a:pt x="515" y="73"/>
                </a:lnTo>
                <a:lnTo>
                  <a:pt x="504" y="63"/>
                </a:lnTo>
                <a:lnTo>
                  <a:pt x="491" y="54"/>
                </a:lnTo>
                <a:lnTo>
                  <a:pt x="479" y="47"/>
                </a:lnTo>
                <a:lnTo>
                  <a:pt x="466" y="39"/>
                </a:lnTo>
                <a:lnTo>
                  <a:pt x="451" y="31"/>
                </a:lnTo>
                <a:lnTo>
                  <a:pt x="438" y="26"/>
                </a:lnTo>
                <a:lnTo>
                  <a:pt x="424" y="20"/>
                </a:lnTo>
                <a:lnTo>
                  <a:pt x="408" y="15"/>
                </a:lnTo>
                <a:lnTo>
                  <a:pt x="394" y="10"/>
                </a:lnTo>
                <a:lnTo>
                  <a:pt x="379" y="7"/>
                </a:lnTo>
                <a:lnTo>
                  <a:pt x="363" y="5"/>
                </a:lnTo>
                <a:lnTo>
                  <a:pt x="348" y="3"/>
                </a:lnTo>
                <a:lnTo>
                  <a:pt x="331" y="2"/>
                </a:lnTo>
                <a:lnTo>
                  <a:pt x="315" y="0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4" name="Freeform 2511">
            <a:extLst>
              <a:ext uri="{FF2B5EF4-FFF2-40B4-BE49-F238E27FC236}">
                <a16:creationId xmlns:a16="http://schemas.microsoft.com/office/drawing/2014/main" id="{295C3734-97AF-425F-B17D-0EB5D5309053}"/>
              </a:ext>
            </a:extLst>
          </p:cNvPr>
          <p:cNvSpPr>
            <a:spLocks noEditPoints="1"/>
          </p:cNvSpPr>
          <p:nvPr/>
        </p:nvSpPr>
        <p:spPr bwMode="auto">
          <a:xfrm>
            <a:off x="4442727" y="1770818"/>
            <a:ext cx="201613" cy="285750"/>
          </a:xfrm>
          <a:custGeom>
            <a:avLst/>
            <a:gdLst>
              <a:gd name="T0" fmla="*/ 288 w 631"/>
              <a:gd name="T1" fmla="*/ 449 h 901"/>
              <a:gd name="T2" fmla="*/ 251 w 631"/>
              <a:gd name="T3" fmla="*/ 434 h 901"/>
              <a:gd name="T4" fmla="*/ 220 w 631"/>
              <a:gd name="T5" fmla="*/ 411 h 901"/>
              <a:gd name="T6" fmla="*/ 196 w 631"/>
              <a:gd name="T7" fmla="*/ 380 h 901"/>
              <a:gd name="T8" fmla="*/ 183 w 631"/>
              <a:gd name="T9" fmla="*/ 343 h 901"/>
              <a:gd name="T10" fmla="*/ 180 w 631"/>
              <a:gd name="T11" fmla="*/ 302 h 901"/>
              <a:gd name="T12" fmla="*/ 190 w 631"/>
              <a:gd name="T13" fmla="*/ 264 h 901"/>
              <a:gd name="T14" fmla="*/ 211 w 631"/>
              <a:gd name="T15" fmla="*/ 231 h 901"/>
              <a:gd name="T16" fmla="*/ 240 w 631"/>
              <a:gd name="T17" fmla="*/ 204 h 901"/>
              <a:gd name="T18" fmla="*/ 275 w 631"/>
              <a:gd name="T19" fmla="*/ 186 h 901"/>
              <a:gd name="T20" fmla="*/ 315 w 631"/>
              <a:gd name="T21" fmla="*/ 181 h 901"/>
              <a:gd name="T22" fmla="*/ 355 w 631"/>
              <a:gd name="T23" fmla="*/ 186 h 901"/>
              <a:gd name="T24" fmla="*/ 391 w 631"/>
              <a:gd name="T25" fmla="*/ 204 h 901"/>
              <a:gd name="T26" fmla="*/ 419 w 631"/>
              <a:gd name="T27" fmla="*/ 231 h 901"/>
              <a:gd name="T28" fmla="*/ 439 w 631"/>
              <a:gd name="T29" fmla="*/ 264 h 901"/>
              <a:gd name="T30" fmla="*/ 449 w 631"/>
              <a:gd name="T31" fmla="*/ 302 h 901"/>
              <a:gd name="T32" fmla="*/ 448 w 631"/>
              <a:gd name="T33" fmla="*/ 343 h 901"/>
              <a:gd name="T34" fmla="*/ 434 w 631"/>
              <a:gd name="T35" fmla="*/ 380 h 901"/>
              <a:gd name="T36" fmla="*/ 411 w 631"/>
              <a:gd name="T37" fmla="*/ 411 h 901"/>
              <a:gd name="T38" fmla="*/ 380 w 631"/>
              <a:gd name="T39" fmla="*/ 435 h 901"/>
              <a:gd name="T40" fmla="*/ 342 w 631"/>
              <a:gd name="T41" fmla="*/ 449 h 901"/>
              <a:gd name="T42" fmla="*/ 315 w 631"/>
              <a:gd name="T43" fmla="*/ 0 h 901"/>
              <a:gd name="T44" fmla="*/ 267 w 631"/>
              <a:gd name="T45" fmla="*/ 4 h 901"/>
              <a:gd name="T46" fmla="*/ 221 w 631"/>
              <a:gd name="T47" fmla="*/ 15 h 901"/>
              <a:gd name="T48" fmla="*/ 178 w 631"/>
              <a:gd name="T49" fmla="*/ 31 h 901"/>
              <a:gd name="T50" fmla="*/ 139 w 631"/>
              <a:gd name="T51" fmla="*/ 54 h 901"/>
              <a:gd name="T52" fmla="*/ 103 w 631"/>
              <a:gd name="T53" fmla="*/ 83 h 901"/>
              <a:gd name="T54" fmla="*/ 71 w 631"/>
              <a:gd name="T55" fmla="*/ 115 h 901"/>
              <a:gd name="T56" fmla="*/ 45 w 631"/>
              <a:gd name="T57" fmla="*/ 152 h 901"/>
              <a:gd name="T58" fmla="*/ 24 w 631"/>
              <a:gd name="T59" fmla="*/ 193 h 901"/>
              <a:gd name="T60" fmla="*/ 10 w 631"/>
              <a:gd name="T61" fmla="*/ 237 h 901"/>
              <a:gd name="T62" fmla="*/ 1 w 631"/>
              <a:gd name="T63" fmla="*/ 283 h 901"/>
              <a:gd name="T64" fmla="*/ 1 w 631"/>
              <a:gd name="T65" fmla="*/ 333 h 901"/>
              <a:gd name="T66" fmla="*/ 12 w 631"/>
              <a:gd name="T67" fmla="*/ 389 h 901"/>
              <a:gd name="T68" fmla="*/ 35 w 631"/>
              <a:gd name="T69" fmla="*/ 453 h 901"/>
              <a:gd name="T70" fmla="*/ 92 w 631"/>
              <a:gd name="T71" fmla="*/ 570 h 901"/>
              <a:gd name="T72" fmla="*/ 175 w 631"/>
              <a:gd name="T73" fmla="*/ 707 h 901"/>
              <a:gd name="T74" fmla="*/ 251 w 631"/>
              <a:gd name="T75" fmla="*/ 822 h 901"/>
              <a:gd name="T76" fmla="*/ 306 w 631"/>
              <a:gd name="T77" fmla="*/ 898 h 901"/>
              <a:gd name="T78" fmla="*/ 315 w 631"/>
              <a:gd name="T79" fmla="*/ 901 h 901"/>
              <a:gd name="T80" fmla="*/ 325 w 631"/>
              <a:gd name="T81" fmla="*/ 898 h 901"/>
              <a:gd name="T82" fmla="*/ 380 w 631"/>
              <a:gd name="T83" fmla="*/ 822 h 901"/>
              <a:gd name="T84" fmla="*/ 456 w 631"/>
              <a:gd name="T85" fmla="*/ 707 h 901"/>
              <a:gd name="T86" fmla="*/ 537 w 631"/>
              <a:gd name="T87" fmla="*/ 570 h 901"/>
              <a:gd name="T88" fmla="*/ 594 w 631"/>
              <a:gd name="T89" fmla="*/ 453 h 901"/>
              <a:gd name="T90" fmla="*/ 618 w 631"/>
              <a:gd name="T91" fmla="*/ 389 h 901"/>
              <a:gd name="T92" fmla="*/ 630 w 631"/>
              <a:gd name="T93" fmla="*/ 333 h 901"/>
              <a:gd name="T94" fmla="*/ 629 w 631"/>
              <a:gd name="T95" fmla="*/ 283 h 901"/>
              <a:gd name="T96" fmla="*/ 621 w 631"/>
              <a:gd name="T97" fmla="*/ 237 h 901"/>
              <a:gd name="T98" fmla="*/ 605 w 631"/>
              <a:gd name="T99" fmla="*/ 193 h 901"/>
              <a:gd name="T100" fmla="*/ 585 w 631"/>
              <a:gd name="T101" fmla="*/ 152 h 901"/>
              <a:gd name="T102" fmla="*/ 558 w 631"/>
              <a:gd name="T103" fmla="*/ 116 h 901"/>
              <a:gd name="T104" fmla="*/ 527 w 631"/>
              <a:gd name="T105" fmla="*/ 83 h 901"/>
              <a:gd name="T106" fmla="*/ 491 w 631"/>
              <a:gd name="T107" fmla="*/ 54 h 901"/>
              <a:gd name="T108" fmla="*/ 451 w 631"/>
              <a:gd name="T109" fmla="*/ 31 h 901"/>
              <a:gd name="T110" fmla="*/ 408 w 631"/>
              <a:gd name="T111" fmla="*/ 15 h 901"/>
              <a:gd name="T112" fmla="*/ 363 w 631"/>
              <a:gd name="T113" fmla="*/ 5 h 901"/>
              <a:gd name="T114" fmla="*/ 315 w 631"/>
              <a:gd name="T115" fmla="*/ 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31" h="901">
                <a:moveTo>
                  <a:pt x="315" y="451"/>
                </a:moveTo>
                <a:lnTo>
                  <a:pt x="302" y="451"/>
                </a:lnTo>
                <a:lnTo>
                  <a:pt x="288" y="449"/>
                </a:lnTo>
                <a:lnTo>
                  <a:pt x="275" y="445"/>
                </a:lnTo>
                <a:lnTo>
                  <a:pt x="263" y="441"/>
                </a:lnTo>
                <a:lnTo>
                  <a:pt x="251" y="434"/>
                </a:lnTo>
                <a:lnTo>
                  <a:pt x="240" y="428"/>
                </a:lnTo>
                <a:lnTo>
                  <a:pt x="229" y="420"/>
                </a:lnTo>
                <a:lnTo>
                  <a:pt x="220" y="411"/>
                </a:lnTo>
                <a:lnTo>
                  <a:pt x="211" y="402"/>
                </a:lnTo>
                <a:lnTo>
                  <a:pt x="204" y="391"/>
                </a:lnTo>
                <a:lnTo>
                  <a:pt x="196" y="380"/>
                </a:lnTo>
                <a:lnTo>
                  <a:pt x="190" y="368"/>
                </a:lnTo>
                <a:lnTo>
                  <a:pt x="186" y="356"/>
                </a:lnTo>
                <a:lnTo>
                  <a:pt x="183" y="343"/>
                </a:lnTo>
                <a:lnTo>
                  <a:pt x="180" y="330"/>
                </a:lnTo>
                <a:lnTo>
                  <a:pt x="180" y="316"/>
                </a:lnTo>
                <a:lnTo>
                  <a:pt x="180" y="302"/>
                </a:lnTo>
                <a:lnTo>
                  <a:pt x="183" y="289"/>
                </a:lnTo>
                <a:lnTo>
                  <a:pt x="186" y="276"/>
                </a:lnTo>
                <a:lnTo>
                  <a:pt x="190" y="264"/>
                </a:lnTo>
                <a:lnTo>
                  <a:pt x="196" y="251"/>
                </a:lnTo>
                <a:lnTo>
                  <a:pt x="204" y="240"/>
                </a:lnTo>
                <a:lnTo>
                  <a:pt x="211" y="231"/>
                </a:lnTo>
                <a:lnTo>
                  <a:pt x="220" y="221"/>
                </a:lnTo>
                <a:lnTo>
                  <a:pt x="229" y="212"/>
                </a:lnTo>
                <a:lnTo>
                  <a:pt x="240" y="204"/>
                </a:lnTo>
                <a:lnTo>
                  <a:pt x="251" y="197"/>
                </a:lnTo>
                <a:lnTo>
                  <a:pt x="263" y="192"/>
                </a:lnTo>
                <a:lnTo>
                  <a:pt x="275" y="186"/>
                </a:lnTo>
                <a:lnTo>
                  <a:pt x="288" y="183"/>
                </a:lnTo>
                <a:lnTo>
                  <a:pt x="302" y="181"/>
                </a:lnTo>
                <a:lnTo>
                  <a:pt x="315" y="181"/>
                </a:lnTo>
                <a:lnTo>
                  <a:pt x="329" y="181"/>
                </a:lnTo>
                <a:lnTo>
                  <a:pt x="342" y="183"/>
                </a:lnTo>
                <a:lnTo>
                  <a:pt x="355" y="186"/>
                </a:lnTo>
                <a:lnTo>
                  <a:pt x="368" y="192"/>
                </a:lnTo>
                <a:lnTo>
                  <a:pt x="380" y="197"/>
                </a:lnTo>
                <a:lnTo>
                  <a:pt x="391" y="204"/>
                </a:lnTo>
                <a:lnTo>
                  <a:pt x="401" y="212"/>
                </a:lnTo>
                <a:lnTo>
                  <a:pt x="411" y="221"/>
                </a:lnTo>
                <a:lnTo>
                  <a:pt x="419" y="231"/>
                </a:lnTo>
                <a:lnTo>
                  <a:pt x="427" y="240"/>
                </a:lnTo>
                <a:lnTo>
                  <a:pt x="434" y="251"/>
                </a:lnTo>
                <a:lnTo>
                  <a:pt x="439" y="264"/>
                </a:lnTo>
                <a:lnTo>
                  <a:pt x="444" y="276"/>
                </a:lnTo>
                <a:lnTo>
                  <a:pt x="448" y="289"/>
                </a:lnTo>
                <a:lnTo>
                  <a:pt x="449" y="302"/>
                </a:lnTo>
                <a:lnTo>
                  <a:pt x="450" y="316"/>
                </a:lnTo>
                <a:lnTo>
                  <a:pt x="449" y="330"/>
                </a:lnTo>
                <a:lnTo>
                  <a:pt x="448" y="343"/>
                </a:lnTo>
                <a:lnTo>
                  <a:pt x="444" y="356"/>
                </a:lnTo>
                <a:lnTo>
                  <a:pt x="439" y="368"/>
                </a:lnTo>
                <a:lnTo>
                  <a:pt x="434" y="380"/>
                </a:lnTo>
                <a:lnTo>
                  <a:pt x="427" y="391"/>
                </a:lnTo>
                <a:lnTo>
                  <a:pt x="419" y="402"/>
                </a:lnTo>
                <a:lnTo>
                  <a:pt x="411" y="411"/>
                </a:lnTo>
                <a:lnTo>
                  <a:pt x="401" y="420"/>
                </a:lnTo>
                <a:lnTo>
                  <a:pt x="391" y="428"/>
                </a:lnTo>
                <a:lnTo>
                  <a:pt x="380" y="435"/>
                </a:lnTo>
                <a:lnTo>
                  <a:pt x="368" y="441"/>
                </a:lnTo>
                <a:lnTo>
                  <a:pt x="355" y="445"/>
                </a:lnTo>
                <a:lnTo>
                  <a:pt x="342" y="449"/>
                </a:lnTo>
                <a:lnTo>
                  <a:pt x="329" y="451"/>
                </a:lnTo>
                <a:lnTo>
                  <a:pt x="315" y="451"/>
                </a:lnTo>
                <a:close/>
                <a:moveTo>
                  <a:pt x="315" y="0"/>
                </a:moveTo>
                <a:lnTo>
                  <a:pt x="299" y="0"/>
                </a:lnTo>
                <a:lnTo>
                  <a:pt x="283" y="3"/>
                </a:lnTo>
                <a:lnTo>
                  <a:pt x="267" y="4"/>
                </a:lnTo>
                <a:lnTo>
                  <a:pt x="252" y="7"/>
                </a:lnTo>
                <a:lnTo>
                  <a:pt x="237" y="10"/>
                </a:lnTo>
                <a:lnTo>
                  <a:pt x="221" y="15"/>
                </a:lnTo>
                <a:lnTo>
                  <a:pt x="207" y="20"/>
                </a:lnTo>
                <a:lnTo>
                  <a:pt x="193" y="26"/>
                </a:lnTo>
                <a:lnTo>
                  <a:pt x="178" y="31"/>
                </a:lnTo>
                <a:lnTo>
                  <a:pt x="165" y="39"/>
                </a:lnTo>
                <a:lnTo>
                  <a:pt x="152" y="47"/>
                </a:lnTo>
                <a:lnTo>
                  <a:pt x="139" y="54"/>
                </a:lnTo>
                <a:lnTo>
                  <a:pt x="126" y="63"/>
                </a:lnTo>
                <a:lnTo>
                  <a:pt x="114" y="73"/>
                </a:lnTo>
                <a:lnTo>
                  <a:pt x="103" y="83"/>
                </a:lnTo>
                <a:lnTo>
                  <a:pt x="92" y="93"/>
                </a:lnTo>
                <a:lnTo>
                  <a:pt x="81" y="104"/>
                </a:lnTo>
                <a:lnTo>
                  <a:pt x="71" y="115"/>
                </a:lnTo>
                <a:lnTo>
                  <a:pt x="63" y="127"/>
                </a:lnTo>
                <a:lnTo>
                  <a:pt x="54" y="140"/>
                </a:lnTo>
                <a:lnTo>
                  <a:pt x="45" y="152"/>
                </a:lnTo>
                <a:lnTo>
                  <a:pt x="37" y="166"/>
                </a:lnTo>
                <a:lnTo>
                  <a:pt x="31" y="180"/>
                </a:lnTo>
                <a:lnTo>
                  <a:pt x="24" y="193"/>
                </a:lnTo>
                <a:lnTo>
                  <a:pt x="19" y="207"/>
                </a:lnTo>
                <a:lnTo>
                  <a:pt x="14" y="223"/>
                </a:lnTo>
                <a:lnTo>
                  <a:pt x="10" y="237"/>
                </a:lnTo>
                <a:lnTo>
                  <a:pt x="6" y="253"/>
                </a:lnTo>
                <a:lnTo>
                  <a:pt x="3" y="268"/>
                </a:lnTo>
                <a:lnTo>
                  <a:pt x="1" y="283"/>
                </a:lnTo>
                <a:lnTo>
                  <a:pt x="0" y="300"/>
                </a:lnTo>
                <a:lnTo>
                  <a:pt x="0" y="316"/>
                </a:lnTo>
                <a:lnTo>
                  <a:pt x="1" y="333"/>
                </a:lnTo>
                <a:lnTo>
                  <a:pt x="3" y="351"/>
                </a:lnTo>
                <a:lnTo>
                  <a:pt x="6" y="369"/>
                </a:lnTo>
                <a:lnTo>
                  <a:pt x="12" y="389"/>
                </a:lnTo>
                <a:lnTo>
                  <a:pt x="19" y="409"/>
                </a:lnTo>
                <a:lnTo>
                  <a:pt x="26" y="431"/>
                </a:lnTo>
                <a:lnTo>
                  <a:pt x="35" y="453"/>
                </a:lnTo>
                <a:lnTo>
                  <a:pt x="45" y="475"/>
                </a:lnTo>
                <a:lnTo>
                  <a:pt x="67" y="522"/>
                </a:lnTo>
                <a:lnTo>
                  <a:pt x="92" y="570"/>
                </a:lnTo>
                <a:lnTo>
                  <a:pt x="119" y="616"/>
                </a:lnTo>
                <a:lnTo>
                  <a:pt x="146" y="663"/>
                </a:lnTo>
                <a:lnTo>
                  <a:pt x="175" y="707"/>
                </a:lnTo>
                <a:lnTo>
                  <a:pt x="201" y="749"/>
                </a:lnTo>
                <a:lnTo>
                  <a:pt x="227" y="788"/>
                </a:lnTo>
                <a:lnTo>
                  <a:pt x="251" y="822"/>
                </a:lnTo>
                <a:lnTo>
                  <a:pt x="286" y="872"/>
                </a:lnTo>
                <a:lnTo>
                  <a:pt x="303" y="895"/>
                </a:lnTo>
                <a:lnTo>
                  <a:pt x="306" y="898"/>
                </a:lnTo>
                <a:lnTo>
                  <a:pt x="308" y="900"/>
                </a:lnTo>
                <a:lnTo>
                  <a:pt x="311" y="901"/>
                </a:lnTo>
                <a:lnTo>
                  <a:pt x="315" y="901"/>
                </a:lnTo>
                <a:lnTo>
                  <a:pt x="318" y="901"/>
                </a:lnTo>
                <a:lnTo>
                  <a:pt x="321" y="900"/>
                </a:lnTo>
                <a:lnTo>
                  <a:pt x="325" y="898"/>
                </a:lnTo>
                <a:lnTo>
                  <a:pt x="327" y="895"/>
                </a:lnTo>
                <a:lnTo>
                  <a:pt x="343" y="872"/>
                </a:lnTo>
                <a:lnTo>
                  <a:pt x="380" y="822"/>
                </a:lnTo>
                <a:lnTo>
                  <a:pt x="403" y="788"/>
                </a:lnTo>
                <a:lnTo>
                  <a:pt x="428" y="749"/>
                </a:lnTo>
                <a:lnTo>
                  <a:pt x="456" y="707"/>
                </a:lnTo>
                <a:lnTo>
                  <a:pt x="483" y="663"/>
                </a:lnTo>
                <a:lnTo>
                  <a:pt x="511" y="616"/>
                </a:lnTo>
                <a:lnTo>
                  <a:pt x="537" y="570"/>
                </a:lnTo>
                <a:lnTo>
                  <a:pt x="562" y="522"/>
                </a:lnTo>
                <a:lnTo>
                  <a:pt x="585" y="475"/>
                </a:lnTo>
                <a:lnTo>
                  <a:pt x="594" y="453"/>
                </a:lnTo>
                <a:lnTo>
                  <a:pt x="603" y="431"/>
                </a:lnTo>
                <a:lnTo>
                  <a:pt x="611" y="409"/>
                </a:lnTo>
                <a:lnTo>
                  <a:pt x="618" y="389"/>
                </a:lnTo>
                <a:lnTo>
                  <a:pt x="623" y="369"/>
                </a:lnTo>
                <a:lnTo>
                  <a:pt x="627" y="351"/>
                </a:lnTo>
                <a:lnTo>
                  <a:pt x="630" y="333"/>
                </a:lnTo>
                <a:lnTo>
                  <a:pt x="631" y="316"/>
                </a:lnTo>
                <a:lnTo>
                  <a:pt x="630" y="300"/>
                </a:lnTo>
                <a:lnTo>
                  <a:pt x="629" y="283"/>
                </a:lnTo>
                <a:lnTo>
                  <a:pt x="626" y="268"/>
                </a:lnTo>
                <a:lnTo>
                  <a:pt x="624" y="253"/>
                </a:lnTo>
                <a:lnTo>
                  <a:pt x="621" y="237"/>
                </a:lnTo>
                <a:lnTo>
                  <a:pt x="616" y="223"/>
                </a:lnTo>
                <a:lnTo>
                  <a:pt x="611" y="207"/>
                </a:lnTo>
                <a:lnTo>
                  <a:pt x="605" y="193"/>
                </a:lnTo>
                <a:lnTo>
                  <a:pt x="599" y="180"/>
                </a:lnTo>
                <a:lnTo>
                  <a:pt x="592" y="166"/>
                </a:lnTo>
                <a:lnTo>
                  <a:pt x="585" y="152"/>
                </a:lnTo>
                <a:lnTo>
                  <a:pt x="577" y="140"/>
                </a:lnTo>
                <a:lnTo>
                  <a:pt x="568" y="127"/>
                </a:lnTo>
                <a:lnTo>
                  <a:pt x="558" y="116"/>
                </a:lnTo>
                <a:lnTo>
                  <a:pt x="548" y="104"/>
                </a:lnTo>
                <a:lnTo>
                  <a:pt x="538" y="93"/>
                </a:lnTo>
                <a:lnTo>
                  <a:pt x="527" y="83"/>
                </a:lnTo>
                <a:lnTo>
                  <a:pt x="515" y="73"/>
                </a:lnTo>
                <a:lnTo>
                  <a:pt x="504" y="63"/>
                </a:lnTo>
                <a:lnTo>
                  <a:pt x="491" y="54"/>
                </a:lnTo>
                <a:lnTo>
                  <a:pt x="479" y="47"/>
                </a:lnTo>
                <a:lnTo>
                  <a:pt x="466" y="39"/>
                </a:lnTo>
                <a:lnTo>
                  <a:pt x="451" y="31"/>
                </a:lnTo>
                <a:lnTo>
                  <a:pt x="438" y="26"/>
                </a:lnTo>
                <a:lnTo>
                  <a:pt x="424" y="20"/>
                </a:lnTo>
                <a:lnTo>
                  <a:pt x="408" y="15"/>
                </a:lnTo>
                <a:lnTo>
                  <a:pt x="394" y="10"/>
                </a:lnTo>
                <a:lnTo>
                  <a:pt x="379" y="7"/>
                </a:lnTo>
                <a:lnTo>
                  <a:pt x="363" y="5"/>
                </a:lnTo>
                <a:lnTo>
                  <a:pt x="348" y="3"/>
                </a:lnTo>
                <a:lnTo>
                  <a:pt x="331" y="2"/>
                </a:lnTo>
                <a:lnTo>
                  <a:pt x="315" y="0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01937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BD3BB9-7494-4054-ABD5-BF4DEDF50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7AEFA-B56B-463F-809E-4A0CAC2C214B}" type="datetime1">
              <a:rPr lang="en-US" sz="1000" smtClean="0">
                <a:solidFill>
                  <a:schemeClr val="tx1"/>
                </a:solidFill>
              </a:rPr>
              <a:t>8/17/2020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4D9497-D6ED-4F5D-9AF8-723FC8208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z="1000" smtClean="0">
                <a:solidFill>
                  <a:schemeClr val="tx1"/>
                </a:solidFill>
              </a:rPr>
              <a:t>4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4" name="Rectangle 70">
            <a:extLst>
              <a:ext uri="{FF2B5EF4-FFF2-40B4-BE49-F238E27FC236}">
                <a16:creationId xmlns:a16="http://schemas.microsoft.com/office/drawing/2014/main" id="{2C7F6899-AA89-4ACF-BBC6-9182A564A0B3}"/>
              </a:ext>
            </a:extLst>
          </p:cNvPr>
          <p:cNvSpPr/>
          <p:nvPr/>
        </p:nvSpPr>
        <p:spPr>
          <a:xfrm>
            <a:off x="2054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70">
            <a:extLst>
              <a:ext uri="{FF2B5EF4-FFF2-40B4-BE49-F238E27FC236}">
                <a16:creationId xmlns:a16="http://schemas.microsoft.com/office/drawing/2014/main" id="{46EBEB8D-01EC-4B1A-B44A-BDF60EEB1BDB}"/>
              </a:ext>
            </a:extLst>
          </p:cNvPr>
          <p:cNvSpPr/>
          <p:nvPr/>
        </p:nvSpPr>
        <p:spPr>
          <a:xfrm rot="10800000">
            <a:off x="114830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70">
            <a:extLst>
              <a:ext uri="{FF2B5EF4-FFF2-40B4-BE49-F238E27FC236}">
                <a16:creationId xmlns:a16="http://schemas.microsoft.com/office/drawing/2014/main" id="{0EFEE770-1BB8-4BC8-92D5-8B8941EDBE25}"/>
              </a:ext>
            </a:extLst>
          </p:cNvPr>
          <p:cNvSpPr/>
          <p:nvPr/>
        </p:nvSpPr>
        <p:spPr>
          <a:xfrm flipV="1">
            <a:off x="2054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70">
            <a:extLst>
              <a:ext uri="{FF2B5EF4-FFF2-40B4-BE49-F238E27FC236}">
                <a16:creationId xmlns:a16="http://schemas.microsoft.com/office/drawing/2014/main" id="{68FA4209-A2EF-480B-BBDC-DE5322790CE7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FE3DD1-8761-4FA2-A00F-4C407ED92CBC}"/>
              </a:ext>
            </a:extLst>
          </p:cNvPr>
          <p:cNvSpPr txBox="1"/>
          <p:nvPr/>
        </p:nvSpPr>
        <p:spPr>
          <a:xfrm>
            <a:off x="708963" y="250833"/>
            <a:ext cx="10774074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/>
              <a:t>EUROPE MAP</a:t>
            </a:r>
          </a:p>
        </p:txBody>
      </p: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F7AD94EF-748A-4BF3-806C-0A92F623F4AA}"/>
              </a:ext>
            </a:extLst>
          </p:cNvPr>
          <p:cNvGrpSpPr/>
          <p:nvPr/>
        </p:nvGrpSpPr>
        <p:grpSpPr>
          <a:xfrm>
            <a:off x="843391" y="1275204"/>
            <a:ext cx="5698576" cy="4764792"/>
            <a:chOff x="2616200" y="2406651"/>
            <a:chExt cx="2170113" cy="1814512"/>
          </a:xfrm>
          <a:solidFill>
            <a:schemeClr val="bg1">
              <a:lumMod val="85000"/>
            </a:schemeClr>
          </a:solidFill>
        </p:grpSpPr>
        <p:sp>
          <p:nvSpPr>
            <p:cNvPr id="147" name="Freeform 5">
              <a:extLst>
                <a:ext uri="{FF2B5EF4-FFF2-40B4-BE49-F238E27FC236}">
                  <a16:creationId xmlns:a16="http://schemas.microsoft.com/office/drawing/2014/main" id="{3A7054CA-C8B4-42E3-AE85-9D2BC2C54F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438" y="3563938"/>
              <a:ext cx="125413" cy="149225"/>
            </a:xfrm>
            <a:custGeom>
              <a:avLst/>
              <a:gdLst>
                <a:gd name="T0" fmla="*/ 28 w 42"/>
                <a:gd name="T1" fmla="*/ 46 h 50"/>
                <a:gd name="T2" fmla="*/ 31 w 42"/>
                <a:gd name="T3" fmla="*/ 45 h 50"/>
                <a:gd name="T4" fmla="*/ 34 w 42"/>
                <a:gd name="T5" fmla="*/ 40 h 50"/>
                <a:gd name="T6" fmla="*/ 37 w 42"/>
                <a:gd name="T7" fmla="*/ 34 h 50"/>
                <a:gd name="T8" fmla="*/ 39 w 42"/>
                <a:gd name="T9" fmla="*/ 34 h 50"/>
                <a:gd name="T10" fmla="*/ 42 w 42"/>
                <a:gd name="T11" fmla="*/ 29 h 50"/>
                <a:gd name="T12" fmla="*/ 41 w 42"/>
                <a:gd name="T13" fmla="*/ 21 h 50"/>
                <a:gd name="T14" fmla="*/ 37 w 42"/>
                <a:gd name="T15" fmla="*/ 17 h 50"/>
                <a:gd name="T16" fmla="*/ 35 w 42"/>
                <a:gd name="T17" fmla="*/ 17 h 50"/>
                <a:gd name="T18" fmla="*/ 31 w 42"/>
                <a:gd name="T19" fmla="*/ 14 h 50"/>
                <a:gd name="T20" fmla="*/ 27 w 42"/>
                <a:gd name="T21" fmla="*/ 3 h 50"/>
                <a:gd name="T22" fmla="*/ 23 w 42"/>
                <a:gd name="T23" fmla="*/ 0 h 50"/>
                <a:gd name="T24" fmla="*/ 5 w 42"/>
                <a:gd name="T25" fmla="*/ 0 h 50"/>
                <a:gd name="T26" fmla="*/ 0 w 42"/>
                <a:gd name="T27" fmla="*/ 5 h 50"/>
                <a:gd name="T28" fmla="*/ 0 w 42"/>
                <a:gd name="T29" fmla="*/ 8 h 50"/>
                <a:gd name="T30" fmla="*/ 1 w 42"/>
                <a:gd name="T31" fmla="*/ 8 h 50"/>
                <a:gd name="T32" fmla="*/ 8 w 42"/>
                <a:gd name="T33" fmla="*/ 12 h 50"/>
                <a:gd name="T34" fmla="*/ 8 w 42"/>
                <a:gd name="T35" fmla="*/ 14 h 50"/>
                <a:gd name="T36" fmla="*/ 13 w 42"/>
                <a:gd name="T37" fmla="*/ 19 h 50"/>
                <a:gd name="T38" fmla="*/ 16 w 42"/>
                <a:gd name="T39" fmla="*/ 20 h 50"/>
                <a:gd name="T40" fmla="*/ 20 w 42"/>
                <a:gd name="T41" fmla="*/ 23 h 50"/>
                <a:gd name="T42" fmla="*/ 28 w 42"/>
                <a:gd name="T43" fmla="*/ 40 h 50"/>
                <a:gd name="T44" fmla="*/ 28 w 42"/>
                <a:gd name="T45" fmla="*/ 42 h 50"/>
                <a:gd name="T46" fmla="*/ 28 w 42"/>
                <a:gd name="T47" fmla="*/ 50 h 50"/>
                <a:gd name="T48" fmla="*/ 28 w 42"/>
                <a:gd name="T49" fmla="*/ 50 h 50"/>
                <a:gd name="T50" fmla="*/ 28 w 42"/>
                <a:gd name="T51" fmla="*/ 50 h 50"/>
                <a:gd name="T52" fmla="*/ 28 w 42"/>
                <a:gd name="T53" fmla="*/ 4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2" h="50">
                  <a:moveTo>
                    <a:pt x="28" y="46"/>
                  </a:moveTo>
                  <a:cubicBezTo>
                    <a:pt x="31" y="45"/>
                    <a:pt x="31" y="45"/>
                    <a:pt x="31" y="45"/>
                  </a:cubicBezTo>
                  <a:cubicBezTo>
                    <a:pt x="34" y="45"/>
                    <a:pt x="35" y="42"/>
                    <a:pt x="34" y="40"/>
                  </a:cubicBezTo>
                  <a:cubicBezTo>
                    <a:pt x="33" y="38"/>
                    <a:pt x="35" y="35"/>
                    <a:pt x="37" y="34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41" y="33"/>
                    <a:pt x="42" y="31"/>
                    <a:pt x="42" y="29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18"/>
                    <a:pt x="39" y="17"/>
                    <a:pt x="37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3" y="17"/>
                    <a:pt x="32" y="16"/>
                    <a:pt x="31" y="14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1"/>
                    <a:pt x="24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4" y="8"/>
                    <a:pt x="7" y="10"/>
                    <a:pt x="8" y="12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7"/>
                    <a:pt x="10" y="18"/>
                    <a:pt x="13" y="19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8" y="20"/>
                    <a:pt x="19" y="21"/>
                    <a:pt x="20" y="23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1"/>
                    <a:pt x="28" y="41"/>
                    <a:pt x="28" y="4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lnTo>
                    <a:pt x="28" y="4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6">
              <a:extLst>
                <a:ext uri="{FF2B5EF4-FFF2-40B4-BE49-F238E27FC236}">
                  <a16:creationId xmlns:a16="http://schemas.microsoft.com/office/drawing/2014/main" id="{7756F4B9-4621-4F9E-9560-CC447A727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3650" y="4048126"/>
              <a:ext cx="96838" cy="61913"/>
            </a:xfrm>
            <a:custGeom>
              <a:avLst/>
              <a:gdLst>
                <a:gd name="T0" fmla="*/ 29 w 32"/>
                <a:gd name="T1" fmla="*/ 1 h 21"/>
                <a:gd name="T2" fmla="*/ 17 w 32"/>
                <a:gd name="T3" fmla="*/ 4 h 21"/>
                <a:gd name="T4" fmla="*/ 3 w 32"/>
                <a:gd name="T5" fmla="*/ 1 h 21"/>
                <a:gd name="T6" fmla="*/ 0 w 32"/>
                <a:gd name="T7" fmla="*/ 5 h 21"/>
                <a:gd name="T8" fmla="*/ 3 w 32"/>
                <a:gd name="T9" fmla="*/ 9 h 21"/>
                <a:gd name="T10" fmla="*/ 15 w 32"/>
                <a:gd name="T11" fmla="*/ 13 h 21"/>
                <a:gd name="T12" fmla="*/ 25 w 32"/>
                <a:gd name="T13" fmla="*/ 20 h 21"/>
                <a:gd name="T14" fmla="*/ 30 w 32"/>
                <a:gd name="T15" fmla="*/ 15 h 21"/>
                <a:gd name="T16" fmla="*/ 29 w 32"/>
                <a:gd name="T17" fmla="*/ 8 h 21"/>
                <a:gd name="T18" fmla="*/ 32 w 32"/>
                <a:gd name="T19" fmla="*/ 5 h 21"/>
                <a:gd name="T20" fmla="*/ 29 w 32"/>
                <a:gd name="T21" fmla="*/ 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21">
                  <a:moveTo>
                    <a:pt x="29" y="1"/>
                  </a:moveTo>
                  <a:cubicBezTo>
                    <a:pt x="26" y="1"/>
                    <a:pt x="23" y="4"/>
                    <a:pt x="17" y="4"/>
                  </a:cubicBezTo>
                  <a:cubicBezTo>
                    <a:pt x="10" y="4"/>
                    <a:pt x="6" y="0"/>
                    <a:pt x="3" y="1"/>
                  </a:cubicBezTo>
                  <a:cubicBezTo>
                    <a:pt x="1" y="2"/>
                    <a:pt x="0" y="2"/>
                    <a:pt x="0" y="5"/>
                  </a:cubicBezTo>
                  <a:cubicBezTo>
                    <a:pt x="0" y="7"/>
                    <a:pt x="0" y="9"/>
                    <a:pt x="3" y="9"/>
                  </a:cubicBezTo>
                  <a:cubicBezTo>
                    <a:pt x="6" y="10"/>
                    <a:pt x="13" y="11"/>
                    <a:pt x="15" y="13"/>
                  </a:cubicBezTo>
                  <a:cubicBezTo>
                    <a:pt x="17" y="15"/>
                    <a:pt x="22" y="20"/>
                    <a:pt x="25" y="20"/>
                  </a:cubicBezTo>
                  <a:cubicBezTo>
                    <a:pt x="29" y="21"/>
                    <a:pt x="30" y="19"/>
                    <a:pt x="30" y="15"/>
                  </a:cubicBezTo>
                  <a:cubicBezTo>
                    <a:pt x="30" y="11"/>
                    <a:pt x="26" y="9"/>
                    <a:pt x="29" y="8"/>
                  </a:cubicBezTo>
                  <a:cubicBezTo>
                    <a:pt x="29" y="8"/>
                    <a:pt x="32" y="7"/>
                    <a:pt x="32" y="5"/>
                  </a:cubicBezTo>
                  <a:cubicBezTo>
                    <a:pt x="32" y="3"/>
                    <a:pt x="32" y="0"/>
                    <a:pt x="29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A75AE858-AC7F-4116-AAF2-8BABF1A2A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800" y="4133851"/>
              <a:ext cx="20638" cy="20638"/>
            </a:xfrm>
            <a:custGeom>
              <a:avLst/>
              <a:gdLst>
                <a:gd name="T0" fmla="*/ 6 w 7"/>
                <a:gd name="T1" fmla="*/ 5 h 7"/>
                <a:gd name="T2" fmla="*/ 2 w 7"/>
                <a:gd name="T3" fmla="*/ 1 h 7"/>
                <a:gd name="T4" fmla="*/ 1 w 7"/>
                <a:gd name="T5" fmla="*/ 5 h 7"/>
                <a:gd name="T6" fmla="*/ 5 w 7"/>
                <a:gd name="T7" fmla="*/ 7 h 7"/>
                <a:gd name="T8" fmla="*/ 6 w 7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5"/>
                  </a:moveTo>
                  <a:cubicBezTo>
                    <a:pt x="6" y="5"/>
                    <a:pt x="4" y="0"/>
                    <a:pt x="2" y="1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2" y="6"/>
                    <a:pt x="4" y="7"/>
                    <a:pt x="5" y="7"/>
                  </a:cubicBezTo>
                  <a:cubicBezTo>
                    <a:pt x="6" y="6"/>
                    <a:pt x="7" y="6"/>
                    <a:pt x="6" y="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368132BB-C0D5-46B2-848C-6025627A0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2850" y="2528888"/>
              <a:ext cx="458788" cy="758825"/>
            </a:xfrm>
            <a:custGeom>
              <a:avLst/>
              <a:gdLst>
                <a:gd name="T0" fmla="*/ 81 w 153"/>
                <a:gd name="T1" fmla="*/ 124 h 254"/>
                <a:gd name="T2" fmla="*/ 110 w 153"/>
                <a:gd name="T3" fmla="*/ 106 h 254"/>
                <a:gd name="T4" fmla="*/ 126 w 153"/>
                <a:gd name="T5" fmla="*/ 70 h 254"/>
                <a:gd name="T6" fmla="*/ 150 w 153"/>
                <a:gd name="T7" fmla="*/ 62 h 254"/>
                <a:gd name="T8" fmla="*/ 152 w 153"/>
                <a:gd name="T9" fmla="*/ 53 h 254"/>
                <a:gd name="T10" fmla="*/ 153 w 153"/>
                <a:gd name="T11" fmla="*/ 43 h 254"/>
                <a:gd name="T12" fmla="*/ 148 w 153"/>
                <a:gd name="T13" fmla="*/ 21 h 254"/>
                <a:gd name="T14" fmla="*/ 131 w 153"/>
                <a:gd name="T15" fmla="*/ 12 h 254"/>
                <a:gd name="T16" fmla="*/ 119 w 153"/>
                <a:gd name="T17" fmla="*/ 1 h 254"/>
                <a:gd name="T18" fmla="*/ 115 w 153"/>
                <a:gd name="T19" fmla="*/ 12 h 254"/>
                <a:gd name="T20" fmla="*/ 106 w 153"/>
                <a:gd name="T21" fmla="*/ 8 h 254"/>
                <a:gd name="T22" fmla="*/ 99 w 153"/>
                <a:gd name="T23" fmla="*/ 4 h 254"/>
                <a:gd name="T24" fmla="*/ 95 w 153"/>
                <a:gd name="T25" fmla="*/ 12 h 254"/>
                <a:gd name="T26" fmla="*/ 85 w 153"/>
                <a:gd name="T27" fmla="*/ 16 h 254"/>
                <a:gd name="T28" fmla="*/ 70 w 153"/>
                <a:gd name="T29" fmla="*/ 29 h 254"/>
                <a:gd name="T30" fmla="*/ 69 w 153"/>
                <a:gd name="T31" fmla="*/ 41 h 254"/>
                <a:gd name="T32" fmla="*/ 55 w 153"/>
                <a:gd name="T33" fmla="*/ 56 h 254"/>
                <a:gd name="T34" fmla="*/ 49 w 153"/>
                <a:gd name="T35" fmla="*/ 57 h 254"/>
                <a:gd name="T36" fmla="*/ 48 w 153"/>
                <a:gd name="T37" fmla="*/ 69 h 254"/>
                <a:gd name="T38" fmla="*/ 45 w 153"/>
                <a:gd name="T39" fmla="*/ 89 h 254"/>
                <a:gd name="T40" fmla="*/ 46 w 153"/>
                <a:gd name="T41" fmla="*/ 94 h 254"/>
                <a:gd name="T42" fmla="*/ 29 w 153"/>
                <a:gd name="T43" fmla="*/ 104 h 254"/>
                <a:gd name="T44" fmla="*/ 16 w 153"/>
                <a:gd name="T45" fmla="*/ 139 h 254"/>
                <a:gd name="T46" fmla="*/ 22 w 153"/>
                <a:gd name="T47" fmla="*/ 146 h 254"/>
                <a:gd name="T48" fmla="*/ 23 w 153"/>
                <a:gd name="T49" fmla="*/ 151 h 254"/>
                <a:gd name="T50" fmla="*/ 15 w 153"/>
                <a:gd name="T51" fmla="*/ 155 h 254"/>
                <a:gd name="T52" fmla="*/ 20 w 153"/>
                <a:gd name="T53" fmla="*/ 160 h 254"/>
                <a:gd name="T54" fmla="*/ 24 w 153"/>
                <a:gd name="T55" fmla="*/ 167 h 254"/>
                <a:gd name="T56" fmla="*/ 17 w 153"/>
                <a:gd name="T57" fmla="*/ 175 h 254"/>
                <a:gd name="T58" fmla="*/ 13 w 153"/>
                <a:gd name="T59" fmla="*/ 193 h 254"/>
                <a:gd name="T60" fmla="*/ 0 w 153"/>
                <a:gd name="T61" fmla="*/ 197 h 254"/>
                <a:gd name="T62" fmla="*/ 8 w 153"/>
                <a:gd name="T63" fmla="*/ 219 h 254"/>
                <a:gd name="T64" fmla="*/ 33 w 153"/>
                <a:gd name="T65" fmla="*/ 252 h 254"/>
                <a:gd name="T66" fmla="*/ 40 w 153"/>
                <a:gd name="T67" fmla="*/ 249 h 254"/>
                <a:gd name="T68" fmla="*/ 62 w 153"/>
                <a:gd name="T69" fmla="*/ 231 h 254"/>
                <a:gd name="T70" fmla="*/ 66 w 153"/>
                <a:gd name="T71" fmla="*/ 211 h 254"/>
                <a:gd name="T72" fmla="*/ 81 w 153"/>
                <a:gd name="T73" fmla="*/ 191 h 254"/>
                <a:gd name="T74" fmla="*/ 85 w 153"/>
                <a:gd name="T75" fmla="*/ 170 h 254"/>
                <a:gd name="T76" fmla="*/ 76 w 153"/>
                <a:gd name="T77" fmla="*/ 161 h 254"/>
                <a:gd name="T78" fmla="*/ 77 w 153"/>
                <a:gd name="T79" fmla="*/ 13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" h="254">
                  <a:moveTo>
                    <a:pt x="77" y="131"/>
                  </a:moveTo>
                  <a:cubicBezTo>
                    <a:pt x="78" y="128"/>
                    <a:pt x="79" y="126"/>
                    <a:pt x="81" y="12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110" y="106"/>
                    <a:pt x="110" y="106"/>
                    <a:pt x="110" y="106"/>
                  </a:cubicBezTo>
                  <a:cubicBezTo>
                    <a:pt x="116" y="88"/>
                    <a:pt x="116" y="88"/>
                    <a:pt x="116" y="88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9" y="65"/>
                    <a:pt x="135" y="62"/>
                    <a:pt x="141" y="62"/>
                  </a:cubicBezTo>
                  <a:cubicBezTo>
                    <a:pt x="150" y="62"/>
                    <a:pt x="150" y="62"/>
                    <a:pt x="150" y="62"/>
                  </a:cubicBezTo>
                  <a:cubicBezTo>
                    <a:pt x="151" y="62"/>
                    <a:pt x="152" y="62"/>
                    <a:pt x="152" y="62"/>
                  </a:cubicBezTo>
                  <a:cubicBezTo>
                    <a:pt x="152" y="53"/>
                    <a:pt x="152" y="53"/>
                    <a:pt x="152" y="53"/>
                  </a:cubicBezTo>
                  <a:cubicBezTo>
                    <a:pt x="148" y="49"/>
                    <a:pt x="148" y="49"/>
                    <a:pt x="148" y="49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48" y="38"/>
                    <a:pt x="148" y="38"/>
                    <a:pt x="148" y="38"/>
                  </a:cubicBezTo>
                  <a:cubicBezTo>
                    <a:pt x="148" y="21"/>
                    <a:pt x="148" y="21"/>
                    <a:pt x="148" y="21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119" y="0"/>
                    <a:pt x="119" y="1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19" y="10"/>
                    <a:pt x="117" y="12"/>
                    <a:pt x="115" y="12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108" y="12"/>
                    <a:pt x="106" y="10"/>
                    <a:pt x="106" y="8"/>
                  </a:cubicBezTo>
                  <a:cubicBezTo>
                    <a:pt x="106" y="6"/>
                    <a:pt x="104" y="4"/>
                    <a:pt x="102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7" y="4"/>
                    <a:pt x="95" y="6"/>
                    <a:pt x="95" y="8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14"/>
                    <a:pt x="93" y="16"/>
                    <a:pt x="91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4" y="16"/>
                    <a:pt x="83" y="16"/>
                    <a:pt x="82" y="17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69" y="29"/>
                    <a:pt x="69" y="30"/>
                    <a:pt x="69" y="3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2"/>
                    <a:pt x="69" y="43"/>
                    <a:pt x="68" y="44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7"/>
                    <a:pt x="54" y="57"/>
                    <a:pt x="52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7"/>
                    <a:pt x="49" y="68"/>
                    <a:pt x="48" y="69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1" y="79"/>
                    <a:pt x="41" y="85"/>
                    <a:pt x="45" y="89"/>
                  </a:cubicBezTo>
                  <a:cubicBezTo>
                    <a:pt x="46" y="89"/>
                    <a:pt x="46" y="90"/>
                    <a:pt x="46" y="91"/>
                  </a:cubicBezTo>
                  <a:cubicBezTo>
                    <a:pt x="46" y="94"/>
                    <a:pt x="46" y="94"/>
                    <a:pt x="46" y="94"/>
                  </a:cubicBezTo>
                  <a:cubicBezTo>
                    <a:pt x="46" y="96"/>
                    <a:pt x="45" y="98"/>
                    <a:pt x="44" y="98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1" y="108"/>
                    <a:pt x="16" y="116"/>
                    <a:pt x="16" y="125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40"/>
                    <a:pt x="17" y="141"/>
                    <a:pt x="17" y="141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3" y="147"/>
                    <a:pt x="23" y="148"/>
                  </a:cubicBezTo>
                  <a:cubicBezTo>
                    <a:pt x="23" y="151"/>
                    <a:pt x="23" y="151"/>
                    <a:pt x="23" y="151"/>
                  </a:cubicBezTo>
                  <a:cubicBezTo>
                    <a:pt x="23" y="154"/>
                    <a:pt x="21" y="155"/>
                    <a:pt x="19" y="155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15" y="160"/>
                    <a:pt x="15" y="160"/>
                    <a:pt x="15" y="160"/>
                  </a:cubicBezTo>
                  <a:cubicBezTo>
                    <a:pt x="20" y="160"/>
                    <a:pt x="20" y="160"/>
                    <a:pt x="20" y="160"/>
                  </a:cubicBezTo>
                  <a:cubicBezTo>
                    <a:pt x="22" y="160"/>
                    <a:pt x="24" y="162"/>
                    <a:pt x="24" y="164"/>
                  </a:cubicBezTo>
                  <a:cubicBezTo>
                    <a:pt x="24" y="167"/>
                    <a:pt x="24" y="167"/>
                    <a:pt x="24" y="167"/>
                  </a:cubicBezTo>
                  <a:cubicBezTo>
                    <a:pt x="24" y="168"/>
                    <a:pt x="23" y="169"/>
                    <a:pt x="23" y="169"/>
                  </a:cubicBezTo>
                  <a:cubicBezTo>
                    <a:pt x="17" y="175"/>
                    <a:pt x="17" y="175"/>
                    <a:pt x="17" y="175"/>
                  </a:cubicBezTo>
                  <a:cubicBezTo>
                    <a:pt x="15" y="178"/>
                    <a:pt x="13" y="181"/>
                    <a:pt x="13" y="184"/>
                  </a:cubicBezTo>
                  <a:cubicBezTo>
                    <a:pt x="13" y="193"/>
                    <a:pt x="13" y="193"/>
                    <a:pt x="13" y="193"/>
                  </a:cubicBezTo>
                  <a:cubicBezTo>
                    <a:pt x="13" y="196"/>
                    <a:pt x="11" y="197"/>
                    <a:pt x="9" y="197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2" y="201"/>
                    <a:pt x="3" y="206"/>
                    <a:pt x="3" y="212"/>
                  </a:cubicBezTo>
                  <a:cubicBezTo>
                    <a:pt x="8" y="219"/>
                    <a:pt x="8" y="219"/>
                    <a:pt x="8" y="219"/>
                  </a:cubicBezTo>
                  <a:cubicBezTo>
                    <a:pt x="17" y="239"/>
                    <a:pt x="17" y="239"/>
                    <a:pt x="17" y="239"/>
                  </a:cubicBezTo>
                  <a:cubicBezTo>
                    <a:pt x="16" y="248"/>
                    <a:pt x="24" y="254"/>
                    <a:pt x="33" y="252"/>
                  </a:cubicBezTo>
                  <a:cubicBezTo>
                    <a:pt x="34" y="252"/>
                    <a:pt x="34" y="252"/>
                    <a:pt x="34" y="252"/>
                  </a:cubicBezTo>
                  <a:cubicBezTo>
                    <a:pt x="36" y="251"/>
                    <a:pt x="38" y="250"/>
                    <a:pt x="40" y="249"/>
                  </a:cubicBezTo>
                  <a:cubicBezTo>
                    <a:pt x="47" y="243"/>
                    <a:pt x="47" y="243"/>
                    <a:pt x="47" y="243"/>
                  </a:cubicBezTo>
                  <a:cubicBezTo>
                    <a:pt x="62" y="231"/>
                    <a:pt x="62" y="231"/>
                    <a:pt x="62" y="231"/>
                  </a:cubicBezTo>
                  <a:cubicBezTo>
                    <a:pt x="66" y="227"/>
                    <a:pt x="68" y="222"/>
                    <a:pt x="67" y="217"/>
                  </a:cubicBezTo>
                  <a:cubicBezTo>
                    <a:pt x="66" y="211"/>
                    <a:pt x="66" y="211"/>
                    <a:pt x="66" y="211"/>
                  </a:cubicBezTo>
                  <a:cubicBezTo>
                    <a:pt x="65" y="205"/>
                    <a:pt x="68" y="199"/>
                    <a:pt x="73" y="196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85" y="189"/>
                    <a:pt x="87" y="185"/>
                    <a:pt x="86" y="181"/>
                  </a:cubicBezTo>
                  <a:cubicBezTo>
                    <a:pt x="85" y="170"/>
                    <a:pt x="85" y="170"/>
                    <a:pt x="85" y="170"/>
                  </a:cubicBezTo>
                  <a:cubicBezTo>
                    <a:pt x="85" y="166"/>
                    <a:pt x="82" y="164"/>
                    <a:pt x="79" y="162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73" y="159"/>
                    <a:pt x="71" y="155"/>
                    <a:pt x="72" y="152"/>
                  </a:cubicBezTo>
                  <a:lnTo>
                    <a:pt x="77" y="1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483AD4FA-B02D-4236-9313-4958BC744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513" y="2471738"/>
              <a:ext cx="374650" cy="565150"/>
            </a:xfrm>
            <a:custGeom>
              <a:avLst/>
              <a:gdLst>
                <a:gd name="T0" fmla="*/ 118 w 125"/>
                <a:gd name="T1" fmla="*/ 130 h 189"/>
                <a:gd name="T2" fmla="*/ 114 w 125"/>
                <a:gd name="T3" fmla="*/ 127 h 189"/>
                <a:gd name="T4" fmla="*/ 114 w 125"/>
                <a:gd name="T5" fmla="*/ 119 h 189"/>
                <a:gd name="T6" fmla="*/ 115 w 125"/>
                <a:gd name="T7" fmla="*/ 112 h 189"/>
                <a:gd name="T8" fmla="*/ 114 w 125"/>
                <a:gd name="T9" fmla="*/ 111 h 189"/>
                <a:gd name="T10" fmla="*/ 106 w 125"/>
                <a:gd name="T11" fmla="*/ 95 h 189"/>
                <a:gd name="T12" fmla="*/ 106 w 125"/>
                <a:gd name="T13" fmla="*/ 91 h 189"/>
                <a:gd name="T14" fmla="*/ 108 w 125"/>
                <a:gd name="T15" fmla="*/ 83 h 189"/>
                <a:gd name="T16" fmla="*/ 108 w 125"/>
                <a:gd name="T17" fmla="*/ 79 h 189"/>
                <a:gd name="T18" fmla="*/ 99 w 125"/>
                <a:gd name="T19" fmla="*/ 61 h 189"/>
                <a:gd name="T20" fmla="*/ 100 w 125"/>
                <a:gd name="T21" fmla="*/ 55 h 189"/>
                <a:gd name="T22" fmla="*/ 103 w 125"/>
                <a:gd name="T23" fmla="*/ 52 h 189"/>
                <a:gd name="T24" fmla="*/ 103 w 125"/>
                <a:gd name="T25" fmla="*/ 45 h 189"/>
                <a:gd name="T26" fmla="*/ 98 w 125"/>
                <a:gd name="T27" fmla="*/ 37 h 189"/>
                <a:gd name="T28" fmla="*/ 98 w 125"/>
                <a:gd name="T29" fmla="*/ 33 h 189"/>
                <a:gd name="T30" fmla="*/ 100 w 125"/>
                <a:gd name="T31" fmla="*/ 15 h 189"/>
                <a:gd name="T32" fmla="*/ 99 w 125"/>
                <a:gd name="T33" fmla="*/ 15 h 189"/>
                <a:gd name="T34" fmla="*/ 86 w 125"/>
                <a:gd name="T35" fmla="*/ 0 h 189"/>
                <a:gd name="T36" fmla="*/ 84 w 125"/>
                <a:gd name="T37" fmla="*/ 0 h 189"/>
                <a:gd name="T38" fmla="*/ 68 w 125"/>
                <a:gd name="T39" fmla="*/ 3 h 189"/>
                <a:gd name="T40" fmla="*/ 65 w 125"/>
                <a:gd name="T41" fmla="*/ 7 h 189"/>
                <a:gd name="T42" fmla="*/ 65 w 125"/>
                <a:gd name="T43" fmla="*/ 11 h 189"/>
                <a:gd name="T44" fmla="*/ 64 w 125"/>
                <a:gd name="T45" fmla="*/ 14 h 189"/>
                <a:gd name="T46" fmla="*/ 58 w 125"/>
                <a:gd name="T47" fmla="*/ 19 h 189"/>
                <a:gd name="T48" fmla="*/ 43 w 125"/>
                <a:gd name="T49" fmla="*/ 25 h 189"/>
                <a:gd name="T50" fmla="*/ 23 w 125"/>
                <a:gd name="T51" fmla="*/ 25 h 189"/>
                <a:gd name="T52" fmla="*/ 20 w 125"/>
                <a:gd name="T53" fmla="*/ 24 h 189"/>
                <a:gd name="T54" fmla="*/ 15 w 125"/>
                <a:gd name="T55" fmla="*/ 19 h 189"/>
                <a:gd name="T56" fmla="*/ 7 w 125"/>
                <a:gd name="T57" fmla="*/ 15 h 189"/>
                <a:gd name="T58" fmla="*/ 3 w 125"/>
                <a:gd name="T59" fmla="*/ 19 h 189"/>
                <a:gd name="T60" fmla="*/ 15 w 125"/>
                <a:gd name="T61" fmla="*/ 31 h 189"/>
                <a:gd name="T62" fmla="*/ 23 w 125"/>
                <a:gd name="T63" fmla="*/ 31 h 189"/>
                <a:gd name="T64" fmla="*/ 32 w 125"/>
                <a:gd name="T65" fmla="*/ 40 h 189"/>
                <a:gd name="T66" fmla="*/ 32 w 125"/>
                <a:gd name="T67" fmla="*/ 57 h 189"/>
                <a:gd name="T68" fmla="*/ 37 w 125"/>
                <a:gd name="T69" fmla="*/ 62 h 189"/>
                <a:gd name="T70" fmla="*/ 32 w 125"/>
                <a:gd name="T71" fmla="*/ 68 h 189"/>
                <a:gd name="T72" fmla="*/ 36 w 125"/>
                <a:gd name="T73" fmla="*/ 72 h 189"/>
                <a:gd name="T74" fmla="*/ 36 w 125"/>
                <a:gd name="T75" fmla="*/ 81 h 189"/>
                <a:gd name="T76" fmla="*/ 44 w 125"/>
                <a:gd name="T77" fmla="*/ 86 h 189"/>
                <a:gd name="T78" fmla="*/ 43 w 125"/>
                <a:gd name="T79" fmla="*/ 97 h 189"/>
                <a:gd name="T80" fmla="*/ 15 w 125"/>
                <a:gd name="T81" fmla="*/ 126 h 189"/>
                <a:gd name="T82" fmla="*/ 10 w 125"/>
                <a:gd name="T83" fmla="*/ 142 h 189"/>
                <a:gd name="T84" fmla="*/ 7 w 125"/>
                <a:gd name="T85" fmla="*/ 145 h 189"/>
                <a:gd name="T86" fmla="*/ 2 w 125"/>
                <a:gd name="T87" fmla="*/ 162 h 189"/>
                <a:gd name="T88" fmla="*/ 7 w 125"/>
                <a:gd name="T89" fmla="*/ 177 h 189"/>
                <a:gd name="T90" fmla="*/ 13 w 125"/>
                <a:gd name="T91" fmla="*/ 184 h 189"/>
                <a:gd name="T92" fmla="*/ 20 w 125"/>
                <a:gd name="T93" fmla="*/ 187 h 189"/>
                <a:gd name="T94" fmla="*/ 29 w 125"/>
                <a:gd name="T95" fmla="*/ 188 h 189"/>
                <a:gd name="T96" fmla="*/ 61 w 125"/>
                <a:gd name="T97" fmla="*/ 179 h 189"/>
                <a:gd name="T98" fmla="*/ 78 w 125"/>
                <a:gd name="T99" fmla="*/ 179 h 189"/>
                <a:gd name="T100" fmla="*/ 86 w 125"/>
                <a:gd name="T101" fmla="*/ 182 h 189"/>
                <a:gd name="T102" fmla="*/ 113 w 125"/>
                <a:gd name="T103" fmla="*/ 163 h 189"/>
                <a:gd name="T104" fmla="*/ 123 w 125"/>
                <a:gd name="T105" fmla="*/ 149 h 189"/>
                <a:gd name="T106" fmla="*/ 123 w 125"/>
                <a:gd name="T107" fmla="*/ 147 h 189"/>
                <a:gd name="T108" fmla="*/ 118 w 125"/>
                <a:gd name="T109" fmla="*/ 13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5" h="189">
                  <a:moveTo>
                    <a:pt x="118" y="130"/>
                  </a:moveTo>
                  <a:cubicBezTo>
                    <a:pt x="114" y="127"/>
                    <a:pt x="114" y="127"/>
                    <a:pt x="114" y="127"/>
                  </a:cubicBezTo>
                  <a:cubicBezTo>
                    <a:pt x="111" y="125"/>
                    <a:pt x="111" y="121"/>
                    <a:pt x="114" y="119"/>
                  </a:cubicBezTo>
                  <a:cubicBezTo>
                    <a:pt x="115" y="117"/>
                    <a:pt x="116" y="115"/>
                    <a:pt x="115" y="112"/>
                  </a:cubicBezTo>
                  <a:cubicBezTo>
                    <a:pt x="114" y="111"/>
                    <a:pt x="114" y="111"/>
                    <a:pt x="114" y="111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106" y="93"/>
                    <a:pt x="106" y="92"/>
                    <a:pt x="106" y="91"/>
                  </a:cubicBezTo>
                  <a:cubicBezTo>
                    <a:pt x="108" y="83"/>
                    <a:pt x="108" y="83"/>
                    <a:pt x="108" y="83"/>
                  </a:cubicBezTo>
                  <a:cubicBezTo>
                    <a:pt x="108" y="81"/>
                    <a:pt x="108" y="80"/>
                    <a:pt x="108" y="79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8" y="59"/>
                    <a:pt x="99" y="56"/>
                    <a:pt x="100" y="55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4" y="50"/>
                    <a:pt x="105" y="47"/>
                    <a:pt x="103" y="45"/>
                  </a:cubicBezTo>
                  <a:cubicBezTo>
                    <a:pt x="98" y="37"/>
                    <a:pt x="98" y="37"/>
                    <a:pt x="98" y="37"/>
                  </a:cubicBezTo>
                  <a:cubicBezTo>
                    <a:pt x="98" y="36"/>
                    <a:pt x="98" y="34"/>
                    <a:pt x="98" y="33"/>
                  </a:cubicBezTo>
                  <a:cubicBezTo>
                    <a:pt x="100" y="15"/>
                    <a:pt x="100" y="15"/>
                    <a:pt x="100" y="15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5" y="0"/>
                    <a:pt x="85" y="0"/>
                    <a:pt x="84" y="0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6" y="4"/>
                    <a:pt x="65" y="5"/>
                    <a:pt x="65" y="7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2"/>
                    <a:pt x="65" y="13"/>
                    <a:pt x="64" y="14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4" y="23"/>
                    <a:pt x="49" y="25"/>
                    <a:pt x="43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2" y="25"/>
                    <a:pt x="21" y="25"/>
                    <a:pt x="20" y="24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3" y="17"/>
                    <a:pt x="10" y="15"/>
                    <a:pt x="7" y="15"/>
                  </a:cubicBezTo>
                  <a:cubicBezTo>
                    <a:pt x="5" y="15"/>
                    <a:pt x="3" y="17"/>
                    <a:pt x="3" y="19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40" y="81"/>
                    <a:pt x="43" y="83"/>
                    <a:pt x="44" y="86"/>
                  </a:cubicBezTo>
                  <a:cubicBezTo>
                    <a:pt x="46" y="90"/>
                    <a:pt x="45" y="94"/>
                    <a:pt x="43" y="97"/>
                  </a:cubicBezTo>
                  <a:cubicBezTo>
                    <a:pt x="15" y="126"/>
                    <a:pt x="15" y="126"/>
                    <a:pt x="15" y="126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2" y="149"/>
                    <a:pt x="0" y="156"/>
                    <a:pt x="2" y="162"/>
                  </a:cubicBezTo>
                  <a:cubicBezTo>
                    <a:pt x="7" y="177"/>
                    <a:pt x="7" y="177"/>
                    <a:pt x="7" y="177"/>
                  </a:cubicBezTo>
                  <a:cubicBezTo>
                    <a:pt x="8" y="180"/>
                    <a:pt x="10" y="182"/>
                    <a:pt x="13" y="184"/>
                  </a:cubicBezTo>
                  <a:cubicBezTo>
                    <a:pt x="20" y="187"/>
                    <a:pt x="20" y="187"/>
                    <a:pt x="20" y="187"/>
                  </a:cubicBezTo>
                  <a:cubicBezTo>
                    <a:pt x="23" y="189"/>
                    <a:pt x="26" y="189"/>
                    <a:pt x="29" y="188"/>
                  </a:cubicBezTo>
                  <a:cubicBezTo>
                    <a:pt x="61" y="179"/>
                    <a:pt x="61" y="179"/>
                    <a:pt x="61" y="179"/>
                  </a:cubicBezTo>
                  <a:cubicBezTo>
                    <a:pt x="78" y="179"/>
                    <a:pt x="78" y="179"/>
                    <a:pt x="78" y="179"/>
                  </a:cubicBezTo>
                  <a:cubicBezTo>
                    <a:pt x="81" y="179"/>
                    <a:pt x="84" y="180"/>
                    <a:pt x="86" y="182"/>
                  </a:cubicBezTo>
                  <a:cubicBezTo>
                    <a:pt x="113" y="163"/>
                    <a:pt x="113" y="163"/>
                    <a:pt x="113" y="163"/>
                  </a:cubicBezTo>
                  <a:cubicBezTo>
                    <a:pt x="117" y="160"/>
                    <a:pt x="121" y="155"/>
                    <a:pt x="123" y="149"/>
                  </a:cubicBezTo>
                  <a:cubicBezTo>
                    <a:pt x="123" y="147"/>
                    <a:pt x="123" y="147"/>
                    <a:pt x="123" y="147"/>
                  </a:cubicBezTo>
                  <a:cubicBezTo>
                    <a:pt x="125" y="141"/>
                    <a:pt x="123" y="134"/>
                    <a:pt x="118" y="13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82E7D3C1-5BE0-47FD-894D-D9E6EE0D7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188" y="2406651"/>
              <a:ext cx="892175" cy="750888"/>
            </a:xfrm>
            <a:custGeom>
              <a:avLst/>
              <a:gdLst>
                <a:gd name="T0" fmla="*/ 277 w 298"/>
                <a:gd name="T1" fmla="*/ 6 h 251"/>
                <a:gd name="T2" fmla="*/ 256 w 298"/>
                <a:gd name="T3" fmla="*/ 13 h 251"/>
                <a:gd name="T4" fmla="*/ 247 w 298"/>
                <a:gd name="T5" fmla="*/ 16 h 251"/>
                <a:gd name="T6" fmla="*/ 241 w 298"/>
                <a:gd name="T7" fmla="*/ 1 h 251"/>
                <a:gd name="T8" fmla="*/ 226 w 298"/>
                <a:gd name="T9" fmla="*/ 6 h 251"/>
                <a:gd name="T10" fmla="*/ 217 w 298"/>
                <a:gd name="T11" fmla="*/ 23 h 251"/>
                <a:gd name="T12" fmla="*/ 209 w 298"/>
                <a:gd name="T13" fmla="*/ 15 h 251"/>
                <a:gd name="T14" fmla="*/ 198 w 298"/>
                <a:gd name="T15" fmla="*/ 13 h 251"/>
                <a:gd name="T16" fmla="*/ 189 w 298"/>
                <a:gd name="T17" fmla="*/ 23 h 251"/>
                <a:gd name="T18" fmla="*/ 178 w 298"/>
                <a:gd name="T19" fmla="*/ 18 h 251"/>
                <a:gd name="T20" fmla="*/ 168 w 298"/>
                <a:gd name="T21" fmla="*/ 24 h 251"/>
                <a:gd name="T22" fmla="*/ 154 w 298"/>
                <a:gd name="T23" fmla="*/ 34 h 251"/>
                <a:gd name="T24" fmla="*/ 144 w 298"/>
                <a:gd name="T25" fmla="*/ 35 h 251"/>
                <a:gd name="T26" fmla="*/ 148 w 298"/>
                <a:gd name="T27" fmla="*/ 43 h 251"/>
                <a:gd name="T28" fmla="*/ 143 w 298"/>
                <a:gd name="T29" fmla="*/ 49 h 251"/>
                <a:gd name="T30" fmla="*/ 118 w 298"/>
                <a:gd name="T31" fmla="*/ 50 h 251"/>
                <a:gd name="T32" fmla="*/ 120 w 298"/>
                <a:gd name="T33" fmla="*/ 60 h 251"/>
                <a:gd name="T34" fmla="*/ 126 w 298"/>
                <a:gd name="T35" fmla="*/ 66 h 251"/>
                <a:gd name="T36" fmla="*/ 84 w 298"/>
                <a:gd name="T37" fmla="*/ 118 h 251"/>
                <a:gd name="T38" fmla="*/ 69 w 298"/>
                <a:gd name="T39" fmla="*/ 125 h 251"/>
                <a:gd name="T40" fmla="*/ 53 w 298"/>
                <a:gd name="T41" fmla="*/ 139 h 251"/>
                <a:gd name="T42" fmla="*/ 60 w 298"/>
                <a:gd name="T43" fmla="*/ 143 h 251"/>
                <a:gd name="T44" fmla="*/ 75 w 298"/>
                <a:gd name="T45" fmla="*/ 149 h 251"/>
                <a:gd name="T46" fmla="*/ 44 w 298"/>
                <a:gd name="T47" fmla="*/ 155 h 251"/>
                <a:gd name="T48" fmla="*/ 3 w 298"/>
                <a:gd name="T49" fmla="*/ 208 h 251"/>
                <a:gd name="T50" fmla="*/ 14 w 298"/>
                <a:gd name="T51" fmla="*/ 211 h 251"/>
                <a:gd name="T52" fmla="*/ 6 w 298"/>
                <a:gd name="T53" fmla="*/ 223 h 251"/>
                <a:gd name="T54" fmla="*/ 13 w 298"/>
                <a:gd name="T55" fmla="*/ 242 h 251"/>
                <a:gd name="T56" fmla="*/ 35 w 298"/>
                <a:gd name="T57" fmla="*/ 249 h 251"/>
                <a:gd name="T58" fmla="*/ 74 w 298"/>
                <a:gd name="T59" fmla="*/ 238 h 251"/>
                <a:gd name="T60" fmla="*/ 87 w 298"/>
                <a:gd name="T61" fmla="*/ 234 h 251"/>
                <a:gd name="T62" fmla="*/ 91 w 298"/>
                <a:gd name="T63" fmla="*/ 216 h 251"/>
                <a:gd name="T64" fmla="*/ 98 w 298"/>
                <a:gd name="T65" fmla="*/ 208 h 251"/>
                <a:gd name="T66" fmla="*/ 94 w 298"/>
                <a:gd name="T67" fmla="*/ 201 h 251"/>
                <a:gd name="T68" fmla="*/ 89 w 298"/>
                <a:gd name="T69" fmla="*/ 196 h 251"/>
                <a:gd name="T70" fmla="*/ 97 w 298"/>
                <a:gd name="T71" fmla="*/ 192 h 251"/>
                <a:gd name="T72" fmla="*/ 96 w 298"/>
                <a:gd name="T73" fmla="*/ 187 h 251"/>
                <a:gd name="T74" fmla="*/ 90 w 298"/>
                <a:gd name="T75" fmla="*/ 180 h 251"/>
                <a:gd name="T76" fmla="*/ 103 w 298"/>
                <a:gd name="T77" fmla="*/ 145 h 251"/>
                <a:gd name="T78" fmla="*/ 120 w 298"/>
                <a:gd name="T79" fmla="*/ 135 h 251"/>
                <a:gd name="T80" fmla="*/ 119 w 298"/>
                <a:gd name="T81" fmla="*/ 130 h 251"/>
                <a:gd name="T82" fmla="*/ 122 w 298"/>
                <a:gd name="T83" fmla="*/ 110 h 251"/>
                <a:gd name="T84" fmla="*/ 123 w 298"/>
                <a:gd name="T85" fmla="*/ 98 h 251"/>
                <a:gd name="T86" fmla="*/ 129 w 298"/>
                <a:gd name="T87" fmla="*/ 97 h 251"/>
                <a:gd name="T88" fmla="*/ 143 w 298"/>
                <a:gd name="T89" fmla="*/ 82 h 251"/>
                <a:gd name="T90" fmla="*/ 144 w 298"/>
                <a:gd name="T91" fmla="*/ 70 h 251"/>
                <a:gd name="T92" fmla="*/ 159 w 298"/>
                <a:gd name="T93" fmla="*/ 57 h 251"/>
                <a:gd name="T94" fmla="*/ 169 w 298"/>
                <a:gd name="T95" fmla="*/ 53 h 251"/>
                <a:gd name="T96" fmla="*/ 173 w 298"/>
                <a:gd name="T97" fmla="*/ 45 h 251"/>
                <a:gd name="T98" fmla="*/ 180 w 298"/>
                <a:gd name="T99" fmla="*/ 49 h 251"/>
                <a:gd name="T100" fmla="*/ 189 w 298"/>
                <a:gd name="T101" fmla="*/ 53 h 251"/>
                <a:gd name="T102" fmla="*/ 193 w 298"/>
                <a:gd name="T103" fmla="*/ 42 h 251"/>
                <a:gd name="T104" fmla="*/ 205 w 298"/>
                <a:gd name="T105" fmla="*/ 41 h 251"/>
                <a:gd name="T106" fmla="*/ 213 w 298"/>
                <a:gd name="T107" fmla="*/ 47 h 251"/>
                <a:gd name="T108" fmla="*/ 248 w 298"/>
                <a:gd name="T109" fmla="*/ 41 h 251"/>
                <a:gd name="T110" fmla="*/ 255 w 298"/>
                <a:gd name="T111" fmla="*/ 33 h 251"/>
                <a:gd name="T112" fmla="*/ 258 w 298"/>
                <a:gd name="T113" fmla="*/ 25 h 251"/>
                <a:gd name="T114" fmla="*/ 276 w 298"/>
                <a:gd name="T115" fmla="*/ 22 h 251"/>
                <a:gd name="T116" fmla="*/ 290 w 298"/>
                <a:gd name="T117" fmla="*/ 21 h 251"/>
                <a:gd name="T118" fmla="*/ 297 w 298"/>
                <a:gd name="T119" fmla="*/ 16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8" h="251">
                  <a:moveTo>
                    <a:pt x="289" y="8"/>
                  </a:moveTo>
                  <a:cubicBezTo>
                    <a:pt x="285" y="8"/>
                    <a:pt x="281" y="8"/>
                    <a:pt x="277" y="6"/>
                  </a:cubicBezTo>
                  <a:cubicBezTo>
                    <a:pt x="272" y="2"/>
                    <a:pt x="265" y="3"/>
                    <a:pt x="261" y="7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4" y="15"/>
                    <a:pt x="252" y="16"/>
                    <a:pt x="250" y="16"/>
                  </a:cubicBezTo>
                  <a:cubicBezTo>
                    <a:pt x="247" y="16"/>
                    <a:pt x="247" y="16"/>
                    <a:pt x="247" y="16"/>
                  </a:cubicBezTo>
                  <a:cubicBezTo>
                    <a:pt x="243" y="16"/>
                    <a:pt x="241" y="11"/>
                    <a:pt x="243" y="8"/>
                  </a:cubicBezTo>
                  <a:cubicBezTo>
                    <a:pt x="246" y="5"/>
                    <a:pt x="244" y="1"/>
                    <a:pt x="241" y="1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2" y="0"/>
                    <a:pt x="227" y="2"/>
                    <a:pt x="226" y="6"/>
                  </a:cubicBezTo>
                  <a:cubicBezTo>
                    <a:pt x="222" y="17"/>
                    <a:pt x="222" y="17"/>
                    <a:pt x="222" y="17"/>
                  </a:cubicBezTo>
                  <a:cubicBezTo>
                    <a:pt x="222" y="20"/>
                    <a:pt x="220" y="22"/>
                    <a:pt x="217" y="23"/>
                  </a:cubicBezTo>
                  <a:cubicBezTo>
                    <a:pt x="213" y="24"/>
                    <a:pt x="210" y="21"/>
                    <a:pt x="209" y="17"/>
                  </a:cubicBezTo>
                  <a:cubicBezTo>
                    <a:pt x="209" y="15"/>
                    <a:pt x="209" y="15"/>
                    <a:pt x="209" y="15"/>
                  </a:cubicBezTo>
                  <a:cubicBezTo>
                    <a:pt x="208" y="12"/>
                    <a:pt x="205" y="9"/>
                    <a:pt x="202" y="9"/>
                  </a:cubicBezTo>
                  <a:cubicBezTo>
                    <a:pt x="200" y="9"/>
                    <a:pt x="198" y="11"/>
                    <a:pt x="198" y="13"/>
                  </a:cubicBezTo>
                  <a:cubicBezTo>
                    <a:pt x="197" y="19"/>
                    <a:pt x="197" y="19"/>
                    <a:pt x="197" y="19"/>
                  </a:cubicBezTo>
                  <a:cubicBezTo>
                    <a:pt x="197" y="23"/>
                    <a:pt x="193" y="25"/>
                    <a:pt x="189" y="23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5" y="17"/>
                    <a:pt x="181" y="16"/>
                    <a:pt x="178" y="18"/>
                  </a:cubicBezTo>
                  <a:cubicBezTo>
                    <a:pt x="173" y="20"/>
                    <a:pt x="173" y="20"/>
                    <a:pt x="173" y="20"/>
                  </a:cubicBezTo>
                  <a:cubicBezTo>
                    <a:pt x="171" y="21"/>
                    <a:pt x="169" y="22"/>
                    <a:pt x="168" y="24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1" y="33"/>
                    <a:pt x="157" y="35"/>
                    <a:pt x="154" y="34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47" y="32"/>
                    <a:pt x="145" y="33"/>
                    <a:pt x="144" y="35"/>
                  </a:cubicBezTo>
                  <a:cubicBezTo>
                    <a:pt x="143" y="38"/>
                    <a:pt x="143" y="41"/>
                    <a:pt x="146" y="42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8" y="44"/>
                    <a:pt x="149" y="45"/>
                    <a:pt x="149" y="45"/>
                  </a:cubicBezTo>
                  <a:cubicBezTo>
                    <a:pt x="148" y="48"/>
                    <a:pt x="145" y="50"/>
                    <a:pt x="143" y="49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2" y="46"/>
                    <a:pt x="120" y="47"/>
                    <a:pt x="118" y="50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6" y="55"/>
                    <a:pt x="117" y="58"/>
                    <a:pt x="120" y="60"/>
                  </a:cubicBezTo>
                  <a:cubicBezTo>
                    <a:pt x="125" y="62"/>
                    <a:pt x="125" y="62"/>
                    <a:pt x="125" y="62"/>
                  </a:cubicBezTo>
                  <a:cubicBezTo>
                    <a:pt x="126" y="63"/>
                    <a:pt x="127" y="65"/>
                    <a:pt x="126" y="66"/>
                  </a:cubicBezTo>
                  <a:cubicBezTo>
                    <a:pt x="98" y="95"/>
                    <a:pt x="98" y="95"/>
                    <a:pt x="98" y="95"/>
                  </a:cubicBezTo>
                  <a:cubicBezTo>
                    <a:pt x="84" y="118"/>
                    <a:pt x="84" y="118"/>
                    <a:pt x="84" y="118"/>
                  </a:cubicBezTo>
                  <a:cubicBezTo>
                    <a:pt x="82" y="120"/>
                    <a:pt x="80" y="122"/>
                    <a:pt x="78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7" y="125"/>
                    <a:pt x="65" y="126"/>
                    <a:pt x="64" y="127"/>
                  </a:cubicBezTo>
                  <a:cubicBezTo>
                    <a:pt x="53" y="139"/>
                    <a:pt x="53" y="139"/>
                    <a:pt x="53" y="139"/>
                  </a:cubicBezTo>
                  <a:cubicBezTo>
                    <a:pt x="52" y="140"/>
                    <a:pt x="52" y="142"/>
                    <a:pt x="53" y="143"/>
                  </a:cubicBezTo>
                  <a:cubicBezTo>
                    <a:pt x="55" y="145"/>
                    <a:pt x="58" y="145"/>
                    <a:pt x="60" y="143"/>
                  </a:cubicBezTo>
                  <a:cubicBezTo>
                    <a:pt x="74" y="132"/>
                    <a:pt x="74" y="132"/>
                    <a:pt x="74" y="132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60" y="156"/>
                    <a:pt x="60" y="156"/>
                    <a:pt x="60" y="156"/>
                  </a:cubicBezTo>
                  <a:cubicBezTo>
                    <a:pt x="44" y="155"/>
                    <a:pt x="44" y="155"/>
                    <a:pt x="44" y="155"/>
                  </a:cubicBezTo>
                  <a:cubicBezTo>
                    <a:pt x="16" y="173"/>
                    <a:pt x="16" y="173"/>
                    <a:pt x="16" y="173"/>
                  </a:cubicBezTo>
                  <a:cubicBezTo>
                    <a:pt x="5" y="181"/>
                    <a:pt x="0" y="195"/>
                    <a:pt x="3" y="208"/>
                  </a:cubicBezTo>
                  <a:cubicBezTo>
                    <a:pt x="12" y="209"/>
                    <a:pt x="12" y="209"/>
                    <a:pt x="12" y="209"/>
                  </a:cubicBezTo>
                  <a:cubicBezTo>
                    <a:pt x="13" y="209"/>
                    <a:pt x="14" y="210"/>
                    <a:pt x="14" y="211"/>
                  </a:cubicBezTo>
                  <a:cubicBezTo>
                    <a:pt x="16" y="214"/>
                    <a:pt x="13" y="217"/>
                    <a:pt x="10" y="217"/>
                  </a:cubicBezTo>
                  <a:cubicBezTo>
                    <a:pt x="7" y="217"/>
                    <a:pt x="5" y="220"/>
                    <a:pt x="6" y="223"/>
                  </a:cubicBezTo>
                  <a:cubicBezTo>
                    <a:pt x="9" y="236"/>
                    <a:pt x="9" y="236"/>
                    <a:pt x="9" y="236"/>
                  </a:cubicBezTo>
                  <a:cubicBezTo>
                    <a:pt x="9" y="238"/>
                    <a:pt x="11" y="240"/>
                    <a:pt x="13" y="242"/>
                  </a:cubicBezTo>
                  <a:cubicBezTo>
                    <a:pt x="23" y="248"/>
                    <a:pt x="23" y="248"/>
                    <a:pt x="23" y="248"/>
                  </a:cubicBezTo>
                  <a:cubicBezTo>
                    <a:pt x="26" y="250"/>
                    <a:pt x="31" y="251"/>
                    <a:pt x="35" y="249"/>
                  </a:cubicBezTo>
                  <a:cubicBezTo>
                    <a:pt x="44" y="244"/>
                    <a:pt x="44" y="244"/>
                    <a:pt x="44" y="244"/>
                  </a:cubicBezTo>
                  <a:cubicBezTo>
                    <a:pt x="55" y="236"/>
                    <a:pt x="68" y="224"/>
                    <a:pt x="74" y="238"/>
                  </a:cubicBezTo>
                  <a:cubicBezTo>
                    <a:pt x="83" y="238"/>
                    <a:pt x="83" y="238"/>
                    <a:pt x="83" y="238"/>
                  </a:cubicBezTo>
                  <a:cubicBezTo>
                    <a:pt x="85" y="238"/>
                    <a:pt x="87" y="237"/>
                    <a:pt x="87" y="234"/>
                  </a:cubicBezTo>
                  <a:cubicBezTo>
                    <a:pt x="87" y="225"/>
                    <a:pt x="87" y="225"/>
                    <a:pt x="87" y="225"/>
                  </a:cubicBezTo>
                  <a:cubicBezTo>
                    <a:pt x="87" y="222"/>
                    <a:pt x="89" y="219"/>
                    <a:pt x="91" y="216"/>
                  </a:cubicBezTo>
                  <a:cubicBezTo>
                    <a:pt x="97" y="210"/>
                    <a:pt x="97" y="210"/>
                    <a:pt x="97" y="210"/>
                  </a:cubicBezTo>
                  <a:cubicBezTo>
                    <a:pt x="97" y="210"/>
                    <a:pt x="98" y="209"/>
                    <a:pt x="98" y="208"/>
                  </a:cubicBezTo>
                  <a:cubicBezTo>
                    <a:pt x="98" y="205"/>
                    <a:pt x="98" y="205"/>
                    <a:pt x="98" y="205"/>
                  </a:cubicBezTo>
                  <a:cubicBezTo>
                    <a:pt x="98" y="203"/>
                    <a:pt x="96" y="201"/>
                    <a:pt x="94" y="201"/>
                  </a:cubicBezTo>
                  <a:cubicBezTo>
                    <a:pt x="89" y="201"/>
                    <a:pt x="89" y="201"/>
                    <a:pt x="89" y="201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93" y="196"/>
                    <a:pt x="93" y="196"/>
                    <a:pt x="93" y="196"/>
                  </a:cubicBezTo>
                  <a:cubicBezTo>
                    <a:pt x="95" y="196"/>
                    <a:pt x="97" y="195"/>
                    <a:pt x="97" y="192"/>
                  </a:cubicBezTo>
                  <a:cubicBezTo>
                    <a:pt x="97" y="189"/>
                    <a:pt x="97" y="189"/>
                    <a:pt x="97" y="189"/>
                  </a:cubicBezTo>
                  <a:cubicBezTo>
                    <a:pt x="97" y="188"/>
                    <a:pt x="96" y="187"/>
                    <a:pt x="96" y="187"/>
                  </a:cubicBezTo>
                  <a:cubicBezTo>
                    <a:pt x="91" y="182"/>
                    <a:pt x="91" y="182"/>
                    <a:pt x="91" y="182"/>
                  </a:cubicBezTo>
                  <a:cubicBezTo>
                    <a:pt x="91" y="182"/>
                    <a:pt x="90" y="181"/>
                    <a:pt x="90" y="180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7"/>
                    <a:pt x="95" y="149"/>
                    <a:pt x="103" y="145"/>
                  </a:cubicBezTo>
                  <a:cubicBezTo>
                    <a:pt x="118" y="139"/>
                    <a:pt x="118" y="139"/>
                    <a:pt x="118" y="139"/>
                  </a:cubicBezTo>
                  <a:cubicBezTo>
                    <a:pt x="119" y="139"/>
                    <a:pt x="120" y="137"/>
                    <a:pt x="120" y="135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0" y="131"/>
                    <a:pt x="120" y="130"/>
                    <a:pt x="119" y="130"/>
                  </a:cubicBezTo>
                  <a:cubicBezTo>
                    <a:pt x="115" y="126"/>
                    <a:pt x="115" y="120"/>
                    <a:pt x="118" y="115"/>
                  </a:cubicBezTo>
                  <a:cubicBezTo>
                    <a:pt x="122" y="110"/>
                    <a:pt x="122" y="110"/>
                    <a:pt x="122" y="110"/>
                  </a:cubicBezTo>
                  <a:cubicBezTo>
                    <a:pt x="123" y="109"/>
                    <a:pt x="123" y="108"/>
                    <a:pt x="123" y="107"/>
                  </a:cubicBezTo>
                  <a:cubicBezTo>
                    <a:pt x="123" y="98"/>
                    <a:pt x="123" y="98"/>
                    <a:pt x="123" y="98"/>
                  </a:cubicBezTo>
                  <a:cubicBezTo>
                    <a:pt x="126" y="98"/>
                    <a:pt x="126" y="98"/>
                    <a:pt x="126" y="98"/>
                  </a:cubicBezTo>
                  <a:cubicBezTo>
                    <a:pt x="128" y="98"/>
                    <a:pt x="129" y="98"/>
                    <a:pt x="129" y="97"/>
                  </a:cubicBezTo>
                  <a:cubicBezTo>
                    <a:pt x="142" y="85"/>
                    <a:pt x="142" y="85"/>
                    <a:pt x="142" y="85"/>
                  </a:cubicBezTo>
                  <a:cubicBezTo>
                    <a:pt x="143" y="84"/>
                    <a:pt x="143" y="83"/>
                    <a:pt x="143" y="82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43" y="71"/>
                    <a:pt x="143" y="70"/>
                    <a:pt x="144" y="70"/>
                  </a:cubicBezTo>
                  <a:cubicBezTo>
                    <a:pt x="156" y="58"/>
                    <a:pt x="156" y="58"/>
                    <a:pt x="156" y="58"/>
                  </a:cubicBezTo>
                  <a:cubicBezTo>
                    <a:pt x="157" y="57"/>
                    <a:pt x="158" y="57"/>
                    <a:pt x="159" y="57"/>
                  </a:cubicBezTo>
                  <a:cubicBezTo>
                    <a:pt x="165" y="57"/>
                    <a:pt x="165" y="57"/>
                    <a:pt x="165" y="57"/>
                  </a:cubicBezTo>
                  <a:cubicBezTo>
                    <a:pt x="167" y="57"/>
                    <a:pt x="169" y="55"/>
                    <a:pt x="169" y="53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9" y="47"/>
                    <a:pt x="171" y="45"/>
                    <a:pt x="173" y="45"/>
                  </a:cubicBezTo>
                  <a:cubicBezTo>
                    <a:pt x="176" y="45"/>
                    <a:pt x="176" y="45"/>
                    <a:pt x="176" y="45"/>
                  </a:cubicBezTo>
                  <a:cubicBezTo>
                    <a:pt x="178" y="45"/>
                    <a:pt x="180" y="47"/>
                    <a:pt x="180" y="49"/>
                  </a:cubicBezTo>
                  <a:cubicBezTo>
                    <a:pt x="180" y="51"/>
                    <a:pt x="182" y="53"/>
                    <a:pt x="184" y="53"/>
                  </a:cubicBezTo>
                  <a:cubicBezTo>
                    <a:pt x="189" y="53"/>
                    <a:pt x="189" y="53"/>
                    <a:pt x="189" y="53"/>
                  </a:cubicBezTo>
                  <a:cubicBezTo>
                    <a:pt x="191" y="53"/>
                    <a:pt x="193" y="51"/>
                    <a:pt x="193" y="49"/>
                  </a:cubicBezTo>
                  <a:cubicBezTo>
                    <a:pt x="193" y="42"/>
                    <a:pt x="193" y="42"/>
                    <a:pt x="193" y="42"/>
                  </a:cubicBezTo>
                  <a:cubicBezTo>
                    <a:pt x="193" y="39"/>
                    <a:pt x="195" y="37"/>
                    <a:pt x="197" y="37"/>
                  </a:cubicBezTo>
                  <a:cubicBezTo>
                    <a:pt x="200" y="37"/>
                    <a:pt x="203" y="39"/>
                    <a:pt x="205" y="41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1" y="47"/>
                    <a:pt x="212" y="47"/>
                    <a:pt x="213" y="47"/>
                  </a:cubicBezTo>
                  <a:cubicBezTo>
                    <a:pt x="233" y="47"/>
                    <a:pt x="233" y="47"/>
                    <a:pt x="233" y="47"/>
                  </a:cubicBezTo>
                  <a:cubicBezTo>
                    <a:pt x="239" y="47"/>
                    <a:pt x="244" y="45"/>
                    <a:pt x="248" y="41"/>
                  </a:cubicBezTo>
                  <a:cubicBezTo>
                    <a:pt x="254" y="36"/>
                    <a:pt x="254" y="36"/>
                    <a:pt x="254" y="36"/>
                  </a:cubicBezTo>
                  <a:cubicBezTo>
                    <a:pt x="255" y="35"/>
                    <a:pt x="255" y="34"/>
                    <a:pt x="255" y="33"/>
                  </a:cubicBezTo>
                  <a:cubicBezTo>
                    <a:pt x="255" y="29"/>
                    <a:pt x="255" y="29"/>
                    <a:pt x="255" y="29"/>
                  </a:cubicBezTo>
                  <a:cubicBezTo>
                    <a:pt x="255" y="27"/>
                    <a:pt x="256" y="26"/>
                    <a:pt x="258" y="25"/>
                  </a:cubicBezTo>
                  <a:cubicBezTo>
                    <a:pt x="274" y="22"/>
                    <a:pt x="274" y="22"/>
                    <a:pt x="274" y="22"/>
                  </a:cubicBezTo>
                  <a:cubicBezTo>
                    <a:pt x="275" y="22"/>
                    <a:pt x="275" y="22"/>
                    <a:pt x="276" y="22"/>
                  </a:cubicBezTo>
                  <a:cubicBezTo>
                    <a:pt x="276" y="21"/>
                    <a:pt x="276" y="21"/>
                    <a:pt x="276" y="21"/>
                  </a:cubicBezTo>
                  <a:cubicBezTo>
                    <a:pt x="290" y="21"/>
                    <a:pt x="290" y="21"/>
                    <a:pt x="290" y="21"/>
                  </a:cubicBezTo>
                  <a:cubicBezTo>
                    <a:pt x="293" y="22"/>
                    <a:pt x="296" y="19"/>
                    <a:pt x="297" y="16"/>
                  </a:cubicBezTo>
                  <a:cubicBezTo>
                    <a:pt x="297" y="16"/>
                    <a:pt x="297" y="16"/>
                    <a:pt x="297" y="16"/>
                  </a:cubicBezTo>
                  <a:cubicBezTo>
                    <a:pt x="298" y="11"/>
                    <a:pt x="294" y="7"/>
                    <a:pt x="289" y="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FB78C37B-4639-4215-87B6-6CE629C0F0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3933826"/>
              <a:ext cx="50800" cy="84138"/>
            </a:xfrm>
            <a:custGeom>
              <a:avLst/>
              <a:gdLst>
                <a:gd name="T0" fmla="*/ 14 w 17"/>
                <a:gd name="T1" fmla="*/ 1 h 28"/>
                <a:gd name="T2" fmla="*/ 10 w 17"/>
                <a:gd name="T3" fmla="*/ 0 h 28"/>
                <a:gd name="T4" fmla="*/ 9 w 17"/>
                <a:gd name="T5" fmla="*/ 0 h 28"/>
                <a:gd name="T6" fmla="*/ 6 w 17"/>
                <a:gd name="T7" fmla="*/ 2 h 28"/>
                <a:gd name="T8" fmla="*/ 2 w 17"/>
                <a:gd name="T9" fmla="*/ 2 h 28"/>
                <a:gd name="T10" fmla="*/ 1 w 17"/>
                <a:gd name="T11" fmla="*/ 9 h 28"/>
                <a:gd name="T12" fmla="*/ 3 w 17"/>
                <a:gd name="T13" fmla="*/ 12 h 28"/>
                <a:gd name="T14" fmla="*/ 3 w 17"/>
                <a:gd name="T15" fmla="*/ 28 h 28"/>
                <a:gd name="T16" fmla="*/ 5 w 17"/>
                <a:gd name="T17" fmla="*/ 28 h 28"/>
                <a:gd name="T18" fmla="*/ 11 w 17"/>
                <a:gd name="T19" fmla="*/ 25 h 28"/>
                <a:gd name="T20" fmla="*/ 13 w 17"/>
                <a:gd name="T21" fmla="*/ 22 h 28"/>
                <a:gd name="T22" fmla="*/ 16 w 17"/>
                <a:gd name="T23" fmla="*/ 17 h 28"/>
                <a:gd name="T24" fmla="*/ 16 w 17"/>
                <a:gd name="T25" fmla="*/ 10 h 28"/>
                <a:gd name="T26" fmla="*/ 16 w 17"/>
                <a:gd name="T27" fmla="*/ 8 h 28"/>
                <a:gd name="T28" fmla="*/ 14 w 17"/>
                <a:gd name="T29" fmla="*/ 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28">
                  <a:moveTo>
                    <a:pt x="14" y="1"/>
                  </a:moveTo>
                  <a:cubicBezTo>
                    <a:pt x="13" y="0"/>
                    <a:pt x="12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3" y="1"/>
                    <a:pt x="2" y="2"/>
                  </a:cubicBezTo>
                  <a:cubicBezTo>
                    <a:pt x="0" y="3"/>
                    <a:pt x="1" y="9"/>
                    <a:pt x="1" y="9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7" y="28"/>
                    <a:pt x="9" y="27"/>
                    <a:pt x="11" y="25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5" y="21"/>
                    <a:pt x="16" y="19"/>
                    <a:pt x="16" y="17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5"/>
                    <a:pt x="16" y="2"/>
                    <a:pt x="14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EBFCA224-1890-4A20-9C42-52E5049F1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063" y="3862388"/>
              <a:ext cx="30163" cy="47625"/>
            </a:xfrm>
            <a:custGeom>
              <a:avLst/>
              <a:gdLst>
                <a:gd name="T0" fmla="*/ 4 w 10"/>
                <a:gd name="T1" fmla="*/ 0 h 16"/>
                <a:gd name="T2" fmla="*/ 0 w 10"/>
                <a:gd name="T3" fmla="*/ 4 h 16"/>
                <a:gd name="T4" fmla="*/ 0 w 10"/>
                <a:gd name="T5" fmla="*/ 11 h 16"/>
                <a:gd name="T6" fmla="*/ 2 w 10"/>
                <a:gd name="T7" fmla="*/ 15 h 16"/>
                <a:gd name="T8" fmla="*/ 4 w 10"/>
                <a:gd name="T9" fmla="*/ 15 h 16"/>
                <a:gd name="T10" fmla="*/ 4 w 10"/>
                <a:gd name="T11" fmla="*/ 9 h 16"/>
                <a:gd name="T12" fmla="*/ 9 w 10"/>
                <a:gd name="T13" fmla="*/ 9 h 16"/>
                <a:gd name="T14" fmla="*/ 9 w 10"/>
                <a:gd name="T15" fmla="*/ 4 h 16"/>
                <a:gd name="T16" fmla="*/ 4 w 10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6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"/>
                    <a:pt x="0" y="14"/>
                    <a:pt x="2" y="15"/>
                  </a:cubicBezTo>
                  <a:cubicBezTo>
                    <a:pt x="2" y="15"/>
                    <a:pt x="3" y="16"/>
                    <a:pt x="4" y="15"/>
                  </a:cubicBezTo>
                  <a:cubicBezTo>
                    <a:pt x="5" y="14"/>
                    <a:pt x="4" y="9"/>
                    <a:pt x="4" y="9"/>
                  </a:cubicBezTo>
                  <a:cubicBezTo>
                    <a:pt x="4" y="9"/>
                    <a:pt x="8" y="10"/>
                    <a:pt x="9" y="9"/>
                  </a:cubicBezTo>
                  <a:cubicBezTo>
                    <a:pt x="10" y="8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13">
              <a:extLst>
                <a:ext uri="{FF2B5EF4-FFF2-40B4-BE49-F238E27FC236}">
                  <a16:creationId xmlns:a16="http://schemas.microsoft.com/office/drawing/2014/main" id="{2A61CADC-CFB6-4831-96F1-2DFFE1E69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300" y="3814763"/>
              <a:ext cx="442913" cy="315913"/>
            </a:xfrm>
            <a:custGeom>
              <a:avLst/>
              <a:gdLst>
                <a:gd name="T0" fmla="*/ 120 w 148"/>
                <a:gd name="T1" fmla="*/ 13 h 106"/>
                <a:gd name="T2" fmla="*/ 113 w 148"/>
                <a:gd name="T3" fmla="*/ 14 h 106"/>
                <a:gd name="T4" fmla="*/ 88 w 148"/>
                <a:gd name="T5" fmla="*/ 5 h 106"/>
                <a:gd name="T6" fmla="*/ 85 w 148"/>
                <a:gd name="T7" fmla="*/ 6 h 106"/>
                <a:gd name="T8" fmla="*/ 68 w 148"/>
                <a:gd name="T9" fmla="*/ 5 h 106"/>
                <a:gd name="T10" fmla="*/ 68 w 148"/>
                <a:gd name="T11" fmla="*/ 5 h 106"/>
                <a:gd name="T12" fmla="*/ 56 w 148"/>
                <a:gd name="T13" fmla="*/ 5 h 106"/>
                <a:gd name="T14" fmla="*/ 54 w 148"/>
                <a:gd name="T15" fmla="*/ 5 h 106"/>
                <a:gd name="T16" fmla="*/ 49 w 148"/>
                <a:gd name="T17" fmla="*/ 2 h 106"/>
                <a:gd name="T18" fmla="*/ 47 w 148"/>
                <a:gd name="T19" fmla="*/ 2 h 106"/>
                <a:gd name="T20" fmla="*/ 22 w 148"/>
                <a:gd name="T21" fmla="*/ 0 h 106"/>
                <a:gd name="T22" fmla="*/ 22 w 148"/>
                <a:gd name="T23" fmla="*/ 0 h 106"/>
                <a:gd name="T24" fmla="*/ 12 w 148"/>
                <a:gd name="T25" fmla="*/ 0 h 106"/>
                <a:gd name="T26" fmla="*/ 9 w 148"/>
                <a:gd name="T27" fmla="*/ 1 h 106"/>
                <a:gd name="T28" fmla="*/ 2 w 148"/>
                <a:gd name="T29" fmla="*/ 7 h 106"/>
                <a:gd name="T30" fmla="*/ 0 w 148"/>
                <a:gd name="T31" fmla="*/ 12 h 106"/>
                <a:gd name="T32" fmla="*/ 2 w 148"/>
                <a:gd name="T33" fmla="*/ 20 h 106"/>
                <a:gd name="T34" fmla="*/ 3 w 148"/>
                <a:gd name="T35" fmla="*/ 22 h 106"/>
                <a:gd name="T36" fmla="*/ 5 w 148"/>
                <a:gd name="T37" fmla="*/ 25 h 106"/>
                <a:gd name="T38" fmla="*/ 6 w 148"/>
                <a:gd name="T39" fmla="*/ 27 h 106"/>
                <a:gd name="T40" fmla="*/ 13 w 148"/>
                <a:gd name="T41" fmla="*/ 29 h 106"/>
                <a:gd name="T42" fmla="*/ 29 w 148"/>
                <a:gd name="T43" fmla="*/ 26 h 106"/>
                <a:gd name="T44" fmla="*/ 34 w 148"/>
                <a:gd name="T45" fmla="*/ 28 h 106"/>
                <a:gd name="T46" fmla="*/ 35 w 148"/>
                <a:gd name="T47" fmla="*/ 35 h 106"/>
                <a:gd name="T48" fmla="*/ 34 w 148"/>
                <a:gd name="T49" fmla="*/ 36 h 106"/>
                <a:gd name="T50" fmla="*/ 32 w 148"/>
                <a:gd name="T51" fmla="*/ 38 h 106"/>
                <a:gd name="T52" fmla="*/ 31 w 148"/>
                <a:gd name="T53" fmla="*/ 38 h 106"/>
                <a:gd name="T54" fmla="*/ 28 w 148"/>
                <a:gd name="T55" fmla="*/ 43 h 106"/>
                <a:gd name="T56" fmla="*/ 25 w 148"/>
                <a:gd name="T57" fmla="*/ 62 h 106"/>
                <a:gd name="T58" fmla="*/ 24 w 148"/>
                <a:gd name="T59" fmla="*/ 65 h 106"/>
                <a:gd name="T60" fmla="*/ 22 w 148"/>
                <a:gd name="T61" fmla="*/ 67 h 106"/>
                <a:gd name="T62" fmla="*/ 24 w 148"/>
                <a:gd name="T63" fmla="*/ 70 h 106"/>
                <a:gd name="T64" fmla="*/ 25 w 148"/>
                <a:gd name="T65" fmla="*/ 73 h 106"/>
                <a:gd name="T66" fmla="*/ 23 w 148"/>
                <a:gd name="T67" fmla="*/ 91 h 106"/>
                <a:gd name="T68" fmla="*/ 27 w 148"/>
                <a:gd name="T69" fmla="*/ 92 h 106"/>
                <a:gd name="T70" fmla="*/ 28 w 148"/>
                <a:gd name="T71" fmla="*/ 94 h 106"/>
                <a:gd name="T72" fmla="*/ 30 w 148"/>
                <a:gd name="T73" fmla="*/ 98 h 106"/>
                <a:gd name="T74" fmla="*/ 33 w 148"/>
                <a:gd name="T75" fmla="*/ 102 h 106"/>
                <a:gd name="T76" fmla="*/ 37 w 148"/>
                <a:gd name="T77" fmla="*/ 105 h 106"/>
                <a:gd name="T78" fmla="*/ 41 w 148"/>
                <a:gd name="T79" fmla="*/ 106 h 106"/>
                <a:gd name="T80" fmla="*/ 50 w 148"/>
                <a:gd name="T81" fmla="*/ 103 h 106"/>
                <a:gd name="T82" fmla="*/ 51 w 148"/>
                <a:gd name="T83" fmla="*/ 102 h 106"/>
                <a:gd name="T84" fmla="*/ 65 w 148"/>
                <a:gd name="T85" fmla="*/ 99 h 106"/>
                <a:gd name="T86" fmla="*/ 66 w 148"/>
                <a:gd name="T87" fmla="*/ 99 h 106"/>
                <a:gd name="T88" fmla="*/ 75 w 148"/>
                <a:gd name="T89" fmla="*/ 99 h 106"/>
                <a:gd name="T90" fmla="*/ 78 w 148"/>
                <a:gd name="T91" fmla="*/ 98 h 106"/>
                <a:gd name="T92" fmla="*/ 89 w 148"/>
                <a:gd name="T93" fmla="*/ 90 h 106"/>
                <a:gd name="T94" fmla="*/ 89 w 148"/>
                <a:gd name="T95" fmla="*/ 90 h 106"/>
                <a:gd name="T96" fmla="*/ 99 w 148"/>
                <a:gd name="T97" fmla="*/ 81 h 106"/>
                <a:gd name="T98" fmla="*/ 109 w 148"/>
                <a:gd name="T99" fmla="*/ 72 h 106"/>
                <a:gd name="T100" fmla="*/ 104 w 148"/>
                <a:gd name="T101" fmla="*/ 64 h 106"/>
                <a:gd name="T102" fmla="*/ 108 w 148"/>
                <a:gd name="T103" fmla="*/ 52 h 106"/>
                <a:gd name="T104" fmla="*/ 121 w 148"/>
                <a:gd name="T105" fmla="*/ 39 h 106"/>
                <a:gd name="T106" fmla="*/ 125 w 148"/>
                <a:gd name="T107" fmla="*/ 37 h 106"/>
                <a:gd name="T108" fmla="*/ 131 w 148"/>
                <a:gd name="T109" fmla="*/ 36 h 106"/>
                <a:gd name="T110" fmla="*/ 134 w 148"/>
                <a:gd name="T111" fmla="*/ 35 h 106"/>
                <a:gd name="T112" fmla="*/ 144 w 148"/>
                <a:gd name="T113" fmla="*/ 30 h 106"/>
                <a:gd name="T114" fmla="*/ 147 w 148"/>
                <a:gd name="T115" fmla="*/ 25 h 106"/>
                <a:gd name="T116" fmla="*/ 148 w 148"/>
                <a:gd name="T117" fmla="*/ 20 h 106"/>
                <a:gd name="T118" fmla="*/ 127 w 148"/>
                <a:gd name="T119" fmla="*/ 11 h 106"/>
                <a:gd name="T120" fmla="*/ 120 w 148"/>
                <a:gd name="T121" fmla="*/ 1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06">
                  <a:moveTo>
                    <a:pt x="120" y="13"/>
                  </a:moveTo>
                  <a:cubicBezTo>
                    <a:pt x="118" y="15"/>
                    <a:pt x="115" y="15"/>
                    <a:pt x="113" y="14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7" y="6"/>
                    <a:pt x="86" y="6"/>
                    <a:pt x="85" y="6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5" y="5"/>
                    <a:pt x="54" y="5"/>
                    <a:pt x="54" y="5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8" y="2"/>
                    <a:pt x="48" y="2"/>
                    <a:pt x="47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9" y="1"/>
                    <a:pt x="9" y="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8"/>
                    <a:pt x="0" y="10"/>
                    <a:pt x="0" y="1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1"/>
                    <a:pt x="2" y="21"/>
                    <a:pt x="3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6" y="26"/>
                    <a:pt x="6" y="26"/>
                    <a:pt x="6" y="27"/>
                  </a:cubicBezTo>
                  <a:cubicBezTo>
                    <a:pt x="9" y="28"/>
                    <a:pt x="12" y="29"/>
                    <a:pt x="13" y="29"/>
                  </a:cubicBezTo>
                  <a:cubicBezTo>
                    <a:pt x="14" y="29"/>
                    <a:pt x="23" y="27"/>
                    <a:pt x="29" y="26"/>
                  </a:cubicBezTo>
                  <a:cubicBezTo>
                    <a:pt x="31" y="26"/>
                    <a:pt x="33" y="27"/>
                    <a:pt x="34" y="28"/>
                  </a:cubicBezTo>
                  <a:cubicBezTo>
                    <a:pt x="36" y="30"/>
                    <a:pt x="36" y="33"/>
                    <a:pt x="35" y="35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3" y="37"/>
                    <a:pt x="33" y="38"/>
                    <a:pt x="32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8" y="41"/>
                    <a:pt x="28" y="43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5" y="63"/>
                    <a:pt x="25" y="64"/>
                    <a:pt x="24" y="65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5" y="71"/>
                    <a:pt x="25" y="72"/>
                    <a:pt x="25" y="73"/>
                  </a:cubicBezTo>
                  <a:cubicBezTo>
                    <a:pt x="23" y="91"/>
                    <a:pt x="23" y="91"/>
                    <a:pt x="23" y="91"/>
                  </a:cubicBezTo>
                  <a:cubicBezTo>
                    <a:pt x="24" y="91"/>
                    <a:pt x="26" y="92"/>
                    <a:pt x="27" y="92"/>
                  </a:cubicBezTo>
                  <a:cubicBezTo>
                    <a:pt x="28" y="94"/>
                    <a:pt x="28" y="94"/>
                    <a:pt x="28" y="94"/>
                  </a:cubicBezTo>
                  <a:cubicBezTo>
                    <a:pt x="30" y="95"/>
                    <a:pt x="30" y="96"/>
                    <a:pt x="30" y="98"/>
                  </a:cubicBezTo>
                  <a:cubicBezTo>
                    <a:pt x="30" y="100"/>
                    <a:pt x="31" y="101"/>
                    <a:pt x="33" y="102"/>
                  </a:cubicBezTo>
                  <a:cubicBezTo>
                    <a:pt x="37" y="105"/>
                    <a:pt x="37" y="105"/>
                    <a:pt x="37" y="105"/>
                  </a:cubicBezTo>
                  <a:cubicBezTo>
                    <a:pt x="38" y="106"/>
                    <a:pt x="40" y="106"/>
                    <a:pt x="41" y="106"/>
                  </a:cubicBezTo>
                  <a:cubicBezTo>
                    <a:pt x="50" y="103"/>
                    <a:pt x="50" y="103"/>
                    <a:pt x="50" y="103"/>
                  </a:cubicBezTo>
                  <a:cubicBezTo>
                    <a:pt x="50" y="103"/>
                    <a:pt x="50" y="102"/>
                    <a:pt x="51" y="102"/>
                  </a:cubicBezTo>
                  <a:cubicBezTo>
                    <a:pt x="65" y="99"/>
                    <a:pt x="65" y="99"/>
                    <a:pt x="65" y="99"/>
                  </a:cubicBezTo>
                  <a:cubicBezTo>
                    <a:pt x="65" y="99"/>
                    <a:pt x="66" y="99"/>
                    <a:pt x="66" y="99"/>
                  </a:cubicBezTo>
                  <a:cubicBezTo>
                    <a:pt x="75" y="99"/>
                    <a:pt x="75" y="99"/>
                    <a:pt x="75" y="99"/>
                  </a:cubicBezTo>
                  <a:cubicBezTo>
                    <a:pt x="76" y="99"/>
                    <a:pt x="77" y="99"/>
                    <a:pt x="78" y="98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8" y="52"/>
                    <a:pt x="108" y="52"/>
                    <a:pt x="108" y="52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2" y="38"/>
                    <a:pt x="124" y="37"/>
                    <a:pt x="125" y="37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2" y="36"/>
                    <a:pt x="133" y="36"/>
                    <a:pt x="134" y="35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29"/>
                    <a:pt x="147" y="27"/>
                    <a:pt x="147" y="25"/>
                  </a:cubicBezTo>
                  <a:cubicBezTo>
                    <a:pt x="148" y="20"/>
                    <a:pt x="148" y="20"/>
                    <a:pt x="148" y="20"/>
                  </a:cubicBezTo>
                  <a:cubicBezTo>
                    <a:pt x="127" y="11"/>
                    <a:pt x="127" y="11"/>
                    <a:pt x="127" y="11"/>
                  </a:cubicBezTo>
                  <a:cubicBezTo>
                    <a:pt x="124" y="10"/>
                    <a:pt x="121" y="11"/>
                    <a:pt x="120" y="13"/>
                  </a:cubicBezTo>
                  <a:close/>
                </a:path>
              </a:pathLst>
            </a:custGeom>
            <a:solidFill>
              <a:schemeClr val="tx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14">
              <a:extLst>
                <a:ext uri="{FF2B5EF4-FFF2-40B4-BE49-F238E27FC236}">
                  <a16:creationId xmlns:a16="http://schemas.microsoft.com/office/drawing/2014/main" id="{B6BD4937-4CAF-4003-B0AB-F378C9B2D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250" y="3178176"/>
              <a:ext cx="90488" cy="136525"/>
            </a:xfrm>
            <a:custGeom>
              <a:avLst/>
              <a:gdLst>
                <a:gd name="T0" fmla="*/ 1 w 30"/>
                <a:gd name="T1" fmla="*/ 28 h 46"/>
                <a:gd name="T2" fmla="*/ 8 w 30"/>
                <a:gd name="T3" fmla="*/ 46 h 46"/>
                <a:gd name="T4" fmla="*/ 19 w 30"/>
                <a:gd name="T5" fmla="*/ 46 h 46"/>
                <a:gd name="T6" fmla="*/ 17 w 30"/>
                <a:gd name="T7" fmla="*/ 41 h 46"/>
                <a:gd name="T8" fmla="*/ 16 w 30"/>
                <a:gd name="T9" fmla="*/ 32 h 46"/>
                <a:gd name="T10" fmla="*/ 17 w 30"/>
                <a:gd name="T11" fmla="*/ 27 h 46"/>
                <a:gd name="T12" fmla="*/ 20 w 30"/>
                <a:gd name="T13" fmla="*/ 24 h 46"/>
                <a:gd name="T14" fmla="*/ 27 w 30"/>
                <a:gd name="T15" fmla="*/ 22 h 46"/>
                <a:gd name="T16" fmla="*/ 30 w 30"/>
                <a:gd name="T17" fmla="*/ 18 h 46"/>
                <a:gd name="T18" fmla="*/ 30 w 30"/>
                <a:gd name="T19" fmla="*/ 17 h 46"/>
                <a:gd name="T20" fmla="*/ 28 w 30"/>
                <a:gd name="T21" fmla="*/ 14 h 46"/>
                <a:gd name="T22" fmla="*/ 27 w 30"/>
                <a:gd name="T23" fmla="*/ 13 h 46"/>
                <a:gd name="T24" fmla="*/ 26 w 30"/>
                <a:gd name="T25" fmla="*/ 9 h 46"/>
                <a:gd name="T26" fmla="*/ 28 w 30"/>
                <a:gd name="T27" fmla="*/ 2 h 46"/>
                <a:gd name="T28" fmla="*/ 17 w 30"/>
                <a:gd name="T29" fmla="*/ 3 h 46"/>
                <a:gd name="T30" fmla="*/ 13 w 30"/>
                <a:gd name="T31" fmla="*/ 7 h 46"/>
                <a:gd name="T32" fmla="*/ 8 w 30"/>
                <a:gd name="T33" fmla="*/ 7 h 46"/>
                <a:gd name="T34" fmla="*/ 4 w 30"/>
                <a:gd name="T35" fmla="*/ 7 h 46"/>
                <a:gd name="T36" fmla="*/ 1 w 30"/>
                <a:gd name="T37" fmla="*/ 10 h 46"/>
                <a:gd name="T38" fmla="*/ 0 w 30"/>
                <a:gd name="T39" fmla="*/ 13 h 46"/>
                <a:gd name="T40" fmla="*/ 1 w 30"/>
                <a:gd name="T41" fmla="*/ 26 h 46"/>
                <a:gd name="T42" fmla="*/ 1 w 30"/>
                <a:gd name="T43" fmla="*/ 2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" h="46">
                  <a:moveTo>
                    <a:pt x="1" y="28"/>
                  </a:moveTo>
                  <a:cubicBezTo>
                    <a:pt x="8" y="46"/>
                    <a:pt x="8" y="46"/>
                    <a:pt x="8" y="46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5" y="38"/>
                    <a:pt x="15" y="35"/>
                    <a:pt x="16" y="32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8" y="22"/>
                    <a:pt x="30" y="20"/>
                    <a:pt x="30" y="18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6"/>
                    <a:pt x="29" y="15"/>
                    <a:pt x="28" y="14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6" y="12"/>
                    <a:pt x="25" y="10"/>
                    <a:pt x="26" y="9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0"/>
                    <a:pt x="20" y="0"/>
                    <a:pt x="17" y="3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9"/>
                    <a:pt x="9" y="9"/>
                    <a:pt x="8" y="7"/>
                  </a:cubicBezTo>
                  <a:cubicBezTo>
                    <a:pt x="7" y="6"/>
                    <a:pt x="5" y="6"/>
                    <a:pt x="4" y="7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1"/>
                    <a:pt x="0" y="12"/>
                    <a:pt x="0" y="13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7"/>
                    <a:pt x="1" y="27"/>
                    <a:pt x="1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15">
              <a:extLst>
                <a:ext uri="{FF2B5EF4-FFF2-40B4-BE49-F238E27FC236}">
                  <a16:creationId xmlns:a16="http://schemas.microsoft.com/office/drawing/2014/main" id="{FC93D347-0B88-4406-8098-44690EB85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3314701"/>
              <a:ext cx="317500" cy="303213"/>
            </a:xfrm>
            <a:custGeom>
              <a:avLst/>
              <a:gdLst>
                <a:gd name="T0" fmla="*/ 42 w 106"/>
                <a:gd name="T1" fmla="*/ 95 h 101"/>
                <a:gd name="T2" fmla="*/ 52 w 106"/>
                <a:gd name="T3" fmla="*/ 100 h 101"/>
                <a:gd name="T4" fmla="*/ 56 w 106"/>
                <a:gd name="T5" fmla="*/ 101 h 101"/>
                <a:gd name="T6" fmla="*/ 71 w 106"/>
                <a:gd name="T7" fmla="*/ 101 h 101"/>
                <a:gd name="T8" fmla="*/ 86 w 106"/>
                <a:gd name="T9" fmla="*/ 94 h 101"/>
                <a:gd name="T10" fmla="*/ 92 w 106"/>
                <a:gd name="T11" fmla="*/ 89 h 101"/>
                <a:gd name="T12" fmla="*/ 92 w 106"/>
                <a:gd name="T13" fmla="*/ 76 h 101"/>
                <a:gd name="T14" fmla="*/ 86 w 106"/>
                <a:gd name="T15" fmla="*/ 69 h 101"/>
                <a:gd name="T16" fmla="*/ 83 w 106"/>
                <a:gd name="T17" fmla="*/ 63 h 101"/>
                <a:gd name="T18" fmla="*/ 83 w 106"/>
                <a:gd name="T19" fmla="*/ 60 h 101"/>
                <a:gd name="T20" fmla="*/ 89 w 106"/>
                <a:gd name="T21" fmla="*/ 51 h 101"/>
                <a:gd name="T22" fmla="*/ 99 w 106"/>
                <a:gd name="T23" fmla="*/ 48 h 101"/>
                <a:gd name="T24" fmla="*/ 104 w 106"/>
                <a:gd name="T25" fmla="*/ 37 h 101"/>
                <a:gd name="T26" fmla="*/ 101 w 106"/>
                <a:gd name="T27" fmla="*/ 25 h 101"/>
                <a:gd name="T28" fmla="*/ 104 w 106"/>
                <a:gd name="T29" fmla="*/ 16 h 101"/>
                <a:gd name="T30" fmla="*/ 106 w 106"/>
                <a:gd name="T31" fmla="*/ 13 h 101"/>
                <a:gd name="T32" fmla="*/ 103 w 106"/>
                <a:gd name="T33" fmla="*/ 10 h 101"/>
                <a:gd name="T34" fmla="*/ 88 w 106"/>
                <a:gd name="T35" fmla="*/ 5 h 101"/>
                <a:gd name="T36" fmla="*/ 85 w 106"/>
                <a:gd name="T37" fmla="*/ 5 h 101"/>
                <a:gd name="T38" fmla="*/ 77 w 106"/>
                <a:gd name="T39" fmla="*/ 13 h 101"/>
                <a:gd name="T40" fmla="*/ 59 w 106"/>
                <a:gd name="T41" fmla="*/ 6 h 101"/>
                <a:gd name="T42" fmla="*/ 53 w 106"/>
                <a:gd name="T43" fmla="*/ 1 h 101"/>
                <a:gd name="T44" fmla="*/ 52 w 106"/>
                <a:gd name="T45" fmla="*/ 0 h 101"/>
                <a:gd name="T46" fmla="*/ 41 w 106"/>
                <a:gd name="T47" fmla="*/ 0 h 101"/>
                <a:gd name="T48" fmla="*/ 42 w 106"/>
                <a:gd name="T49" fmla="*/ 3 h 101"/>
                <a:gd name="T50" fmla="*/ 45 w 106"/>
                <a:gd name="T51" fmla="*/ 8 h 101"/>
                <a:gd name="T52" fmla="*/ 44 w 106"/>
                <a:gd name="T53" fmla="*/ 12 h 101"/>
                <a:gd name="T54" fmla="*/ 39 w 106"/>
                <a:gd name="T55" fmla="*/ 16 h 101"/>
                <a:gd name="T56" fmla="*/ 38 w 106"/>
                <a:gd name="T57" fmla="*/ 17 h 101"/>
                <a:gd name="T58" fmla="*/ 36 w 106"/>
                <a:gd name="T59" fmla="*/ 22 h 101"/>
                <a:gd name="T60" fmla="*/ 30 w 106"/>
                <a:gd name="T61" fmla="*/ 17 h 101"/>
                <a:gd name="T62" fmla="*/ 27 w 106"/>
                <a:gd name="T63" fmla="*/ 17 h 101"/>
                <a:gd name="T64" fmla="*/ 25 w 106"/>
                <a:gd name="T65" fmla="*/ 17 h 101"/>
                <a:gd name="T66" fmla="*/ 26 w 106"/>
                <a:gd name="T67" fmla="*/ 19 h 101"/>
                <a:gd name="T68" fmla="*/ 26 w 106"/>
                <a:gd name="T69" fmla="*/ 21 h 101"/>
                <a:gd name="T70" fmla="*/ 18 w 106"/>
                <a:gd name="T71" fmla="*/ 34 h 101"/>
                <a:gd name="T72" fmla="*/ 10 w 106"/>
                <a:gd name="T73" fmla="*/ 48 h 101"/>
                <a:gd name="T74" fmla="*/ 10 w 106"/>
                <a:gd name="T75" fmla="*/ 55 h 101"/>
                <a:gd name="T76" fmla="*/ 10 w 106"/>
                <a:gd name="T77" fmla="*/ 55 h 101"/>
                <a:gd name="T78" fmla="*/ 10 w 106"/>
                <a:gd name="T79" fmla="*/ 65 h 101"/>
                <a:gd name="T80" fmla="*/ 7 w 106"/>
                <a:gd name="T81" fmla="*/ 71 h 101"/>
                <a:gd name="T82" fmla="*/ 0 w 106"/>
                <a:gd name="T83" fmla="*/ 79 h 101"/>
                <a:gd name="T84" fmla="*/ 10 w 106"/>
                <a:gd name="T85" fmla="*/ 79 h 101"/>
                <a:gd name="T86" fmla="*/ 12 w 106"/>
                <a:gd name="T87" fmla="*/ 80 h 101"/>
                <a:gd name="T88" fmla="*/ 16 w 106"/>
                <a:gd name="T89" fmla="*/ 84 h 101"/>
                <a:gd name="T90" fmla="*/ 19 w 106"/>
                <a:gd name="T91" fmla="*/ 85 h 101"/>
                <a:gd name="T92" fmla="*/ 28 w 106"/>
                <a:gd name="T93" fmla="*/ 85 h 101"/>
                <a:gd name="T94" fmla="*/ 32 w 106"/>
                <a:gd name="T95" fmla="*/ 88 h 101"/>
                <a:gd name="T96" fmla="*/ 32 w 106"/>
                <a:gd name="T97" fmla="*/ 91 h 101"/>
                <a:gd name="T98" fmla="*/ 31 w 106"/>
                <a:gd name="T99" fmla="*/ 93 h 101"/>
                <a:gd name="T100" fmla="*/ 30 w 106"/>
                <a:gd name="T101" fmla="*/ 94 h 101"/>
                <a:gd name="T102" fmla="*/ 38 w 106"/>
                <a:gd name="T103" fmla="*/ 94 h 101"/>
                <a:gd name="T104" fmla="*/ 42 w 106"/>
                <a:gd name="T105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6" h="101">
                  <a:moveTo>
                    <a:pt x="42" y="95"/>
                  </a:moveTo>
                  <a:cubicBezTo>
                    <a:pt x="52" y="100"/>
                    <a:pt x="52" y="100"/>
                    <a:pt x="52" y="100"/>
                  </a:cubicBezTo>
                  <a:cubicBezTo>
                    <a:pt x="53" y="100"/>
                    <a:pt x="54" y="101"/>
                    <a:pt x="56" y="101"/>
                  </a:cubicBezTo>
                  <a:cubicBezTo>
                    <a:pt x="71" y="101"/>
                    <a:pt x="71" y="101"/>
                    <a:pt x="71" y="101"/>
                  </a:cubicBezTo>
                  <a:cubicBezTo>
                    <a:pt x="77" y="101"/>
                    <a:pt x="82" y="98"/>
                    <a:pt x="86" y="94"/>
                  </a:cubicBezTo>
                  <a:cubicBezTo>
                    <a:pt x="92" y="89"/>
                    <a:pt x="92" y="89"/>
                    <a:pt x="92" y="89"/>
                  </a:cubicBezTo>
                  <a:cubicBezTo>
                    <a:pt x="96" y="85"/>
                    <a:pt x="96" y="79"/>
                    <a:pt x="92" y="76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4" y="68"/>
                    <a:pt x="83" y="65"/>
                    <a:pt x="83" y="63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3" y="56"/>
                    <a:pt x="86" y="53"/>
                    <a:pt x="89" y="51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103" y="46"/>
                    <a:pt x="105" y="42"/>
                    <a:pt x="104" y="3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0" y="22"/>
                    <a:pt x="101" y="18"/>
                    <a:pt x="104" y="16"/>
                  </a:cubicBezTo>
                  <a:cubicBezTo>
                    <a:pt x="105" y="15"/>
                    <a:pt x="106" y="14"/>
                    <a:pt x="106" y="13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99" y="5"/>
                    <a:pt x="93" y="4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1" y="6"/>
                    <a:pt x="78" y="9"/>
                    <a:pt x="77" y="13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6" y="5"/>
                    <a:pt x="54" y="3"/>
                    <a:pt x="53" y="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9"/>
                    <a:pt x="45" y="11"/>
                    <a:pt x="44" y="12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7"/>
                    <a:pt x="38" y="17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29" y="17"/>
                    <a:pt x="28" y="16"/>
                    <a:pt x="27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8"/>
                    <a:pt x="26" y="19"/>
                    <a:pt x="26" y="19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6"/>
                    <a:pt x="23" y="31"/>
                    <a:pt x="18" y="34"/>
                  </a:cubicBezTo>
                  <a:cubicBezTo>
                    <a:pt x="13" y="37"/>
                    <a:pt x="10" y="42"/>
                    <a:pt x="10" y="48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1" y="59"/>
                    <a:pt x="11" y="62"/>
                    <a:pt x="10" y="65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6" y="74"/>
                    <a:pt x="3" y="77"/>
                    <a:pt x="0" y="79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1" y="79"/>
                    <a:pt x="11" y="79"/>
                    <a:pt x="12" y="80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7" y="85"/>
                    <a:pt x="18" y="85"/>
                    <a:pt x="19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0" y="85"/>
                    <a:pt x="32" y="86"/>
                    <a:pt x="32" y="88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32" y="92"/>
                    <a:pt x="31" y="92"/>
                    <a:pt x="31" y="93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9" y="94"/>
                    <a:pt x="41" y="94"/>
                    <a:pt x="42" y="95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16">
              <a:extLst>
                <a:ext uri="{FF2B5EF4-FFF2-40B4-BE49-F238E27FC236}">
                  <a16:creationId xmlns:a16="http://schemas.microsoft.com/office/drawing/2014/main" id="{22274DAE-CE10-4F58-9B8A-5AC020AAAF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5" y="3541713"/>
              <a:ext cx="220663" cy="150813"/>
            </a:xfrm>
            <a:custGeom>
              <a:avLst/>
              <a:gdLst>
                <a:gd name="T0" fmla="*/ 68 w 74"/>
                <a:gd name="T1" fmla="*/ 29 h 50"/>
                <a:gd name="T2" fmla="*/ 73 w 74"/>
                <a:gd name="T3" fmla="*/ 21 h 50"/>
                <a:gd name="T4" fmla="*/ 73 w 74"/>
                <a:gd name="T5" fmla="*/ 15 h 50"/>
                <a:gd name="T6" fmla="*/ 71 w 74"/>
                <a:gd name="T7" fmla="*/ 7 h 50"/>
                <a:gd name="T8" fmla="*/ 65 w 74"/>
                <a:gd name="T9" fmla="*/ 2 h 50"/>
                <a:gd name="T10" fmla="*/ 61 w 74"/>
                <a:gd name="T11" fmla="*/ 1 h 50"/>
                <a:gd name="T12" fmla="*/ 53 w 74"/>
                <a:gd name="T13" fmla="*/ 4 h 50"/>
                <a:gd name="T14" fmla="*/ 46 w 74"/>
                <a:gd name="T15" fmla="*/ 7 h 50"/>
                <a:gd name="T16" fmla="*/ 40 w 74"/>
                <a:gd name="T17" fmla="*/ 7 h 50"/>
                <a:gd name="T18" fmla="*/ 37 w 74"/>
                <a:gd name="T19" fmla="*/ 13 h 50"/>
                <a:gd name="T20" fmla="*/ 31 w 74"/>
                <a:gd name="T21" fmla="*/ 18 h 50"/>
                <a:gd name="T22" fmla="*/ 16 w 74"/>
                <a:gd name="T23" fmla="*/ 25 h 50"/>
                <a:gd name="T24" fmla="*/ 1 w 74"/>
                <a:gd name="T25" fmla="*/ 25 h 50"/>
                <a:gd name="T26" fmla="*/ 1 w 74"/>
                <a:gd name="T27" fmla="*/ 26 h 50"/>
                <a:gd name="T28" fmla="*/ 5 w 74"/>
                <a:gd name="T29" fmla="*/ 31 h 50"/>
                <a:gd name="T30" fmla="*/ 7 w 74"/>
                <a:gd name="T31" fmla="*/ 31 h 50"/>
                <a:gd name="T32" fmla="*/ 10 w 74"/>
                <a:gd name="T33" fmla="*/ 35 h 50"/>
                <a:gd name="T34" fmla="*/ 8 w 74"/>
                <a:gd name="T35" fmla="*/ 39 h 50"/>
                <a:gd name="T36" fmla="*/ 3 w 74"/>
                <a:gd name="T37" fmla="*/ 42 h 50"/>
                <a:gd name="T38" fmla="*/ 0 w 74"/>
                <a:gd name="T39" fmla="*/ 47 h 50"/>
                <a:gd name="T40" fmla="*/ 0 w 74"/>
                <a:gd name="T41" fmla="*/ 50 h 50"/>
                <a:gd name="T42" fmla="*/ 2 w 74"/>
                <a:gd name="T43" fmla="*/ 48 h 50"/>
                <a:gd name="T44" fmla="*/ 8 w 74"/>
                <a:gd name="T45" fmla="*/ 46 h 50"/>
                <a:gd name="T46" fmla="*/ 14 w 74"/>
                <a:gd name="T47" fmla="*/ 46 h 50"/>
                <a:gd name="T48" fmla="*/ 15 w 74"/>
                <a:gd name="T49" fmla="*/ 42 h 50"/>
                <a:gd name="T50" fmla="*/ 23 w 74"/>
                <a:gd name="T51" fmla="*/ 42 h 50"/>
                <a:gd name="T52" fmla="*/ 28 w 74"/>
                <a:gd name="T53" fmla="*/ 45 h 50"/>
                <a:gd name="T54" fmla="*/ 30 w 74"/>
                <a:gd name="T55" fmla="*/ 48 h 50"/>
                <a:gd name="T56" fmla="*/ 34 w 74"/>
                <a:gd name="T57" fmla="*/ 49 h 50"/>
                <a:gd name="T58" fmla="*/ 35 w 74"/>
                <a:gd name="T59" fmla="*/ 49 h 50"/>
                <a:gd name="T60" fmla="*/ 62 w 74"/>
                <a:gd name="T61" fmla="*/ 36 h 50"/>
                <a:gd name="T62" fmla="*/ 68 w 74"/>
                <a:gd name="T63" fmla="*/ 29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4" h="50">
                  <a:moveTo>
                    <a:pt x="68" y="29"/>
                  </a:moveTo>
                  <a:cubicBezTo>
                    <a:pt x="73" y="21"/>
                    <a:pt x="73" y="21"/>
                    <a:pt x="73" y="21"/>
                  </a:cubicBezTo>
                  <a:cubicBezTo>
                    <a:pt x="74" y="19"/>
                    <a:pt x="74" y="17"/>
                    <a:pt x="73" y="15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0" y="5"/>
                    <a:pt x="68" y="2"/>
                    <a:pt x="65" y="2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58" y="0"/>
                    <a:pt x="55" y="1"/>
                    <a:pt x="53" y="4"/>
                  </a:cubicBezTo>
                  <a:cubicBezTo>
                    <a:pt x="51" y="6"/>
                    <a:pt x="49" y="7"/>
                    <a:pt x="46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9"/>
                    <a:pt x="39" y="11"/>
                    <a:pt x="37" y="13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27" y="22"/>
                    <a:pt x="22" y="25"/>
                    <a:pt x="16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9"/>
                    <a:pt x="3" y="31"/>
                    <a:pt x="5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9" y="31"/>
                    <a:pt x="10" y="33"/>
                    <a:pt x="10" y="35"/>
                  </a:cubicBezTo>
                  <a:cubicBezTo>
                    <a:pt x="10" y="36"/>
                    <a:pt x="10" y="38"/>
                    <a:pt x="8" y="39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1" y="43"/>
                    <a:pt x="0" y="45"/>
                    <a:pt x="0" y="4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3" y="47"/>
                    <a:pt x="6" y="46"/>
                    <a:pt x="8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3"/>
                    <a:pt x="15" y="42"/>
                  </a:cubicBezTo>
                  <a:cubicBezTo>
                    <a:pt x="16" y="40"/>
                    <a:pt x="23" y="42"/>
                    <a:pt x="23" y="42"/>
                  </a:cubicBezTo>
                  <a:cubicBezTo>
                    <a:pt x="25" y="42"/>
                    <a:pt x="27" y="43"/>
                    <a:pt x="28" y="45"/>
                  </a:cubicBezTo>
                  <a:cubicBezTo>
                    <a:pt x="28" y="46"/>
                    <a:pt x="29" y="47"/>
                    <a:pt x="30" y="48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5" y="49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5" y="34"/>
                    <a:pt x="67" y="32"/>
                    <a:pt x="68" y="2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17">
              <a:extLst>
                <a:ext uri="{FF2B5EF4-FFF2-40B4-BE49-F238E27FC236}">
                  <a16:creationId xmlns:a16="http://schemas.microsoft.com/office/drawing/2014/main" id="{352F33A4-01B0-4176-A22C-CF6DFE00D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3443288"/>
              <a:ext cx="193675" cy="120650"/>
            </a:xfrm>
            <a:custGeom>
              <a:avLst/>
              <a:gdLst>
                <a:gd name="T0" fmla="*/ 52 w 65"/>
                <a:gd name="T1" fmla="*/ 34 h 40"/>
                <a:gd name="T2" fmla="*/ 55 w 65"/>
                <a:gd name="T3" fmla="*/ 33 h 40"/>
                <a:gd name="T4" fmla="*/ 62 w 65"/>
                <a:gd name="T5" fmla="*/ 26 h 40"/>
                <a:gd name="T6" fmla="*/ 61 w 65"/>
                <a:gd name="T7" fmla="*/ 18 h 40"/>
                <a:gd name="T8" fmla="*/ 21 w 65"/>
                <a:gd name="T9" fmla="*/ 0 h 40"/>
                <a:gd name="T10" fmla="*/ 16 w 65"/>
                <a:gd name="T11" fmla="*/ 5 h 40"/>
                <a:gd name="T12" fmla="*/ 6 w 65"/>
                <a:gd name="T13" fmla="*/ 8 h 40"/>
                <a:gd name="T14" fmla="*/ 0 w 65"/>
                <a:gd name="T15" fmla="*/ 17 h 40"/>
                <a:gd name="T16" fmla="*/ 0 w 65"/>
                <a:gd name="T17" fmla="*/ 20 h 40"/>
                <a:gd name="T18" fmla="*/ 3 w 65"/>
                <a:gd name="T19" fmla="*/ 26 h 40"/>
                <a:gd name="T20" fmla="*/ 9 w 65"/>
                <a:gd name="T21" fmla="*/ 33 h 40"/>
                <a:gd name="T22" fmla="*/ 12 w 65"/>
                <a:gd name="T23" fmla="*/ 40 h 40"/>
                <a:gd name="T24" fmla="*/ 18 w 65"/>
                <a:gd name="T25" fmla="*/ 40 h 40"/>
                <a:gd name="T26" fmla="*/ 25 w 65"/>
                <a:gd name="T27" fmla="*/ 37 h 40"/>
                <a:gd name="T28" fmla="*/ 33 w 65"/>
                <a:gd name="T29" fmla="*/ 34 h 40"/>
                <a:gd name="T30" fmla="*/ 37 w 65"/>
                <a:gd name="T31" fmla="*/ 35 h 40"/>
                <a:gd name="T32" fmla="*/ 38 w 65"/>
                <a:gd name="T33" fmla="*/ 34 h 40"/>
                <a:gd name="T34" fmla="*/ 52 w 65"/>
                <a:gd name="T35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" h="40">
                  <a:moveTo>
                    <a:pt x="52" y="34"/>
                  </a:moveTo>
                  <a:cubicBezTo>
                    <a:pt x="53" y="34"/>
                    <a:pt x="54" y="34"/>
                    <a:pt x="55" y="33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5" y="24"/>
                    <a:pt x="64" y="20"/>
                    <a:pt x="61" y="18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2"/>
                    <a:pt x="18" y="4"/>
                    <a:pt x="16" y="5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3" y="10"/>
                    <a:pt x="0" y="13"/>
                    <a:pt x="0" y="1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1" y="25"/>
                    <a:pt x="3" y="26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1" y="35"/>
                    <a:pt x="12" y="37"/>
                    <a:pt x="12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21" y="40"/>
                    <a:pt x="23" y="39"/>
                    <a:pt x="25" y="37"/>
                  </a:cubicBezTo>
                  <a:cubicBezTo>
                    <a:pt x="27" y="34"/>
                    <a:pt x="30" y="33"/>
                    <a:pt x="33" y="34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4"/>
                    <a:pt x="38" y="34"/>
                    <a:pt x="38" y="34"/>
                  </a:cubicBezTo>
                  <a:lnTo>
                    <a:pt x="52" y="3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18">
              <a:extLst>
                <a:ext uri="{FF2B5EF4-FFF2-40B4-BE49-F238E27FC236}">
                  <a16:creationId xmlns:a16="http://schemas.microsoft.com/office/drawing/2014/main" id="{B8391010-E526-4437-B684-E0A0F89FA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700" y="3638551"/>
              <a:ext cx="125413" cy="85725"/>
            </a:xfrm>
            <a:custGeom>
              <a:avLst/>
              <a:gdLst>
                <a:gd name="T0" fmla="*/ 23 w 42"/>
                <a:gd name="T1" fmla="*/ 22 h 29"/>
                <a:gd name="T2" fmla="*/ 29 w 42"/>
                <a:gd name="T3" fmla="*/ 11 h 29"/>
                <a:gd name="T4" fmla="*/ 36 w 42"/>
                <a:gd name="T5" fmla="*/ 14 h 29"/>
                <a:gd name="T6" fmla="*/ 39 w 42"/>
                <a:gd name="T7" fmla="*/ 13 h 29"/>
                <a:gd name="T8" fmla="*/ 42 w 42"/>
                <a:gd name="T9" fmla="*/ 11 h 29"/>
                <a:gd name="T10" fmla="*/ 39 w 42"/>
                <a:gd name="T11" fmla="*/ 8 h 29"/>
                <a:gd name="T12" fmla="*/ 32 w 42"/>
                <a:gd name="T13" fmla="*/ 0 h 29"/>
                <a:gd name="T14" fmla="*/ 27 w 42"/>
                <a:gd name="T15" fmla="*/ 4 h 29"/>
                <a:gd name="T16" fmla="*/ 0 w 42"/>
                <a:gd name="T17" fmla="*/ 17 h 29"/>
                <a:gd name="T18" fmla="*/ 5 w 42"/>
                <a:gd name="T19" fmla="*/ 28 h 29"/>
                <a:gd name="T20" fmla="*/ 5 w 42"/>
                <a:gd name="T21" fmla="*/ 29 h 29"/>
                <a:gd name="T22" fmla="*/ 21 w 42"/>
                <a:gd name="T23" fmla="*/ 23 h 29"/>
                <a:gd name="T24" fmla="*/ 23 w 42"/>
                <a:gd name="T25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29">
                  <a:moveTo>
                    <a:pt x="23" y="22"/>
                  </a:moveTo>
                  <a:cubicBezTo>
                    <a:pt x="25" y="19"/>
                    <a:pt x="29" y="12"/>
                    <a:pt x="29" y="11"/>
                  </a:cubicBezTo>
                  <a:cubicBezTo>
                    <a:pt x="29" y="11"/>
                    <a:pt x="33" y="12"/>
                    <a:pt x="36" y="14"/>
                  </a:cubicBezTo>
                  <a:cubicBezTo>
                    <a:pt x="37" y="14"/>
                    <a:pt x="38" y="14"/>
                    <a:pt x="39" y="13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1" y="10"/>
                    <a:pt x="40" y="9"/>
                    <a:pt x="39" y="8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0" y="1"/>
                    <a:pt x="29" y="3"/>
                    <a:pt x="27" y="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4" y="19"/>
                    <a:pt x="7" y="23"/>
                    <a:pt x="5" y="2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2" y="23"/>
                    <a:pt x="23" y="22"/>
                    <a:pt x="23" y="2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19">
              <a:extLst>
                <a:ext uri="{FF2B5EF4-FFF2-40B4-BE49-F238E27FC236}">
                  <a16:creationId xmlns:a16="http://schemas.microsoft.com/office/drawing/2014/main" id="{62F32653-EA40-481C-A00B-A566CEF6AD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738" y="3808413"/>
              <a:ext cx="44450" cy="68263"/>
            </a:xfrm>
            <a:custGeom>
              <a:avLst/>
              <a:gdLst>
                <a:gd name="T0" fmla="*/ 15 w 15"/>
                <a:gd name="T1" fmla="*/ 12 h 23"/>
                <a:gd name="T2" fmla="*/ 11 w 15"/>
                <a:gd name="T3" fmla="*/ 3 h 23"/>
                <a:gd name="T4" fmla="*/ 10 w 15"/>
                <a:gd name="T5" fmla="*/ 2 h 23"/>
                <a:gd name="T6" fmla="*/ 8 w 15"/>
                <a:gd name="T7" fmla="*/ 0 h 23"/>
                <a:gd name="T8" fmla="*/ 2 w 15"/>
                <a:gd name="T9" fmla="*/ 11 h 23"/>
                <a:gd name="T10" fmla="*/ 2 w 15"/>
                <a:gd name="T11" fmla="*/ 12 h 23"/>
                <a:gd name="T12" fmla="*/ 0 w 15"/>
                <a:gd name="T13" fmla="*/ 21 h 23"/>
                <a:gd name="T14" fmla="*/ 1 w 15"/>
                <a:gd name="T15" fmla="*/ 21 h 23"/>
                <a:gd name="T16" fmla="*/ 8 w 15"/>
                <a:gd name="T17" fmla="*/ 23 h 23"/>
                <a:gd name="T18" fmla="*/ 11 w 15"/>
                <a:gd name="T19" fmla="*/ 20 h 23"/>
                <a:gd name="T20" fmla="*/ 15 w 15"/>
                <a:gd name="T21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23">
                  <a:moveTo>
                    <a:pt x="15" y="12"/>
                  </a:moveTo>
                  <a:cubicBezTo>
                    <a:pt x="15" y="8"/>
                    <a:pt x="13" y="5"/>
                    <a:pt x="11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9" y="1"/>
                    <a:pt x="8" y="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0"/>
                    <a:pt x="6" y="21"/>
                    <a:pt x="8" y="23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3" y="18"/>
                    <a:pt x="15" y="15"/>
                    <a:pt x="15" y="1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20">
              <a:extLst>
                <a:ext uri="{FF2B5EF4-FFF2-40B4-BE49-F238E27FC236}">
                  <a16:creationId xmlns:a16="http://schemas.microsoft.com/office/drawing/2014/main" id="{BB19CBE9-EA8B-4885-A368-7F5F6D6E8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9550" y="3852863"/>
              <a:ext cx="69850" cy="120650"/>
            </a:xfrm>
            <a:custGeom>
              <a:avLst/>
              <a:gdLst>
                <a:gd name="T0" fmla="*/ 17 w 23"/>
                <a:gd name="T1" fmla="*/ 13 h 40"/>
                <a:gd name="T2" fmla="*/ 17 w 23"/>
                <a:gd name="T3" fmla="*/ 11 h 40"/>
                <a:gd name="T4" fmla="*/ 12 w 23"/>
                <a:gd name="T5" fmla="*/ 3 h 40"/>
                <a:gd name="T6" fmla="*/ 6 w 23"/>
                <a:gd name="T7" fmla="*/ 0 h 40"/>
                <a:gd name="T8" fmla="*/ 3 w 23"/>
                <a:gd name="T9" fmla="*/ 5 h 40"/>
                <a:gd name="T10" fmla="*/ 0 w 23"/>
                <a:gd name="T11" fmla="*/ 8 h 40"/>
                <a:gd name="T12" fmla="*/ 1 w 23"/>
                <a:gd name="T13" fmla="*/ 9 h 40"/>
                <a:gd name="T14" fmla="*/ 9 w 23"/>
                <a:gd name="T15" fmla="*/ 20 h 40"/>
                <a:gd name="T16" fmla="*/ 10 w 23"/>
                <a:gd name="T17" fmla="*/ 24 h 40"/>
                <a:gd name="T18" fmla="*/ 10 w 23"/>
                <a:gd name="T19" fmla="*/ 29 h 40"/>
                <a:gd name="T20" fmla="*/ 13 w 23"/>
                <a:gd name="T21" fmla="*/ 38 h 40"/>
                <a:gd name="T22" fmla="*/ 14 w 23"/>
                <a:gd name="T23" fmla="*/ 40 h 40"/>
                <a:gd name="T24" fmla="*/ 18 w 23"/>
                <a:gd name="T25" fmla="*/ 28 h 40"/>
                <a:gd name="T26" fmla="*/ 23 w 23"/>
                <a:gd name="T27" fmla="*/ 24 h 40"/>
                <a:gd name="T28" fmla="*/ 19 w 23"/>
                <a:gd name="T29" fmla="*/ 20 h 40"/>
                <a:gd name="T30" fmla="*/ 17 w 23"/>
                <a:gd name="T31" fmla="*/ 1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" h="40">
                  <a:moveTo>
                    <a:pt x="17" y="13"/>
                  </a:moveTo>
                  <a:cubicBezTo>
                    <a:pt x="17" y="11"/>
                    <a:pt x="17" y="11"/>
                    <a:pt x="17" y="11"/>
                  </a:cubicBezTo>
                  <a:cubicBezTo>
                    <a:pt x="17" y="7"/>
                    <a:pt x="15" y="4"/>
                    <a:pt x="12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4"/>
                    <a:pt x="3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1" y="9"/>
                    <a:pt x="1" y="9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1"/>
                    <a:pt x="10" y="22"/>
                    <a:pt x="10" y="24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32"/>
                    <a:pt x="11" y="35"/>
                    <a:pt x="13" y="38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6"/>
                    <a:pt x="21" y="24"/>
                    <a:pt x="23" y="24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7" y="18"/>
                    <a:pt x="17" y="16"/>
                    <a:pt x="17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1">
              <a:extLst>
                <a:ext uri="{FF2B5EF4-FFF2-40B4-BE49-F238E27FC236}">
                  <a16:creationId xmlns:a16="http://schemas.microsoft.com/office/drawing/2014/main" id="{BB295DBA-AC1C-4B49-9D9F-A7D86D835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1613" y="3673476"/>
              <a:ext cx="146050" cy="203200"/>
            </a:xfrm>
            <a:custGeom>
              <a:avLst/>
              <a:gdLst>
                <a:gd name="T0" fmla="*/ 31 w 49"/>
                <a:gd name="T1" fmla="*/ 60 h 68"/>
                <a:gd name="T2" fmla="*/ 32 w 49"/>
                <a:gd name="T3" fmla="*/ 60 h 68"/>
                <a:gd name="T4" fmla="*/ 43 w 49"/>
                <a:gd name="T5" fmla="*/ 61 h 68"/>
                <a:gd name="T6" fmla="*/ 42 w 49"/>
                <a:gd name="T7" fmla="*/ 57 h 68"/>
                <a:gd name="T8" fmla="*/ 47 w 49"/>
                <a:gd name="T9" fmla="*/ 53 h 68"/>
                <a:gd name="T10" fmla="*/ 49 w 49"/>
                <a:gd name="T11" fmla="*/ 53 h 68"/>
                <a:gd name="T12" fmla="*/ 49 w 49"/>
                <a:gd name="T13" fmla="*/ 49 h 68"/>
                <a:gd name="T14" fmla="*/ 47 w 49"/>
                <a:gd name="T15" fmla="*/ 46 h 68"/>
                <a:gd name="T16" fmla="*/ 45 w 49"/>
                <a:gd name="T17" fmla="*/ 43 h 68"/>
                <a:gd name="T18" fmla="*/ 43 w 49"/>
                <a:gd name="T19" fmla="*/ 40 h 68"/>
                <a:gd name="T20" fmla="*/ 43 w 49"/>
                <a:gd name="T21" fmla="*/ 30 h 68"/>
                <a:gd name="T22" fmla="*/ 44 w 49"/>
                <a:gd name="T23" fmla="*/ 29 h 68"/>
                <a:gd name="T24" fmla="*/ 39 w 49"/>
                <a:gd name="T25" fmla="*/ 22 h 68"/>
                <a:gd name="T26" fmla="*/ 35 w 49"/>
                <a:gd name="T27" fmla="*/ 22 h 68"/>
                <a:gd name="T28" fmla="*/ 35 w 49"/>
                <a:gd name="T29" fmla="*/ 26 h 68"/>
                <a:gd name="T30" fmla="*/ 33 w 49"/>
                <a:gd name="T31" fmla="*/ 26 h 68"/>
                <a:gd name="T32" fmla="*/ 28 w 49"/>
                <a:gd name="T33" fmla="*/ 24 h 68"/>
                <a:gd name="T34" fmla="*/ 21 w 49"/>
                <a:gd name="T35" fmla="*/ 14 h 68"/>
                <a:gd name="T36" fmla="*/ 20 w 49"/>
                <a:gd name="T37" fmla="*/ 11 h 68"/>
                <a:gd name="T38" fmla="*/ 19 w 49"/>
                <a:gd name="T39" fmla="*/ 1 h 68"/>
                <a:gd name="T40" fmla="*/ 15 w 49"/>
                <a:gd name="T41" fmla="*/ 1 h 68"/>
                <a:gd name="T42" fmla="*/ 8 w 49"/>
                <a:gd name="T43" fmla="*/ 1 h 68"/>
                <a:gd name="T44" fmla="*/ 1 w 49"/>
                <a:gd name="T45" fmla="*/ 5 h 68"/>
                <a:gd name="T46" fmla="*/ 0 w 49"/>
                <a:gd name="T47" fmla="*/ 5 h 68"/>
                <a:gd name="T48" fmla="*/ 1 w 49"/>
                <a:gd name="T49" fmla="*/ 8 h 68"/>
                <a:gd name="T50" fmla="*/ 4 w 49"/>
                <a:gd name="T51" fmla="*/ 11 h 68"/>
                <a:gd name="T52" fmla="*/ 7 w 49"/>
                <a:gd name="T53" fmla="*/ 13 h 68"/>
                <a:gd name="T54" fmla="*/ 7 w 49"/>
                <a:gd name="T55" fmla="*/ 16 h 68"/>
                <a:gd name="T56" fmla="*/ 7 w 49"/>
                <a:gd name="T57" fmla="*/ 18 h 68"/>
                <a:gd name="T58" fmla="*/ 3 w 49"/>
                <a:gd name="T59" fmla="*/ 23 h 68"/>
                <a:gd name="T60" fmla="*/ 3 w 49"/>
                <a:gd name="T61" fmla="*/ 27 h 68"/>
                <a:gd name="T62" fmla="*/ 7 w 49"/>
                <a:gd name="T63" fmla="*/ 36 h 68"/>
                <a:gd name="T64" fmla="*/ 7 w 49"/>
                <a:gd name="T65" fmla="*/ 38 h 68"/>
                <a:gd name="T66" fmla="*/ 3 w 49"/>
                <a:gd name="T67" fmla="*/ 45 h 68"/>
                <a:gd name="T68" fmla="*/ 5 w 49"/>
                <a:gd name="T69" fmla="*/ 47 h 68"/>
                <a:gd name="T70" fmla="*/ 6 w 49"/>
                <a:gd name="T71" fmla="*/ 48 h 68"/>
                <a:gd name="T72" fmla="*/ 10 w 49"/>
                <a:gd name="T73" fmla="*/ 57 h 68"/>
                <a:gd name="T74" fmla="*/ 9 w 49"/>
                <a:gd name="T75" fmla="*/ 60 h 68"/>
                <a:gd name="T76" fmla="*/ 15 w 49"/>
                <a:gd name="T77" fmla="*/ 63 h 68"/>
                <a:gd name="T78" fmla="*/ 20 w 49"/>
                <a:gd name="T79" fmla="*/ 68 h 68"/>
                <a:gd name="T80" fmla="*/ 22 w 49"/>
                <a:gd name="T81" fmla="*/ 65 h 68"/>
                <a:gd name="T82" fmla="*/ 31 w 49"/>
                <a:gd name="T83" fmla="*/ 6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68">
                  <a:moveTo>
                    <a:pt x="31" y="60"/>
                  </a:moveTo>
                  <a:cubicBezTo>
                    <a:pt x="32" y="60"/>
                    <a:pt x="32" y="60"/>
                    <a:pt x="32" y="60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60"/>
                    <a:pt x="42" y="59"/>
                    <a:pt x="42" y="57"/>
                  </a:cubicBezTo>
                  <a:cubicBezTo>
                    <a:pt x="42" y="55"/>
                    <a:pt x="44" y="53"/>
                    <a:pt x="47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49" y="48"/>
                    <a:pt x="48" y="46"/>
                    <a:pt x="47" y="46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4" y="42"/>
                    <a:pt x="43" y="41"/>
                    <a:pt x="43" y="4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29"/>
                    <a:pt x="44" y="29"/>
                    <a:pt x="44" y="29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1" y="26"/>
                    <a:pt x="29" y="25"/>
                    <a:pt x="28" y="2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0" y="13"/>
                    <a:pt x="20" y="12"/>
                    <a:pt x="20" y="1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7" y="1"/>
                    <a:pt x="16" y="1"/>
                    <a:pt x="15" y="1"/>
                  </a:cubicBezTo>
                  <a:cubicBezTo>
                    <a:pt x="13" y="0"/>
                    <a:pt x="10" y="0"/>
                    <a:pt x="8" y="1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10"/>
                    <a:pt x="2" y="11"/>
                    <a:pt x="4" y="11"/>
                  </a:cubicBezTo>
                  <a:cubicBezTo>
                    <a:pt x="5" y="11"/>
                    <a:pt x="7" y="12"/>
                    <a:pt x="7" y="13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8" y="16"/>
                    <a:pt x="7" y="17"/>
                    <a:pt x="7" y="18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2" y="24"/>
                    <a:pt x="2" y="26"/>
                    <a:pt x="3" y="27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7"/>
                    <a:pt x="7" y="38"/>
                    <a:pt x="7" y="38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4" y="46"/>
                    <a:pt x="5" y="46"/>
                    <a:pt x="5" y="47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8" y="50"/>
                    <a:pt x="10" y="53"/>
                    <a:pt x="10" y="57"/>
                  </a:cubicBezTo>
                  <a:cubicBezTo>
                    <a:pt x="10" y="58"/>
                    <a:pt x="9" y="59"/>
                    <a:pt x="9" y="60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7" y="64"/>
                    <a:pt x="19" y="66"/>
                    <a:pt x="20" y="68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4" y="62"/>
                    <a:pt x="28" y="60"/>
                    <a:pt x="31" y="6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22">
              <a:extLst>
                <a:ext uri="{FF2B5EF4-FFF2-40B4-BE49-F238E27FC236}">
                  <a16:creationId xmlns:a16="http://schemas.microsoft.com/office/drawing/2014/main" id="{FFEB6FE5-AB80-4836-87F0-983DA9B4C8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0350" y="3852863"/>
              <a:ext cx="90488" cy="71438"/>
            </a:xfrm>
            <a:custGeom>
              <a:avLst/>
              <a:gdLst>
                <a:gd name="T0" fmla="*/ 28 w 30"/>
                <a:gd name="T1" fmla="*/ 8 h 24"/>
                <a:gd name="T2" fmla="*/ 27 w 30"/>
                <a:gd name="T3" fmla="*/ 4 h 24"/>
                <a:gd name="T4" fmla="*/ 23 w 30"/>
                <a:gd name="T5" fmla="*/ 1 h 24"/>
                <a:gd name="T6" fmla="*/ 23 w 30"/>
                <a:gd name="T7" fmla="*/ 1 h 24"/>
                <a:gd name="T8" fmla="*/ 12 w 30"/>
                <a:gd name="T9" fmla="*/ 0 h 24"/>
                <a:gd name="T10" fmla="*/ 11 w 30"/>
                <a:gd name="T11" fmla="*/ 0 h 24"/>
                <a:gd name="T12" fmla="*/ 2 w 30"/>
                <a:gd name="T13" fmla="*/ 5 h 24"/>
                <a:gd name="T14" fmla="*/ 0 w 30"/>
                <a:gd name="T15" fmla="*/ 8 h 24"/>
                <a:gd name="T16" fmla="*/ 0 w 30"/>
                <a:gd name="T17" fmla="*/ 11 h 24"/>
                <a:gd name="T18" fmla="*/ 0 w 30"/>
                <a:gd name="T19" fmla="*/ 13 h 24"/>
                <a:gd name="T20" fmla="*/ 2 w 30"/>
                <a:gd name="T21" fmla="*/ 20 h 24"/>
                <a:gd name="T22" fmla="*/ 6 w 30"/>
                <a:gd name="T23" fmla="*/ 24 h 24"/>
                <a:gd name="T24" fmla="*/ 8 w 30"/>
                <a:gd name="T25" fmla="*/ 23 h 24"/>
                <a:gd name="T26" fmla="*/ 9 w 30"/>
                <a:gd name="T27" fmla="*/ 23 h 24"/>
                <a:gd name="T28" fmla="*/ 14 w 30"/>
                <a:gd name="T29" fmla="*/ 21 h 24"/>
                <a:gd name="T30" fmla="*/ 14 w 30"/>
                <a:gd name="T31" fmla="*/ 21 h 24"/>
                <a:gd name="T32" fmla="*/ 20 w 30"/>
                <a:gd name="T33" fmla="*/ 19 h 24"/>
                <a:gd name="T34" fmla="*/ 26 w 30"/>
                <a:gd name="T35" fmla="*/ 17 h 24"/>
                <a:gd name="T36" fmla="*/ 30 w 30"/>
                <a:gd name="T37" fmla="*/ 12 h 24"/>
                <a:gd name="T38" fmla="*/ 28 w 30"/>
                <a:gd name="T39" fmla="*/ 9 h 24"/>
                <a:gd name="T40" fmla="*/ 28 w 30"/>
                <a:gd name="T41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24">
                  <a:moveTo>
                    <a:pt x="28" y="8"/>
                  </a:moveTo>
                  <a:cubicBezTo>
                    <a:pt x="28" y="7"/>
                    <a:pt x="28" y="5"/>
                    <a:pt x="27" y="4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4" y="2"/>
                    <a:pt x="2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10"/>
                    <a:pt x="0" y="1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6"/>
                    <a:pt x="0" y="18"/>
                    <a:pt x="2" y="20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1" y="23"/>
                    <a:pt x="13" y="23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6" y="20"/>
                    <a:pt x="18" y="19"/>
                    <a:pt x="20" y="19"/>
                  </a:cubicBezTo>
                  <a:cubicBezTo>
                    <a:pt x="22" y="19"/>
                    <a:pt x="24" y="18"/>
                    <a:pt x="26" y="17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9" y="11"/>
                    <a:pt x="28" y="10"/>
                    <a:pt x="28" y="9"/>
                  </a:cubicBezTo>
                  <a:lnTo>
                    <a:pt x="28" y="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23">
              <a:extLst>
                <a:ext uri="{FF2B5EF4-FFF2-40B4-BE49-F238E27FC236}">
                  <a16:creationId xmlns:a16="http://schemas.microsoft.com/office/drawing/2014/main" id="{B58ADE78-D1E2-4050-B04A-E62749F9D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2413" y="3865563"/>
              <a:ext cx="314325" cy="250825"/>
            </a:xfrm>
            <a:custGeom>
              <a:avLst/>
              <a:gdLst>
                <a:gd name="T0" fmla="*/ 99 w 105"/>
                <a:gd name="T1" fmla="*/ 6 h 84"/>
                <a:gd name="T2" fmla="*/ 93 w 105"/>
                <a:gd name="T3" fmla="*/ 0 h 84"/>
                <a:gd name="T4" fmla="*/ 75 w 105"/>
                <a:gd name="T5" fmla="*/ 1 h 84"/>
                <a:gd name="T6" fmla="*/ 67 w 105"/>
                <a:gd name="T7" fmla="*/ 8 h 84"/>
                <a:gd name="T8" fmla="*/ 55 w 105"/>
                <a:gd name="T9" fmla="*/ 7 h 84"/>
                <a:gd name="T10" fmla="*/ 50 w 105"/>
                <a:gd name="T11" fmla="*/ 4 h 84"/>
                <a:gd name="T12" fmla="*/ 42 w 105"/>
                <a:gd name="T13" fmla="*/ 10 h 84"/>
                <a:gd name="T14" fmla="*/ 33 w 105"/>
                <a:gd name="T15" fmla="*/ 8 h 84"/>
                <a:gd name="T16" fmla="*/ 23 w 105"/>
                <a:gd name="T17" fmla="*/ 15 h 84"/>
                <a:gd name="T18" fmla="*/ 17 w 105"/>
                <a:gd name="T19" fmla="*/ 17 h 84"/>
                <a:gd name="T20" fmla="*/ 11 w 105"/>
                <a:gd name="T21" fmla="*/ 19 h 84"/>
                <a:gd name="T22" fmla="*/ 0 w 105"/>
                <a:gd name="T23" fmla="*/ 36 h 84"/>
                <a:gd name="T24" fmla="*/ 13 w 105"/>
                <a:gd name="T25" fmla="*/ 48 h 84"/>
                <a:gd name="T26" fmla="*/ 16 w 105"/>
                <a:gd name="T27" fmla="*/ 52 h 84"/>
                <a:gd name="T28" fmla="*/ 15 w 105"/>
                <a:gd name="T29" fmla="*/ 57 h 84"/>
                <a:gd name="T30" fmla="*/ 29 w 105"/>
                <a:gd name="T31" fmla="*/ 58 h 84"/>
                <a:gd name="T32" fmla="*/ 39 w 105"/>
                <a:gd name="T33" fmla="*/ 63 h 84"/>
                <a:gd name="T34" fmla="*/ 26 w 105"/>
                <a:gd name="T35" fmla="*/ 63 h 84"/>
                <a:gd name="T36" fmla="*/ 21 w 105"/>
                <a:gd name="T37" fmla="*/ 67 h 84"/>
                <a:gd name="T38" fmla="*/ 26 w 105"/>
                <a:gd name="T39" fmla="*/ 78 h 84"/>
                <a:gd name="T40" fmla="*/ 33 w 105"/>
                <a:gd name="T41" fmla="*/ 83 h 84"/>
                <a:gd name="T42" fmla="*/ 36 w 105"/>
                <a:gd name="T43" fmla="*/ 84 h 84"/>
                <a:gd name="T44" fmla="*/ 38 w 105"/>
                <a:gd name="T45" fmla="*/ 77 h 84"/>
                <a:gd name="T46" fmla="*/ 43 w 105"/>
                <a:gd name="T47" fmla="*/ 68 h 84"/>
                <a:gd name="T48" fmla="*/ 49 w 105"/>
                <a:gd name="T49" fmla="*/ 66 h 84"/>
                <a:gd name="T50" fmla="*/ 52 w 105"/>
                <a:gd name="T51" fmla="*/ 60 h 84"/>
                <a:gd name="T52" fmla="*/ 49 w 105"/>
                <a:gd name="T53" fmla="*/ 52 h 84"/>
                <a:gd name="T54" fmla="*/ 36 w 105"/>
                <a:gd name="T55" fmla="*/ 39 h 84"/>
                <a:gd name="T56" fmla="*/ 34 w 105"/>
                <a:gd name="T57" fmla="*/ 34 h 84"/>
                <a:gd name="T58" fmla="*/ 39 w 105"/>
                <a:gd name="T59" fmla="*/ 32 h 84"/>
                <a:gd name="T60" fmla="*/ 49 w 105"/>
                <a:gd name="T61" fmla="*/ 31 h 84"/>
                <a:gd name="T62" fmla="*/ 71 w 105"/>
                <a:gd name="T63" fmla="*/ 25 h 84"/>
                <a:gd name="T64" fmla="*/ 83 w 105"/>
                <a:gd name="T65" fmla="*/ 29 h 84"/>
                <a:gd name="T66" fmla="*/ 98 w 105"/>
                <a:gd name="T67" fmla="*/ 24 h 84"/>
                <a:gd name="T68" fmla="*/ 103 w 105"/>
                <a:gd name="T69" fmla="*/ 1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5" h="84">
                  <a:moveTo>
                    <a:pt x="103" y="14"/>
                  </a:moveTo>
                  <a:cubicBezTo>
                    <a:pt x="99" y="6"/>
                    <a:pt x="99" y="6"/>
                    <a:pt x="99" y="6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8" y="0"/>
                    <a:pt x="76" y="0"/>
                    <a:pt x="75" y="1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9" y="8"/>
                    <a:pt x="68" y="8"/>
                    <a:pt x="67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8" y="8"/>
                    <a:pt x="56" y="8"/>
                    <a:pt x="55" y="7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4" y="9"/>
                    <a:pt x="43" y="10"/>
                    <a:pt x="42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5" y="10"/>
                    <a:pt x="33" y="9"/>
                    <a:pt x="33" y="8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7" y="14"/>
                    <a:pt x="25" y="15"/>
                    <a:pt x="23" y="15"/>
                  </a:cubicBezTo>
                  <a:cubicBezTo>
                    <a:pt x="21" y="15"/>
                    <a:pt x="19" y="16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6" y="19"/>
                    <a:pt x="14" y="19"/>
                    <a:pt x="12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8" y="19"/>
                    <a:pt x="5" y="21"/>
                    <a:pt x="4" y="2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5" y="44"/>
                    <a:pt x="9" y="47"/>
                    <a:pt x="13" y="48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4" y="53"/>
                    <a:pt x="13" y="55"/>
                    <a:pt x="14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7" y="59"/>
                    <a:pt x="18" y="59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29" y="58"/>
                    <a:pt x="30" y="58"/>
                    <a:pt x="31" y="5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5" y="63"/>
                    <a:pt x="23" y="63"/>
                    <a:pt x="22" y="65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0" y="69"/>
                    <a:pt x="20" y="70"/>
                    <a:pt x="21" y="72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7" y="79"/>
                    <a:pt x="27" y="79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3" y="84"/>
                    <a:pt x="34" y="84"/>
                    <a:pt x="35" y="84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8" y="84"/>
                    <a:pt x="40" y="81"/>
                    <a:pt x="39" y="78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7" y="75"/>
                    <a:pt x="38" y="73"/>
                    <a:pt x="41" y="72"/>
                  </a:cubicBezTo>
                  <a:cubicBezTo>
                    <a:pt x="43" y="72"/>
                    <a:pt x="44" y="70"/>
                    <a:pt x="43" y="68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51" y="62"/>
                    <a:pt x="51" y="62"/>
                    <a:pt x="51" y="62"/>
                  </a:cubicBezTo>
                  <a:cubicBezTo>
                    <a:pt x="51" y="62"/>
                    <a:pt x="52" y="61"/>
                    <a:pt x="52" y="60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52" y="54"/>
                    <a:pt x="51" y="53"/>
                    <a:pt x="49" y="52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4" y="33"/>
                    <a:pt x="34" y="31"/>
                    <a:pt x="35" y="29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40" y="34"/>
                    <a:pt x="43" y="36"/>
                    <a:pt x="46" y="35"/>
                  </a:cubicBezTo>
                  <a:cubicBezTo>
                    <a:pt x="48" y="35"/>
                    <a:pt x="49" y="33"/>
                    <a:pt x="49" y="31"/>
                  </a:cubicBezTo>
                  <a:cubicBezTo>
                    <a:pt x="49" y="28"/>
                    <a:pt x="51" y="26"/>
                    <a:pt x="54" y="26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3" y="25"/>
                    <a:pt x="75" y="25"/>
                    <a:pt x="76" y="27"/>
                  </a:cubicBezTo>
                  <a:cubicBezTo>
                    <a:pt x="78" y="29"/>
                    <a:pt x="80" y="29"/>
                    <a:pt x="83" y="29"/>
                  </a:cubicBezTo>
                  <a:cubicBezTo>
                    <a:pt x="96" y="25"/>
                    <a:pt x="96" y="25"/>
                    <a:pt x="96" y="25"/>
                  </a:cubicBezTo>
                  <a:cubicBezTo>
                    <a:pt x="97" y="25"/>
                    <a:pt x="97" y="24"/>
                    <a:pt x="98" y="24"/>
                  </a:cubicBezTo>
                  <a:cubicBezTo>
                    <a:pt x="101" y="22"/>
                    <a:pt x="101" y="22"/>
                    <a:pt x="101" y="22"/>
                  </a:cubicBezTo>
                  <a:cubicBezTo>
                    <a:pt x="104" y="20"/>
                    <a:pt x="105" y="17"/>
                    <a:pt x="103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24">
              <a:extLst>
                <a:ext uri="{FF2B5EF4-FFF2-40B4-BE49-F238E27FC236}">
                  <a16:creationId xmlns:a16="http://schemas.microsoft.com/office/drawing/2014/main" id="{82EB0BEA-4250-46EE-AD2B-BCDE118C3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7025" y="3760788"/>
              <a:ext cx="250825" cy="134938"/>
            </a:xfrm>
            <a:custGeom>
              <a:avLst/>
              <a:gdLst>
                <a:gd name="T0" fmla="*/ 74 w 84"/>
                <a:gd name="T1" fmla="*/ 27 h 45"/>
                <a:gd name="T2" fmla="*/ 75 w 84"/>
                <a:gd name="T3" fmla="*/ 15 h 45"/>
                <a:gd name="T4" fmla="*/ 77 w 84"/>
                <a:gd name="T5" fmla="*/ 11 h 45"/>
                <a:gd name="T6" fmla="*/ 84 w 84"/>
                <a:gd name="T7" fmla="*/ 6 h 45"/>
                <a:gd name="T8" fmla="*/ 53 w 84"/>
                <a:gd name="T9" fmla="*/ 6 h 45"/>
                <a:gd name="T10" fmla="*/ 51 w 84"/>
                <a:gd name="T11" fmla="*/ 6 h 45"/>
                <a:gd name="T12" fmla="*/ 38 w 84"/>
                <a:gd name="T13" fmla="*/ 13 h 45"/>
                <a:gd name="T14" fmla="*/ 35 w 84"/>
                <a:gd name="T15" fmla="*/ 13 h 45"/>
                <a:gd name="T16" fmla="*/ 14 w 84"/>
                <a:gd name="T17" fmla="*/ 13 h 45"/>
                <a:gd name="T18" fmla="*/ 9 w 84"/>
                <a:gd name="T19" fmla="*/ 11 h 45"/>
                <a:gd name="T20" fmla="*/ 2 w 84"/>
                <a:gd name="T21" fmla="*/ 0 h 45"/>
                <a:gd name="T22" fmla="*/ 1 w 84"/>
                <a:gd name="T23" fmla="*/ 1 h 45"/>
                <a:gd name="T24" fmla="*/ 1 w 84"/>
                <a:gd name="T25" fmla="*/ 11 h 45"/>
                <a:gd name="T26" fmla="*/ 3 w 84"/>
                <a:gd name="T27" fmla="*/ 14 h 45"/>
                <a:gd name="T28" fmla="*/ 5 w 84"/>
                <a:gd name="T29" fmla="*/ 17 h 45"/>
                <a:gd name="T30" fmla="*/ 7 w 84"/>
                <a:gd name="T31" fmla="*/ 20 h 45"/>
                <a:gd name="T32" fmla="*/ 7 w 84"/>
                <a:gd name="T33" fmla="*/ 24 h 45"/>
                <a:gd name="T34" fmla="*/ 5 w 84"/>
                <a:gd name="T35" fmla="*/ 24 h 45"/>
                <a:gd name="T36" fmla="*/ 0 w 84"/>
                <a:gd name="T37" fmla="*/ 28 h 45"/>
                <a:gd name="T38" fmla="*/ 1 w 84"/>
                <a:gd name="T39" fmla="*/ 32 h 45"/>
                <a:gd name="T40" fmla="*/ 5 w 84"/>
                <a:gd name="T41" fmla="*/ 35 h 45"/>
                <a:gd name="T42" fmla="*/ 6 w 84"/>
                <a:gd name="T43" fmla="*/ 39 h 45"/>
                <a:gd name="T44" fmla="*/ 6 w 84"/>
                <a:gd name="T45" fmla="*/ 40 h 45"/>
                <a:gd name="T46" fmla="*/ 11 w 84"/>
                <a:gd name="T47" fmla="*/ 45 h 45"/>
                <a:gd name="T48" fmla="*/ 17 w 84"/>
                <a:gd name="T49" fmla="*/ 45 h 45"/>
                <a:gd name="T50" fmla="*/ 20 w 84"/>
                <a:gd name="T51" fmla="*/ 44 h 45"/>
                <a:gd name="T52" fmla="*/ 25 w 84"/>
                <a:gd name="T53" fmla="*/ 39 h 45"/>
                <a:gd name="T54" fmla="*/ 28 w 84"/>
                <a:gd name="T55" fmla="*/ 39 h 45"/>
                <a:gd name="T56" fmla="*/ 30 w 84"/>
                <a:gd name="T57" fmla="*/ 42 h 45"/>
                <a:gd name="T58" fmla="*/ 34 w 84"/>
                <a:gd name="T59" fmla="*/ 43 h 45"/>
                <a:gd name="T60" fmla="*/ 42 w 84"/>
                <a:gd name="T61" fmla="*/ 43 h 45"/>
                <a:gd name="T62" fmla="*/ 45 w 84"/>
                <a:gd name="T63" fmla="*/ 42 h 45"/>
                <a:gd name="T64" fmla="*/ 50 w 84"/>
                <a:gd name="T65" fmla="*/ 36 h 45"/>
                <a:gd name="T66" fmla="*/ 54 w 84"/>
                <a:gd name="T67" fmla="*/ 35 h 45"/>
                <a:gd name="T68" fmla="*/ 68 w 84"/>
                <a:gd name="T69" fmla="*/ 35 h 45"/>
                <a:gd name="T70" fmla="*/ 73 w 84"/>
                <a:gd name="T71" fmla="*/ 30 h 45"/>
                <a:gd name="T72" fmla="*/ 74 w 84"/>
                <a:gd name="T73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45">
                  <a:moveTo>
                    <a:pt x="74" y="27"/>
                  </a:moveTo>
                  <a:cubicBezTo>
                    <a:pt x="75" y="15"/>
                    <a:pt x="75" y="15"/>
                    <a:pt x="75" y="15"/>
                  </a:cubicBezTo>
                  <a:cubicBezTo>
                    <a:pt x="75" y="13"/>
                    <a:pt x="76" y="12"/>
                    <a:pt x="77" y="11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2" y="6"/>
                    <a:pt x="51" y="6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7" y="13"/>
                    <a:pt x="36" y="13"/>
                    <a:pt x="35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3"/>
                    <a:pt x="10" y="12"/>
                    <a:pt x="9" y="1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2"/>
                    <a:pt x="2" y="13"/>
                    <a:pt x="3" y="14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6" y="17"/>
                    <a:pt x="7" y="19"/>
                    <a:pt x="7" y="20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2" y="24"/>
                    <a:pt x="0" y="26"/>
                    <a:pt x="0" y="28"/>
                  </a:cubicBezTo>
                  <a:cubicBezTo>
                    <a:pt x="0" y="30"/>
                    <a:pt x="0" y="31"/>
                    <a:pt x="1" y="32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6" y="36"/>
                    <a:pt x="6" y="38"/>
                    <a:pt x="6" y="39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6" y="43"/>
                    <a:pt x="8" y="45"/>
                    <a:pt x="11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8" y="45"/>
                    <a:pt x="19" y="44"/>
                    <a:pt x="20" y="44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1" y="43"/>
                    <a:pt x="33" y="43"/>
                    <a:pt x="34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3" y="43"/>
                    <a:pt x="44" y="43"/>
                    <a:pt x="45" y="42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1" y="35"/>
                    <a:pt x="53" y="35"/>
                    <a:pt x="54" y="35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4" y="29"/>
                    <a:pt x="74" y="28"/>
                    <a:pt x="74" y="2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25">
              <a:extLst>
                <a:ext uri="{FF2B5EF4-FFF2-40B4-BE49-F238E27FC236}">
                  <a16:creationId xmlns:a16="http://schemas.microsoft.com/office/drawing/2014/main" id="{ACF9D53D-FF31-4661-8073-88571C6A5A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8938" y="3055938"/>
              <a:ext cx="155575" cy="109538"/>
            </a:xfrm>
            <a:custGeom>
              <a:avLst/>
              <a:gdLst>
                <a:gd name="T0" fmla="*/ 30 w 52"/>
                <a:gd name="T1" fmla="*/ 34 h 37"/>
                <a:gd name="T2" fmla="*/ 38 w 52"/>
                <a:gd name="T3" fmla="*/ 37 h 37"/>
                <a:gd name="T4" fmla="*/ 48 w 52"/>
                <a:gd name="T5" fmla="*/ 37 h 37"/>
                <a:gd name="T6" fmla="*/ 49 w 52"/>
                <a:gd name="T7" fmla="*/ 33 h 37"/>
                <a:gd name="T8" fmla="*/ 50 w 52"/>
                <a:gd name="T9" fmla="*/ 20 h 37"/>
                <a:gd name="T10" fmla="*/ 38 w 52"/>
                <a:gd name="T11" fmla="*/ 6 h 37"/>
                <a:gd name="T12" fmla="*/ 32 w 52"/>
                <a:gd name="T13" fmla="*/ 0 h 37"/>
                <a:gd name="T14" fmla="*/ 0 w 52"/>
                <a:gd name="T15" fmla="*/ 9 h 37"/>
                <a:gd name="T16" fmla="*/ 0 w 52"/>
                <a:gd name="T17" fmla="*/ 19 h 37"/>
                <a:gd name="T18" fmla="*/ 8 w 52"/>
                <a:gd name="T19" fmla="*/ 25 h 37"/>
                <a:gd name="T20" fmla="*/ 10 w 52"/>
                <a:gd name="T21" fmla="*/ 25 h 37"/>
                <a:gd name="T22" fmla="*/ 10 w 52"/>
                <a:gd name="T23" fmla="*/ 30 h 37"/>
                <a:gd name="T24" fmla="*/ 21 w 52"/>
                <a:gd name="T25" fmla="*/ 30 h 37"/>
                <a:gd name="T26" fmla="*/ 30 w 52"/>
                <a:gd name="T27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37">
                  <a:moveTo>
                    <a:pt x="30" y="34"/>
                  </a:moveTo>
                  <a:cubicBezTo>
                    <a:pt x="32" y="36"/>
                    <a:pt x="35" y="37"/>
                    <a:pt x="3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6"/>
                    <a:pt x="48" y="34"/>
                    <a:pt x="49" y="33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2" y="13"/>
                    <a:pt x="46" y="6"/>
                    <a:pt x="38" y="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4" y="30"/>
                    <a:pt x="27" y="31"/>
                    <a:pt x="30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26">
              <a:extLst>
                <a:ext uri="{FF2B5EF4-FFF2-40B4-BE49-F238E27FC236}">
                  <a16:creationId xmlns:a16="http://schemas.microsoft.com/office/drawing/2014/main" id="{9A78201D-9EC2-4134-82B1-05D223294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144838"/>
              <a:ext cx="344488" cy="155575"/>
            </a:xfrm>
            <a:custGeom>
              <a:avLst/>
              <a:gdLst>
                <a:gd name="T0" fmla="*/ 36 w 115"/>
                <a:gd name="T1" fmla="*/ 34 h 52"/>
                <a:gd name="T2" fmla="*/ 57 w 115"/>
                <a:gd name="T3" fmla="*/ 41 h 52"/>
                <a:gd name="T4" fmla="*/ 61 w 115"/>
                <a:gd name="T5" fmla="*/ 42 h 52"/>
                <a:gd name="T6" fmla="*/ 74 w 115"/>
                <a:gd name="T7" fmla="*/ 48 h 52"/>
                <a:gd name="T8" fmla="*/ 104 w 115"/>
                <a:gd name="T9" fmla="*/ 48 h 52"/>
                <a:gd name="T10" fmla="*/ 115 w 115"/>
                <a:gd name="T11" fmla="*/ 43 h 52"/>
                <a:gd name="T12" fmla="*/ 104 w 115"/>
                <a:gd name="T13" fmla="*/ 35 h 52"/>
                <a:gd name="T14" fmla="*/ 96 w 115"/>
                <a:gd name="T15" fmla="*/ 33 h 52"/>
                <a:gd name="T16" fmla="*/ 85 w 115"/>
                <a:gd name="T17" fmla="*/ 24 h 52"/>
                <a:gd name="T18" fmla="*/ 81 w 115"/>
                <a:gd name="T19" fmla="*/ 15 h 52"/>
                <a:gd name="T20" fmla="*/ 79 w 115"/>
                <a:gd name="T21" fmla="*/ 7 h 52"/>
                <a:gd name="T22" fmla="*/ 69 w 115"/>
                <a:gd name="T23" fmla="*/ 7 h 52"/>
                <a:gd name="T24" fmla="*/ 61 w 115"/>
                <a:gd name="T25" fmla="*/ 4 h 52"/>
                <a:gd name="T26" fmla="*/ 52 w 115"/>
                <a:gd name="T27" fmla="*/ 0 h 52"/>
                <a:gd name="T28" fmla="*/ 41 w 115"/>
                <a:gd name="T29" fmla="*/ 0 h 52"/>
                <a:gd name="T30" fmla="*/ 41 w 115"/>
                <a:gd name="T31" fmla="*/ 13 h 52"/>
                <a:gd name="T32" fmla="*/ 33 w 115"/>
                <a:gd name="T33" fmla="*/ 21 h 52"/>
                <a:gd name="T34" fmla="*/ 24 w 115"/>
                <a:gd name="T35" fmla="*/ 11 h 52"/>
                <a:gd name="T36" fmla="*/ 10 w 115"/>
                <a:gd name="T37" fmla="*/ 11 h 52"/>
                <a:gd name="T38" fmla="*/ 0 w 115"/>
                <a:gd name="T39" fmla="*/ 22 h 52"/>
                <a:gd name="T40" fmla="*/ 0 w 115"/>
                <a:gd name="T41" fmla="*/ 32 h 52"/>
                <a:gd name="T42" fmla="*/ 25 w 115"/>
                <a:gd name="T43" fmla="*/ 32 h 52"/>
                <a:gd name="T44" fmla="*/ 36 w 115"/>
                <a:gd name="T45" fmla="*/ 3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2">
                  <a:moveTo>
                    <a:pt x="36" y="34"/>
                  </a:moveTo>
                  <a:cubicBezTo>
                    <a:pt x="57" y="41"/>
                    <a:pt x="57" y="41"/>
                    <a:pt x="57" y="41"/>
                  </a:cubicBezTo>
                  <a:cubicBezTo>
                    <a:pt x="58" y="41"/>
                    <a:pt x="60" y="42"/>
                    <a:pt x="61" y="42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84" y="52"/>
                    <a:pt x="94" y="52"/>
                    <a:pt x="104" y="48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2" y="39"/>
                    <a:pt x="108" y="36"/>
                    <a:pt x="104" y="35"/>
                  </a:cubicBezTo>
                  <a:cubicBezTo>
                    <a:pt x="96" y="33"/>
                    <a:pt x="96" y="33"/>
                    <a:pt x="96" y="33"/>
                  </a:cubicBezTo>
                  <a:cubicBezTo>
                    <a:pt x="91" y="32"/>
                    <a:pt x="87" y="29"/>
                    <a:pt x="85" y="2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0" y="13"/>
                    <a:pt x="80" y="10"/>
                    <a:pt x="79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6" y="7"/>
                    <a:pt x="63" y="6"/>
                    <a:pt x="61" y="4"/>
                  </a:cubicBezTo>
                  <a:cubicBezTo>
                    <a:pt x="58" y="1"/>
                    <a:pt x="55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9" y="32"/>
                    <a:pt x="33" y="33"/>
                    <a:pt x="36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27">
              <a:extLst>
                <a:ext uri="{FF2B5EF4-FFF2-40B4-BE49-F238E27FC236}">
                  <a16:creationId xmlns:a16="http://schemas.microsoft.com/office/drawing/2014/main" id="{D44D2CEB-D040-48DB-9DE8-243C0AB24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240088"/>
              <a:ext cx="146050" cy="120650"/>
            </a:xfrm>
            <a:custGeom>
              <a:avLst/>
              <a:gdLst>
                <a:gd name="T0" fmla="*/ 49 w 49"/>
                <a:gd name="T1" fmla="*/ 21 h 40"/>
                <a:gd name="T2" fmla="*/ 49 w 49"/>
                <a:gd name="T3" fmla="*/ 16 h 40"/>
                <a:gd name="T4" fmla="*/ 45 w 49"/>
                <a:gd name="T5" fmla="*/ 5 h 40"/>
                <a:gd name="T6" fmla="*/ 36 w 49"/>
                <a:gd name="T7" fmla="*/ 2 h 40"/>
                <a:gd name="T8" fmla="*/ 25 w 49"/>
                <a:gd name="T9" fmla="*/ 0 h 40"/>
                <a:gd name="T10" fmla="*/ 0 w 49"/>
                <a:gd name="T11" fmla="*/ 0 h 40"/>
                <a:gd name="T12" fmla="*/ 0 w 49"/>
                <a:gd name="T13" fmla="*/ 9 h 40"/>
                <a:gd name="T14" fmla="*/ 5 w 49"/>
                <a:gd name="T15" fmla="*/ 14 h 40"/>
                <a:gd name="T16" fmla="*/ 4 w 49"/>
                <a:gd name="T17" fmla="*/ 15 h 40"/>
                <a:gd name="T18" fmla="*/ 6 w 49"/>
                <a:gd name="T19" fmla="*/ 16 h 40"/>
                <a:gd name="T20" fmla="*/ 15 w 49"/>
                <a:gd name="T21" fmla="*/ 37 h 40"/>
                <a:gd name="T22" fmla="*/ 15 w 49"/>
                <a:gd name="T23" fmla="*/ 40 h 40"/>
                <a:gd name="T24" fmla="*/ 41 w 49"/>
                <a:gd name="T25" fmla="*/ 32 h 40"/>
                <a:gd name="T26" fmla="*/ 49 w 49"/>
                <a:gd name="T27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" h="40">
                  <a:moveTo>
                    <a:pt x="49" y="21"/>
                  </a:moveTo>
                  <a:cubicBezTo>
                    <a:pt x="49" y="19"/>
                    <a:pt x="49" y="18"/>
                    <a:pt x="49" y="16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3" y="1"/>
                    <a:pt x="29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5" y="16"/>
                    <a:pt x="6" y="16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8"/>
                    <a:pt x="15" y="39"/>
                    <a:pt x="15" y="40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6" y="30"/>
                    <a:pt x="49" y="26"/>
                    <a:pt x="49" y="2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28">
              <a:extLst>
                <a:ext uri="{FF2B5EF4-FFF2-40B4-BE49-F238E27FC236}">
                  <a16:creationId xmlns:a16="http://schemas.microsoft.com/office/drawing/2014/main" id="{C937E00F-EE16-40A0-80F1-73AC77452E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0675" y="3255963"/>
              <a:ext cx="379413" cy="200025"/>
            </a:xfrm>
            <a:custGeom>
              <a:avLst/>
              <a:gdLst>
                <a:gd name="T0" fmla="*/ 122 w 127"/>
                <a:gd name="T1" fmla="*/ 46 h 67"/>
                <a:gd name="T2" fmla="*/ 125 w 127"/>
                <a:gd name="T3" fmla="*/ 38 h 67"/>
                <a:gd name="T4" fmla="*/ 112 w 127"/>
                <a:gd name="T5" fmla="*/ 20 h 67"/>
                <a:gd name="T6" fmla="*/ 110 w 127"/>
                <a:gd name="T7" fmla="*/ 13 h 67"/>
                <a:gd name="T8" fmla="*/ 107 w 127"/>
                <a:gd name="T9" fmla="*/ 6 h 67"/>
                <a:gd name="T10" fmla="*/ 96 w 127"/>
                <a:gd name="T11" fmla="*/ 11 h 67"/>
                <a:gd name="T12" fmla="*/ 66 w 127"/>
                <a:gd name="T13" fmla="*/ 11 h 67"/>
                <a:gd name="T14" fmla="*/ 53 w 127"/>
                <a:gd name="T15" fmla="*/ 5 h 67"/>
                <a:gd name="T16" fmla="*/ 49 w 127"/>
                <a:gd name="T17" fmla="*/ 4 h 67"/>
                <a:gd name="T18" fmla="*/ 37 w 127"/>
                <a:gd name="T19" fmla="*/ 0 h 67"/>
                <a:gd name="T20" fmla="*/ 41 w 127"/>
                <a:gd name="T21" fmla="*/ 11 h 67"/>
                <a:gd name="T22" fmla="*/ 41 w 127"/>
                <a:gd name="T23" fmla="*/ 16 h 67"/>
                <a:gd name="T24" fmla="*/ 33 w 127"/>
                <a:gd name="T25" fmla="*/ 27 h 67"/>
                <a:gd name="T26" fmla="*/ 7 w 127"/>
                <a:gd name="T27" fmla="*/ 35 h 67"/>
                <a:gd name="T28" fmla="*/ 5 w 127"/>
                <a:gd name="T29" fmla="*/ 37 h 67"/>
                <a:gd name="T30" fmla="*/ 2 w 127"/>
                <a:gd name="T31" fmla="*/ 39 h 67"/>
                <a:gd name="T32" fmla="*/ 0 w 127"/>
                <a:gd name="T33" fmla="*/ 42 h 67"/>
                <a:gd name="T34" fmla="*/ 2 w 127"/>
                <a:gd name="T35" fmla="*/ 46 h 67"/>
                <a:gd name="T36" fmla="*/ 5 w 127"/>
                <a:gd name="T37" fmla="*/ 47 h 67"/>
                <a:gd name="T38" fmla="*/ 7 w 127"/>
                <a:gd name="T39" fmla="*/ 51 h 67"/>
                <a:gd name="T40" fmla="*/ 7 w 127"/>
                <a:gd name="T41" fmla="*/ 63 h 67"/>
                <a:gd name="T42" fmla="*/ 24 w 127"/>
                <a:gd name="T43" fmla="*/ 59 h 67"/>
                <a:gd name="T44" fmla="*/ 31 w 127"/>
                <a:gd name="T45" fmla="*/ 59 h 67"/>
                <a:gd name="T46" fmla="*/ 36 w 127"/>
                <a:gd name="T47" fmla="*/ 59 h 67"/>
                <a:gd name="T48" fmla="*/ 47 w 127"/>
                <a:gd name="T49" fmla="*/ 61 h 67"/>
                <a:gd name="T50" fmla="*/ 59 w 127"/>
                <a:gd name="T51" fmla="*/ 65 h 67"/>
                <a:gd name="T52" fmla="*/ 70 w 127"/>
                <a:gd name="T53" fmla="*/ 67 h 67"/>
                <a:gd name="T54" fmla="*/ 79 w 127"/>
                <a:gd name="T55" fmla="*/ 67 h 67"/>
                <a:gd name="T56" fmla="*/ 90 w 127"/>
                <a:gd name="T57" fmla="*/ 65 h 67"/>
                <a:gd name="T58" fmla="*/ 97 w 127"/>
                <a:gd name="T59" fmla="*/ 62 h 67"/>
                <a:gd name="T60" fmla="*/ 105 w 127"/>
                <a:gd name="T61" fmla="*/ 60 h 67"/>
                <a:gd name="T62" fmla="*/ 123 w 127"/>
                <a:gd name="T63" fmla="*/ 58 h 67"/>
                <a:gd name="T64" fmla="*/ 117 w 127"/>
                <a:gd name="T65" fmla="*/ 50 h 67"/>
                <a:gd name="T66" fmla="*/ 122 w 127"/>
                <a:gd name="T67" fmla="*/ 4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7" h="67">
                  <a:moveTo>
                    <a:pt x="122" y="46"/>
                  </a:moveTo>
                  <a:cubicBezTo>
                    <a:pt x="125" y="45"/>
                    <a:pt x="127" y="41"/>
                    <a:pt x="125" y="38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0" y="13"/>
                    <a:pt x="110" y="13"/>
                    <a:pt x="110" y="13"/>
                  </a:cubicBezTo>
                  <a:cubicBezTo>
                    <a:pt x="110" y="10"/>
                    <a:pt x="108" y="8"/>
                    <a:pt x="107" y="6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86" y="15"/>
                    <a:pt x="76" y="15"/>
                    <a:pt x="66" y="11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2" y="5"/>
                    <a:pt x="50" y="4"/>
                    <a:pt x="49" y="4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3"/>
                    <a:pt x="41" y="14"/>
                    <a:pt x="41" y="16"/>
                  </a:cubicBezTo>
                  <a:cubicBezTo>
                    <a:pt x="41" y="21"/>
                    <a:pt x="38" y="25"/>
                    <a:pt x="33" y="27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6"/>
                    <a:pt x="6" y="36"/>
                    <a:pt x="5" y="37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1" y="39"/>
                    <a:pt x="0" y="41"/>
                    <a:pt x="0" y="42"/>
                  </a:cubicBezTo>
                  <a:cubicBezTo>
                    <a:pt x="0" y="44"/>
                    <a:pt x="1" y="45"/>
                    <a:pt x="2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6" y="48"/>
                    <a:pt x="7" y="49"/>
                    <a:pt x="7" y="51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26" y="59"/>
                    <a:pt x="29" y="59"/>
                    <a:pt x="31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40" y="59"/>
                    <a:pt x="43" y="59"/>
                    <a:pt x="47" y="61"/>
                  </a:cubicBezTo>
                  <a:cubicBezTo>
                    <a:pt x="59" y="65"/>
                    <a:pt x="59" y="65"/>
                    <a:pt x="59" y="65"/>
                  </a:cubicBezTo>
                  <a:cubicBezTo>
                    <a:pt x="63" y="66"/>
                    <a:pt x="66" y="67"/>
                    <a:pt x="70" y="67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83" y="67"/>
                    <a:pt x="86" y="66"/>
                    <a:pt x="90" y="65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100" y="61"/>
                    <a:pt x="102" y="61"/>
                    <a:pt x="105" y="60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20" y="57"/>
                    <a:pt x="117" y="54"/>
                    <a:pt x="117" y="50"/>
                  </a:cubicBezTo>
                  <a:cubicBezTo>
                    <a:pt x="117" y="47"/>
                    <a:pt x="119" y="46"/>
                    <a:pt x="122" y="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29">
              <a:extLst>
                <a:ext uri="{FF2B5EF4-FFF2-40B4-BE49-F238E27FC236}">
                  <a16:creationId xmlns:a16="http://schemas.microsoft.com/office/drawing/2014/main" id="{A93F55AD-6AF0-41AE-BF84-CF716D44F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3213" y="3429001"/>
              <a:ext cx="673100" cy="355600"/>
            </a:xfrm>
            <a:custGeom>
              <a:avLst/>
              <a:gdLst>
                <a:gd name="T0" fmla="*/ 216 w 225"/>
                <a:gd name="T1" fmla="*/ 35 h 119"/>
                <a:gd name="T2" fmla="*/ 195 w 225"/>
                <a:gd name="T3" fmla="*/ 34 h 119"/>
                <a:gd name="T4" fmla="*/ 167 w 225"/>
                <a:gd name="T5" fmla="*/ 21 h 119"/>
                <a:gd name="T6" fmla="*/ 155 w 225"/>
                <a:gd name="T7" fmla="*/ 10 h 119"/>
                <a:gd name="T8" fmla="*/ 132 w 225"/>
                <a:gd name="T9" fmla="*/ 1 h 119"/>
                <a:gd name="T10" fmla="*/ 111 w 225"/>
                <a:gd name="T11" fmla="*/ 2 h 119"/>
                <a:gd name="T12" fmla="*/ 96 w 225"/>
                <a:gd name="T13" fmla="*/ 7 h 119"/>
                <a:gd name="T14" fmla="*/ 76 w 225"/>
                <a:gd name="T15" fmla="*/ 9 h 119"/>
                <a:gd name="T16" fmla="*/ 53 w 225"/>
                <a:gd name="T17" fmla="*/ 3 h 119"/>
                <a:gd name="T18" fmla="*/ 37 w 225"/>
                <a:gd name="T19" fmla="*/ 1 h 119"/>
                <a:gd name="T20" fmla="*/ 13 w 225"/>
                <a:gd name="T21" fmla="*/ 5 h 119"/>
                <a:gd name="T22" fmla="*/ 14 w 225"/>
                <a:gd name="T23" fmla="*/ 7 h 119"/>
                <a:gd name="T24" fmla="*/ 16 w 225"/>
                <a:gd name="T25" fmla="*/ 19 h 119"/>
                <a:gd name="T26" fmla="*/ 11 w 225"/>
                <a:gd name="T27" fmla="*/ 20 h 119"/>
                <a:gd name="T28" fmla="*/ 1 w 225"/>
                <a:gd name="T29" fmla="*/ 34 h 119"/>
                <a:gd name="T30" fmla="*/ 3 w 225"/>
                <a:gd name="T31" fmla="*/ 42 h 119"/>
                <a:gd name="T32" fmla="*/ 0 w 225"/>
                <a:gd name="T33" fmla="*/ 45 h 119"/>
                <a:gd name="T34" fmla="*/ 6 w 225"/>
                <a:gd name="T35" fmla="*/ 55 h 119"/>
                <a:gd name="T36" fmla="*/ 50 w 225"/>
                <a:gd name="T37" fmla="*/ 50 h 119"/>
                <a:gd name="T38" fmla="*/ 73 w 225"/>
                <a:gd name="T39" fmla="*/ 45 h 119"/>
                <a:gd name="T40" fmla="*/ 81 w 225"/>
                <a:gd name="T41" fmla="*/ 59 h 119"/>
                <a:gd name="T42" fmla="*/ 87 w 225"/>
                <a:gd name="T43" fmla="*/ 62 h 119"/>
                <a:gd name="T44" fmla="*/ 92 w 225"/>
                <a:gd name="T45" fmla="*/ 74 h 119"/>
                <a:gd name="T46" fmla="*/ 87 w 225"/>
                <a:gd name="T47" fmla="*/ 79 h 119"/>
                <a:gd name="T48" fmla="*/ 81 w 225"/>
                <a:gd name="T49" fmla="*/ 90 h 119"/>
                <a:gd name="T50" fmla="*/ 78 w 225"/>
                <a:gd name="T51" fmla="*/ 95 h 119"/>
                <a:gd name="T52" fmla="*/ 85 w 225"/>
                <a:gd name="T53" fmla="*/ 101 h 119"/>
                <a:gd name="T54" fmla="*/ 102 w 225"/>
                <a:gd name="T55" fmla="*/ 101 h 119"/>
                <a:gd name="T56" fmla="*/ 112 w 225"/>
                <a:gd name="T57" fmla="*/ 96 h 119"/>
                <a:gd name="T58" fmla="*/ 121 w 225"/>
                <a:gd name="T59" fmla="*/ 85 h 119"/>
                <a:gd name="T60" fmla="*/ 128 w 225"/>
                <a:gd name="T61" fmla="*/ 89 h 119"/>
                <a:gd name="T62" fmla="*/ 134 w 225"/>
                <a:gd name="T63" fmla="*/ 95 h 119"/>
                <a:gd name="T64" fmla="*/ 149 w 225"/>
                <a:gd name="T65" fmla="*/ 98 h 119"/>
                <a:gd name="T66" fmla="*/ 142 w 225"/>
                <a:gd name="T67" fmla="*/ 111 h 119"/>
                <a:gd name="T68" fmla="*/ 147 w 225"/>
                <a:gd name="T69" fmla="*/ 116 h 119"/>
                <a:gd name="T70" fmla="*/ 152 w 225"/>
                <a:gd name="T71" fmla="*/ 119 h 119"/>
                <a:gd name="T72" fmla="*/ 163 w 225"/>
                <a:gd name="T73" fmla="*/ 118 h 119"/>
                <a:gd name="T74" fmla="*/ 176 w 225"/>
                <a:gd name="T75" fmla="*/ 112 h 119"/>
                <a:gd name="T76" fmla="*/ 185 w 225"/>
                <a:gd name="T77" fmla="*/ 111 h 119"/>
                <a:gd name="T78" fmla="*/ 169 w 225"/>
                <a:gd name="T79" fmla="*/ 107 h 119"/>
                <a:gd name="T80" fmla="*/ 163 w 225"/>
                <a:gd name="T81" fmla="*/ 102 h 119"/>
                <a:gd name="T82" fmla="*/ 155 w 225"/>
                <a:gd name="T83" fmla="*/ 99 h 119"/>
                <a:gd name="T84" fmla="*/ 176 w 225"/>
                <a:gd name="T85" fmla="*/ 88 h 119"/>
                <a:gd name="T86" fmla="*/ 204 w 225"/>
                <a:gd name="T87" fmla="*/ 72 h 119"/>
                <a:gd name="T88" fmla="*/ 223 w 225"/>
                <a:gd name="T89" fmla="*/ 59 h 119"/>
                <a:gd name="T90" fmla="*/ 219 w 225"/>
                <a:gd name="T91" fmla="*/ 38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119">
                  <a:moveTo>
                    <a:pt x="219" y="38"/>
                  </a:moveTo>
                  <a:cubicBezTo>
                    <a:pt x="216" y="35"/>
                    <a:pt x="216" y="35"/>
                    <a:pt x="216" y="35"/>
                  </a:cubicBezTo>
                  <a:cubicBezTo>
                    <a:pt x="212" y="32"/>
                    <a:pt x="207" y="32"/>
                    <a:pt x="203" y="33"/>
                  </a:cubicBezTo>
                  <a:cubicBezTo>
                    <a:pt x="200" y="34"/>
                    <a:pt x="198" y="35"/>
                    <a:pt x="195" y="34"/>
                  </a:cubicBezTo>
                  <a:cubicBezTo>
                    <a:pt x="174" y="29"/>
                    <a:pt x="174" y="29"/>
                    <a:pt x="174" y="29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6" y="19"/>
                    <a:pt x="164" y="18"/>
                    <a:pt x="162" y="18"/>
                  </a:cubicBezTo>
                  <a:cubicBezTo>
                    <a:pt x="158" y="16"/>
                    <a:pt x="156" y="13"/>
                    <a:pt x="155" y="10"/>
                  </a:cubicBezTo>
                  <a:cubicBezTo>
                    <a:pt x="153" y="5"/>
                    <a:pt x="149" y="1"/>
                    <a:pt x="144" y="1"/>
                  </a:cubicBezTo>
                  <a:cubicBezTo>
                    <a:pt x="132" y="1"/>
                    <a:pt x="132" y="1"/>
                    <a:pt x="132" y="1"/>
                  </a:cubicBezTo>
                  <a:cubicBezTo>
                    <a:pt x="131" y="1"/>
                    <a:pt x="130" y="0"/>
                    <a:pt x="129" y="0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8" y="3"/>
                    <a:pt x="106" y="3"/>
                    <a:pt x="103" y="4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2" y="8"/>
                    <a:pt x="89" y="9"/>
                    <a:pt x="85" y="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2" y="9"/>
                    <a:pt x="69" y="8"/>
                    <a:pt x="65" y="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49" y="1"/>
                    <a:pt x="46" y="1"/>
                    <a:pt x="42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5" y="1"/>
                    <a:pt x="32" y="1"/>
                    <a:pt x="30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7"/>
                    <a:pt x="14" y="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9"/>
                    <a:pt x="14" y="20"/>
                    <a:pt x="13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9" y="21"/>
                    <a:pt x="8" y="22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38"/>
                    <a:pt x="5" y="40"/>
                    <a:pt x="3" y="42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5"/>
                    <a:pt x="0" y="45"/>
                    <a:pt x="0" y="45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5" y="50"/>
                    <a:pt x="6" y="52"/>
                    <a:pt x="6" y="55"/>
                  </a:cubicBezTo>
                  <a:cubicBezTo>
                    <a:pt x="50" y="53"/>
                    <a:pt x="50" y="53"/>
                    <a:pt x="50" y="53"/>
                  </a:cubicBezTo>
                  <a:cubicBezTo>
                    <a:pt x="50" y="50"/>
                    <a:pt x="50" y="50"/>
                    <a:pt x="50" y="50"/>
                  </a:cubicBezTo>
                  <a:cubicBezTo>
                    <a:pt x="50" y="47"/>
                    <a:pt x="52" y="45"/>
                    <a:pt x="55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4" y="45"/>
                    <a:pt x="76" y="46"/>
                    <a:pt x="77" y="48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2" y="61"/>
                    <a:pt x="83" y="62"/>
                    <a:pt x="85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9" y="62"/>
                    <a:pt x="91" y="63"/>
                    <a:pt x="91" y="66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92" y="76"/>
                    <a:pt x="91" y="78"/>
                    <a:pt x="89" y="79"/>
                  </a:cubicBezTo>
                  <a:cubicBezTo>
                    <a:pt x="87" y="79"/>
                    <a:pt x="87" y="79"/>
                    <a:pt x="87" y="79"/>
                  </a:cubicBezTo>
                  <a:cubicBezTo>
                    <a:pt x="85" y="80"/>
                    <a:pt x="83" y="83"/>
                    <a:pt x="84" y="85"/>
                  </a:cubicBezTo>
                  <a:cubicBezTo>
                    <a:pt x="85" y="87"/>
                    <a:pt x="84" y="90"/>
                    <a:pt x="81" y="90"/>
                  </a:cubicBezTo>
                  <a:cubicBezTo>
                    <a:pt x="78" y="91"/>
                    <a:pt x="78" y="91"/>
                    <a:pt x="78" y="91"/>
                  </a:cubicBezTo>
                  <a:cubicBezTo>
                    <a:pt x="78" y="95"/>
                    <a:pt x="78" y="95"/>
                    <a:pt x="78" y="95"/>
                  </a:cubicBezTo>
                  <a:cubicBezTo>
                    <a:pt x="78" y="97"/>
                    <a:pt x="79" y="98"/>
                    <a:pt x="80" y="99"/>
                  </a:cubicBezTo>
                  <a:cubicBezTo>
                    <a:pt x="81" y="101"/>
                    <a:pt x="83" y="101"/>
                    <a:pt x="85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3" y="100"/>
                    <a:pt x="104" y="99"/>
                    <a:pt x="105" y="98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4" y="95"/>
                    <a:pt x="115" y="93"/>
                    <a:pt x="115" y="90"/>
                  </a:cubicBezTo>
                  <a:cubicBezTo>
                    <a:pt x="115" y="87"/>
                    <a:pt x="118" y="84"/>
                    <a:pt x="121" y="85"/>
                  </a:cubicBezTo>
                  <a:cubicBezTo>
                    <a:pt x="124" y="85"/>
                    <a:pt x="124" y="85"/>
                    <a:pt x="124" y="85"/>
                  </a:cubicBezTo>
                  <a:cubicBezTo>
                    <a:pt x="126" y="86"/>
                    <a:pt x="128" y="87"/>
                    <a:pt x="128" y="89"/>
                  </a:cubicBezTo>
                  <a:cubicBezTo>
                    <a:pt x="129" y="91"/>
                    <a:pt x="129" y="91"/>
                    <a:pt x="129" y="91"/>
                  </a:cubicBezTo>
                  <a:cubicBezTo>
                    <a:pt x="130" y="94"/>
                    <a:pt x="132" y="95"/>
                    <a:pt x="134" y="95"/>
                  </a:cubicBezTo>
                  <a:cubicBezTo>
                    <a:pt x="149" y="95"/>
                    <a:pt x="149" y="95"/>
                    <a:pt x="149" y="95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2" y="103"/>
                    <a:pt x="142" y="103"/>
                    <a:pt x="142" y="103"/>
                  </a:cubicBezTo>
                  <a:cubicBezTo>
                    <a:pt x="140" y="105"/>
                    <a:pt x="140" y="109"/>
                    <a:pt x="142" y="111"/>
                  </a:cubicBezTo>
                  <a:cubicBezTo>
                    <a:pt x="146" y="114"/>
                    <a:pt x="146" y="114"/>
                    <a:pt x="146" y="114"/>
                  </a:cubicBezTo>
                  <a:cubicBezTo>
                    <a:pt x="146" y="115"/>
                    <a:pt x="146" y="115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48" y="118"/>
                    <a:pt x="150" y="119"/>
                    <a:pt x="152" y="119"/>
                  </a:cubicBezTo>
                  <a:cubicBezTo>
                    <a:pt x="161" y="119"/>
                    <a:pt x="161" y="119"/>
                    <a:pt x="161" y="119"/>
                  </a:cubicBezTo>
                  <a:cubicBezTo>
                    <a:pt x="162" y="119"/>
                    <a:pt x="163" y="119"/>
                    <a:pt x="163" y="118"/>
                  </a:cubicBezTo>
                  <a:cubicBezTo>
                    <a:pt x="173" y="112"/>
                    <a:pt x="173" y="112"/>
                    <a:pt x="173" y="112"/>
                  </a:cubicBezTo>
                  <a:cubicBezTo>
                    <a:pt x="174" y="112"/>
                    <a:pt x="175" y="112"/>
                    <a:pt x="176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80" y="115"/>
                    <a:pt x="186" y="115"/>
                    <a:pt x="185" y="111"/>
                  </a:cubicBezTo>
                  <a:cubicBezTo>
                    <a:pt x="185" y="107"/>
                    <a:pt x="182" y="104"/>
                    <a:pt x="178" y="105"/>
                  </a:cubicBezTo>
                  <a:cubicBezTo>
                    <a:pt x="169" y="107"/>
                    <a:pt x="169" y="107"/>
                    <a:pt x="169" y="107"/>
                  </a:cubicBezTo>
                  <a:cubicBezTo>
                    <a:pt x="167" y="107"/>
                    <a:pt x="165" y="106"/>
                    <a:pt x="164" y="104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2" y="100"/>
                    <a:pt x="161" y="99"/>
                    <a:pt x="159" y="99"/>
                  </a:cubicBezTo>
                  <a:cubicBezTo>
                    <a:pt x="155" y="99"/>
                    <a:pt x="155" y="99"/>
                    <a:pt x="155" y="99"/>
                  </a:cubicBezTo>
                  <a:cubicBezTo>
                    <a:pt x="154" y="95"/>
                    <a:pt x="154" y="95"/>
                    <a:pt x="154" y="95"/>
                  </a:cubicBezTo>
                  <a:cubicBezTo>
                    <a:pt x="176" y="88"/>
                    <a:pt x="176" y="88"/>
                    <a:pt x="176" y="88"/>
                  </a:cubicBezTo>
                  <a:cubicBezTo>
                    <a:pt x="196" y="81"/>
                    <a:pt x="196" y="81"/>
                    <a:pt x="196" y="81"/>
                  </a:cubicBezTo>
                  <a:cubicBezTo>
                    <a:pt x="200" y="79"/>
                    <a:pt x="203" y="76"/>
                    <a:pt x="204" y="72"/>
                  </a:cubicBezTo>
                  <a:cubicBezTo>
                    <a:pt x="214" y="69"/>
                    <a:pt x="214" y="69"/>
                    <a:pt x="214" y="69"/>
                  </a:cubicBezTo>
                  <a:cubicBezTo>
                    <a:pt x="219" y="68"/>
                    <a:pt x="222" y="64"/>
                    <a:pt x="223" y="59"/>
                  </a:cubicBezTo>
                  <a:cubicBezTo>
                    <a:pt x="224" y="50"/>
                    <a:pt x="224" y="50"/>
                    <a:pt x="224" y="50"/>
                  </a:cubicBezTo>
                  <a:cubicBezTo>
                    <a:pt x="225" y="45"/>
                    <a:pt x="223" y="41"/>
                    <a:pt x="219" y="38"/>
                  </a:cubicBez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30">
              <a:extLst>
                <a:ext uri="{FF2B5EF4-FFF2-40B4-BE49-F238E27FC236}">
                  <a16:creationId xmlns:a16="http://schemas.microsoft.com/office/drawing/2014/main" id="{DEF8C28F-7774-44A5-8454-F7F3AB689F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7175" y="3587751"/>
              <a:ext cx="350838" cy="211138"/>
            </a:xfrm>
            <a:custGeom>
              <a:avLst/>
              <a:gdLst>
                <a:gd name="T0" fmla="*/ 95 w 117"/>
                <a:gd name="T1" fmla="*/ 46 h 71"/>
                <a:gd name="T2" fmla="*/ 93 w 117"/>
                <a:gd name="T3" fmla="*/ 42 h 71"/>
                <a:gd name="T4" fmla="*/ 93 w 117"/>
                <a:gd name="T5" fmla="*/ 34 h 71"/>
                <a:gd name="T6" fmla="*/ 93 w 117"/>
                <a:gd name="T7" fmla="*/ 32 h 71"/>
                <a:gd name="T8" fmla="*/ 85 w 117"/>
                <a:gd name="T9" fmla="*/ 15 h 71"/>
                <a:gd name="T10" fmla="*/ 81 w 117"/>
                <a:gd name="T11" fmla="*/ 12 h 71"/>
                <a:gd name="T12" fmla="*/ 78 w 117"/>
                <a:gd name="T13" fmla="*/ 11 h 71"/>
                <a:gd name="T14" fmla="*/ 73 w 117"/>
                <a:gd name="T15" fmla="*/ 6 h 71"/>
                <a:gd name="T16" fmla="*/ 73 w 117"/>
                <a:gd name="T17" fmla="*/ 4 h 71"/>
                <a:gd name="T18" fmla="*/ 66 w 117"/>
                <a:gd name="T19" fmla="*/ 0 h 71"/>
                <a:gd name="T20" fmla="*/ 21 w 117"/>
                <a:gd name="T21" fmla="*/ 2 h 71"/>
                <a:gd name="T22" fmla="*/ 20 w 117"/>
                <a:gd name="T23" fmla="*/ 7 h 71"/>
                <a:gd name="T24" fmla="*/ 6 w 117"/>
                <a:gd name="T25" fmla="*/ 26 h 71"/>
                <a:gd name="T26" fmla="*/ 0 w 117"/>
                <a:gd name="T27" fmla="*/ 30 h 71"/>
                <a:gd name="T28" fmla="*/ 1 w 117"/>
                <a:gd name="T29" fmla="*/ 40 h 71"/>
                <a:gd name="T30" fmla="*/ 2 w 117"/>
                <a:gd name="T31" fmla="*/ 43 h 71"/>
                <a:gd name="T32" fmla="*/ 9 w 117"/>
                <a:gd name="T33" fmla="*/ 53 h 71"/>
                <a:gd name="T34" fmla="*/ 14 w 117"/>
                <a:gd name="T35" fmla="*/ 55 h 71"/>
                <a:gd name="T36" fmla="*/ 16 w 117"/>
                <a:gd name="T37" fmla="*/ 55 h 71"/>
                <a:gd name="T38" fmla="*/ 16 w 117"/>
                <a:gd name="T39" fmla="*/ 51 h 71"/>
                <a:gd name="T40" fmla="*/ 20 w 117"/>
                <a:gd name="T41" fmla="*/ 51 h 71"/>
                <a:gd name="T42" fmla="*/ 32 w 117"/>
                <a:gd name="T43" fmla="*/ 69 h 71"/>
                <a:gd name="T44" fmla="*/ 37 w 117"/>
                <a:gd name="T45" fmla="*/ 71 h 71"/>
                <a:gd name="T46" fmla="*/ 58 w 117"/>
                <a:gd name="T47" fmla="*/ 71 h 71"/>
                <a:gd name="T48" fmla="*/ 61 w 117"/>
                <a:gd name="T49" fmla="*/ 71 h 71"/>
                <a:gd name="T50" fmla="*/ 74 w 117"/>
                <a:gd name="T51" fmla="*/ 64 h 71"/>
                <a:gd name="T52" fmla="*/ 76 w 117"/>
                <a:gd name="T53" fmla="*/ 64 h 71"/>
                <a:gd name="T54" fmla="*/ 107 w 117"/>
                <a:gd name="T55" fmla="*/ 64 h 71"/>
                <a:gd name="T56" fmla="*/ 110 w 117"/>
                <a:gd name="T57" fmla="*/ 61 h 71"/>
                <a:gd name="T58" fmla="*/ 111 w 117"/>
                <a:gd name="T59" fmla="*/ 60 h 71"/>
                <a:gd name="T60" fmla="*/ 117 w 117"/>
                <a:gd name="T61" fmla="*/ 48 h 71"/>
                <a:gd name="T62" fmla="*/ 100 w 117"/>
                <a:gd name="T63" fmla="*/ 48 h 71"/>
                <a:gd name="T64" fmla="*/ 95 w 117"/>
                <a:gd name="T65" fmla="*/ 4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7" h="71">
                  <a:moveTo>
                    <a:pt x="95" y="46"/>
                  </a:moveTo>
                  <a:cubicBezTo>
                    <a:pt x="94" y="45"/>
                    <a:pt x="93" y="44"/>
                    <a:pt x="93" y="42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3"/>
                    <a:pt x="93" y="33"/>
                    <a:pt x="93" y="32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84" y="13"/>
                    <a:pt x="83" y="12"/>
                    <a:pt x="81" y="12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5" y="10"/>
                    <a:pt x="74" y="9"/>
                    <a:pt x="73" y="6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2" y="2"/>
                    <a:pt x="69" y="0"/>
                    <a:pt x="66" y="0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4"/>
                    <a:pt x="21" y="6"/>
                    <a:pt x="20" y="7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4" y="28"/>
                    <a:pt x="2" y="30"/>
                    <a:pt x="0" y="3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1"/>
                    <a:pt x="1" y="42"/>
                    <a:pt x="2" y="4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10" y="54"/>
                    <a:pt x="12" y="55"/>
                    <a:pt x="14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3" y="70"/>
                    <a:pt x="35" y="71"/>
                    <a:pt x="37" y="71"/>
                  </a:cubicBezTo>
                  <a:cubicBezTo>
                    <a:pt x="58" y="71"/>
                    <a:pt x="58" y="71"/>
                    <a:pt x="58" y="71"/>
                  </a:cubicBezTo>
                  <a:cubicBezTo>
                    <a:pt x="59" y="71"/>
                    <a:pt x="60" y="71"/>
                    <a:pt x="61" y="71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5" y="64"/>
                    <a:pt x="76" y="64"/>
                    <a:pt x="76" y="6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10" y="61"/>
                    <a:pt x="110" y="61"/>
                    <a:pt x="110" y="61"/>
                  </a:cubicBezTo>
                  <a:cubicBezTo>
                    <a:pt x="110" y="61"/>
                    <a:pt x="111" y="60"/>
                    <a:pt x="111" y="60"/>
                  </a:cubicBezTo>
                  <a:cubicBezTo>
                    <a:pt x="117" y="48"/>
                    <a:pt x="117" y="48"/>
                    <a:pt x="117" y="48"/>
                  </a:cubicBezTo>
                  <a:cubicBezTo>
                    <a:pt x="100" y="48"/>
                    <a:pt x="100" y="48"/>
                    <a:pt x="100" y="48"/>
                  </a:cubicBezTo>
                  <a:cubicBezTo>
                    <a:pt x="98" y="48"/>
                    <a:pt x="96" y="48"/>
                    <a:pt x="95" y="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31">
              <a:extLst>
                <a:ext uri="{FF2B5EF4-FFF2-40B4-BE49-F238E27FC236}">
                  <a16:creationId xmlns:a16="http://schemas.microsoft.com/office/drawing/2014/main" id="{3B7E6D71-29FA-463A-A364-1817DDC15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988" y="3670301"/>
              <a:ext cx="198438" cy="203200"/>
            </a:xfrm>
            <a:custGeom>
              <a:avLst/>
              <a:gdLst>
                <a:gd name="T0" fmla="*/ 65 w 66"/>
                <a:gd name="T1" fmla="*/ 37 h 68"/>
                <a:gd name="T2" fmla="*/ 65 w 66"/>
                <a:gd name="T3" fmla="*/ 39 h 68"/>
                <a:gd name="T4" fmla="*/ 55 w 66"/>
                <a:gd name="T5" fmla="*/ 57 h 68"/>
                <a:gd name="T6" fmla="*/ 55 w 66"/>
                <a:gd name="T7" fmla="*/ 57 h 68"/>
                <a:gd name="T8" fmla="*/ 55 w 66"/>
                <a:gd name="T9" fmla="*/ 58 h 68"/>
                <a:gd name="T10" fmla="*/ 53 w 66"/>
                <a:gd name="T11" fmla="*/ 67 h 68"/>
                <a:gd name="T12" fmla="*/ 48 w 66"/>
                <a:gd name="T13" fmla="*/ 66 h 68"/>
                <a:gd name="T14" fmla="*/ 30 w 66"/>
                <a:gd name="T15" fmla="*/ 50 h 68"/>
                <a:gd name="T16" fmla="*/ 19 w 66"/>
                <a:gd name="T17" fmla="*/ 31 h 68"/>
                <a:gd name="T18" fmla="*/ 16 w 66"/>
                <a:gd name="T19" fmla="*/ 30 h 68"/>
                <a:gd name="T20" fmla="*/ 7 w 66"/>
                <a:gd name="T21" fmla="*/ 30 h 68"/>
                <a:gd name="T22" fmla="*/ 6 w 66"/>
                <a:gd name="T23" fmla="*/ 29 h 68"/>
                <a:gd name="T24" fmla="*/ 5 w 66"/>
                <a:gd name="T25" fmla="*/ 21 h 68"/>
                <a:gd name="T26" fmla="*/ 0 w 66"/>
                <a:gd name="T27" fmla="*/ 19 h 68"/>
                <a:gd name="T28" fmla="*/ 0 w 66"/>
                <a:gd name="T29" fmla="*/ 19 h 68"/>
                <a:gd name="T30" fmla="*/ 0 w 66"/>
                <a:gd name="T31" fmla="*/ 18 h 68"/>
                <a:gd name="T32" fmla="*/ 16 w 66"/>
                <a:gd name="T33" fmla="*/ 12 h 68"/>
                <a:gd name="T34" fmla="*/ 18 w 66"/>
                <a:gd name="T35" fmla="*/ 11 h 68"/>
                <a:gd name="T36" fmla="*/ 24 w 66"/>
                <a:gd name="T37" fmla="*/ 0 h 68"/>
                <a:gd name="T38" fmla="*/ 31 w 66"/>
                <a:gd name="T39" fmla="*/ 3 h 68"/>
                <a:gd name="T40" fmla="*/ 34 w 66"/>
                <a:gd name="T41" fmla="*/ 2 h 68"/>
                <a:gd name="T42" fmla="*/ 37 w 66"/>
                <a:gd name="T43" fmla="*/ 0 h 68"/>
                <a:gd name="T44" fmla="*/ 38 w 66"/>
                <a:gd name="T45" fmla="*/ 0 h 68"/>
                <a:gd name="T46" fmla="*/ 51 w 66"/>
                <a:gd name="T47" fmla="*/ 6 h 68"/>
                <a:gd name="T48" fmla="*/ 58 w 66"/>
                <a:gd name="T49" fmla="*/ 6 h 68"/>
                <a:gd name="T50" fmla="*/ 59 w 66"/>
                <a:gd name="T51" fmla="*/ 9 h 68"/>
                <a:gd name="T52" fmla="*/ 62 w 66"/>
                <a:gd name="T53" fmla="*/ 12 h 68"/>
                <a:gd name="T54" fmla="*/ 65 w 66"/>
                <a:gd name="T55" fmla="*/ 15 h 68"/>
                <a:gd name="T56" fmla="*/ 65 w 66"/>
                <a:gd name="T57" fmla="*/ 17 h 68"/>
                <a:gd name="T58" fmla="*/ 65 w 66"/>
                <a:gd name="T59" fmla="*/ 19 h 68"/>
                <a:gd name="T60" fmla="*/ 62 w 66"/>
                <a:gd name="T61" fmla="*/ 23 h 68"/>
                <a:gd name="T62" fmla="*/ 61 w 66"/>
                <a:gd name="T63" fmla="*/ 24 h 68"/>
                <a:gd name="T64" fmla="*/ 61 w 66"/>
                <a:gd name="T65" fmla="*/ 28 h 68"/>
                <a:gd name="T66" fmla="*/ 65 w 66"/>
                <a:gd name="T67" fmla="*/ 3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6" h="68">
                  <a:moveTo>
                    <a:pt x="65" y="37"/>
                  </a:moveTo>
                  <a:cubicBezTo>
                    <a:pt x="65" y="38"/>
                    <a:pt x="65" y="39"/>
                    <a:pt x="65" y="39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8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1" y="68"/>
                    <a:pt x="49" y="67"/>
                    <a:pt x="48" y="66"/>
                  </a:cubicBezTo>
                  <a:cubicBezTo>
                    <a:pt x="42" y="61"/>
                    <a:pt x="31" y="50"/>
                    <a:pt x="30" y="50"/>
                  </a:cubicBezTo>
                  <a:cubicBezTo>
                    <a:pt x="28" y="49"/>
                    <a:pt x="22" y="36"/>
                    <a:pt x="19" y="31"/>
                  </a:cubicBezTo>
                  <a:cubicBezTo>
                    <a:pt x="18" y="30"/>
                    <a:pt x="17" y="30"/>
                    <a:pt x="16" y="30"/>
                  </a:cubicBezTo>
                  <a:cubicBezTo>
                    <a:pt x="13" y="31"/>
                    <a:pt x="10" y="32"/>
                    <a:pt x="7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4" y="27"/>
                    <a:pt x="3" y="24"/>
                    <a:pt x="5" y="21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7" y="12"/>
                    <a:pt x="18" y="11"/>
                    <a:pt x="18" y="11"/>
                  </a:cubicBezTo>
                  <a:cubicBezTo>
                    <a:pt x="20" y="8"/>
                    <a:pt x="24" y="1"/>
                    <a:pt x="24" y="0"/>
                  </a:cubicBezTo>
                  <a:cubicBezTo>
                    <a:pt x="24" y="0"/>
                    <a:pt x="28" y="1"/>
                    <a:pt x="31" y="3"/>
                  </a:cubicBezTo>
                  <a:cubicBezTo>
                    <a:pt x="32" y="3"/>
                    <a:pt x="33" y="3"/>
                    <a:pt x="34" y="2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8" y="0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4" y="7"/>
                    <a:pt x="56" y="7"/>
                    <a:pt x="58" y="6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1"/>
                    <a:pt x="60" y="12"/>
                    <a:pt x="62" y="12"/>
                  </a:cubicBezTo>
                  <a:cubicBezTo>
                    <a:pt x="63" y="12"/>
                    <a:pt x="65" y="13"/>
                    <a:pt x="65" y="15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6" y="17"/>
                    <a:pt x="65" y="18"/>
                    <a:pt x="65" y="19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0" y="25"/>
                    <a:pt x="60" y="27"/>
                    <a:pt x="61" y="28"/>
                  </a:cubicBezTo>
                  <a:lnTo>
                    <a:pt x="65" y="3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32">
              <a:extLst>
                <a:ext uri="{FF2B5EF4-FFF2-40B4-BE49-F238E27FC236}">
                  <a16:creationId xmlns:a16="http://schemas.microsoft.com/office/drawing/2014/main" id="{EC2767C3-77B8-4FF5-8B0E-1FE92FADE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2863" y="3286126"/>
              <a:ext cx="314325" cy="244475"/>
            </a:xfrm>
            <a:custGeom>
              <a:avLst/>
              <a:gdLst>
                <a:gd name="T0" fmla="*/ 98 w 105"/>
                <a:gd name="T1" fmla="*/ 68 h 82"/>
                <a:gd name="T2" fmla="*/ 100 w 105"/>
                <a:gd name="T3" fmla="*/ 68 h 82"/>
                <a:gd name="T4" fmla="*/ 103 w 105"/>
                <a:gd name="T5" fmla="*/ 67 h 82"/>
                <a:gd name="T6" fmla="*/ 105 w 105"/>
                <a:gd name="T7" fmla="*/ 64 h 82"/>
                <a:gd name="T8" fmla="*/ 101 w 105"/>
                <a:gd name="T9" fmla="*/ 55 h 82"/>
                <a:gd name="T10" fmla="*/ 100 w 105"/>
                <a:gd name="T11" fmla="*/ 53 h 82"/>
                <a:gd name="T12" fmla="*/ 100 w 105"/>
                <a:gd name="T13" fmla="*/ 41 h 82"/>
                <a:gd name="T14" fmla="*/ 98 w 105"/>
                <a:gd name="T15" fmla="*/ 37 h 82"/>
                <a:gd name="T16" fmla="*/ 95 w 105"/>
                <a:gd name="T17" fmla="*/ 36 h 82"/>
                <a:gd name="T18" fmla="*/ 93 w 105"/>
                <a:gd name="T19" fmla="*/ 32 h 82"/>
                <a:gd name="T20" fmla="*/ 95 w 105"/>
                <a:gd name="T21" fmla="*/ 29 h 82"/>
                <a:gd name="T22" fmla="*/ 98 w 105"/>
                <a:gd name="T23" fmla="*/ 27 h 82"/>
                <a:gd name="T24" fmla="*/ 100 w 105"/>
                <a:gd name="T25" fmla="*/ 22 h 82"/>
                <a:gd name="T26" fmla="*/ 91 w 105"/>
                <a:gd name="T27" fmla="*/ 1 h 82"/>
                <a:gd name="T28" fmla="*/ 89 w 105"/>
                <a:gd name="T29" fmla="*/ 0 h 82"/>
                <a:gd name="T30" fmla="*/ 86 w 105"/>
                <a:gd name="T31" fmla="*/ 3 h 82"/>
                <a:gd name="T32" fmla="*/ 70 w 105"/>
                <a:gd name="T33" fmla="*/ 3 h 82"/>
                <a:gd name="T34" fmla="*/ 70 w 105"/>
                <a:gd name="T35" fmla="*/ 14 h 82"/>
                <a:gd name="T36" fmla="*/ 59 w 105"/>
                <a:gd name="T37" fmla="*/ 14 h 82"/>
                <a:gd name="T38" fmla="*/ 53 w 105"/>
                <a:gd name="T39" fmla="*/ 8 h 82"/>
                <a:gd name="T40" fmla="*/ 40 w 105"/>
                <a:gd name="T41" fmla="*/ 8 h 82"/>
                <a:gd name="T42" fmla="*/ 7 w 105"/>
                <a:gd name="T43" fmla="*/ 23 h 82"/>
                <a:gd name="T44" fmla="*/ 6 w 105"/>
                <a:gd name="T45" fmla="*/ 23 h 82"/>
                <a:gd name="T46" fmla="*/ 4 w 105"/>
                <a:gd name="T47" fmla="*/ 26 h 82"/>
                <a:gd name="T48" fmla="*/ 1 w 105"/>
                <a:gd name="T49" fmla="*/ 35 h 82"/>
                <a:gd name="T50" fmla="*/ 4 w 105"/>
                <a:gd name="T51" fmla="*/ 47 h 82"/>
                <a:gd name="T52" fmla="*/ 4 w 105"/>
                <a:gd name="T53" fmla="*/ 53 h 82"/>
                <a:gd name="T54" fmla="*/ 44 w 105"/>
                <a:gd name="T55" fmla="*/ 71 h 82"/>
                <a:gd name="T56" fmla="*/ 46 w 105"/>
                <a:gd name="T57" fmla="*/ 74 h 82"/>
                <a:gd name="T58" fmla="*/ 50 w 105"/>
                <a:gd name="T59" fmla="*/ 73 h 82"/>
                <a:gd name="T60" fmla="*/ 51 w 105"/>
                <a:gd name="T61" fmla="*/ 73 h 82"/>
                <a:gd name="T62" fmla="*/ 53 w 105"/>
                <a:gd name="T63" fmla="*/ 73 h 82"/>
                <a:gd name="T64" fmla="*/ 56 w 105"/>
                <a:gd name="T65" fmla="*/ 74 h 82"/>
                <a:gd name="T66" fmla="*/ 61 w 105"/>
                <a:gd name="T67" fmla="*/ 78 h 82"/>
                <a:gd name="T68" fmla="*/ 67 w 105"/>
                <a:gd name="T69" fmla="*/ 78 h 82"/>
                <a:gd name="T70" fmla="*/ 70 w 105"/>
                <a:gd name="T71" fmla="*/ 77 h 82"/>
                <a:gd name="T72" fmla="*/ 82 w 105"/>
                <a:gd name="T73" fmla="*/ 77 h 82"/>
                <a:gd name="T74" fmla="*/ 85 w 105"/>
                <a:gd name="T75" fmla="*/ 78 h 82"/>
                <a:gd name="T76" fmla="*/ 88 w 105"/>
                <a:gd name="T77" fmla="*/ 82 h 82"/>
                <a:gd name="T78" fmla="*/ 95 w 105"/>
                <a:gd name="T79" fmla="*/ 70 h 82"/>
                <a:gd name="T80" fmla="*/ 98 w 105"/>
                <a:gd name="T81" fmla="*/ 6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5" h="82">
                  <a:moveTo>
                    <a:pt x="98" y="68"/>
                  </a:moveTo>
                  <a:cubicBezTo>
                    <a:pt x="100" y="68"/>
                    <a:pt x="100" y="68"/>
                    <a:pt x="100" y="68"/>
                  </a:cubicBezTo>
                  <a:cubicBezTo>
                    <a:pt x="101" y="68"/>
                    <a:pt x="102" y="67"/>
                    <a:pt x="103" y="67"/>
                  </a:cubicBezTo>
                  <a:cubicBezTo>
                    <a:pt x="105" y="64"/>
                    <a:pt x="105" y="64"/>
                    <a:pt x="105" y="64"/>
                  </a:cubicBezTo>
                  <a:cubicBezTo>
                    <a:pt x="101" y="55"/>
                    <a:pt x="101" y="55"/>
                    <a:pt x="101" y="55"/>
                  </a:cubicBezTo>
                  <a:cubicBezTo>
                    <a:pt x="100" y="55"/>
                    <a:pt x="100" y="54"/>
                    <a:pt x="100" y="53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39"/>
                    <a:pt x="99" y="38"/>
                    <a:pt x="98" y="37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4" y="35"/>
                    <a:pt x="93" y="34"/>
                    <a:pt x="93" y="32"/>
                  </a:cubicBezTo>
                  <a:cubicBezTo>
                    <a:pt x="93" y="31"/>
                    <a:pt x="94" y="29"/>
                    <a:pt x="95" y="2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0" y="26"/>
                    <a:pt x="101" y="24"/>
                    <a:pt x="100" y="22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0" y="1"/>
                    <a:pt x="90" y="0"/>
                    <a:pt x="89" y="0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4"/>
                    <a:pt x="5" y="25"/>
                    <a:pt x="4" y="26"/>
                  </a:cubicBezTo>
                  <a:cubicBezTo>
                    <a:pt x="1" y="28"/>
                    <a:pt x="0" y="32"/>
                    <a:pt x="1" y="35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5" y="49"/>
                    <a:pt x="4" y="52"/>
                    <a:pt x="4" y="53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2"/>
                    <a:pt x="46" y="73"/>
                    <a:pt x="46" y="74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1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4" y="73"/>
                    <a:pt x="55" y="73"/>
                    <a:pt x="56" y="74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2" y="80"/>
                    <a:pt x="65" y="80"/>
                    <a:pt x="67" y="78"/>
                  </a:cubicBezTo>
                  <a:cubicBezTo>
                    <a:pt x="68" y="77"/>
                    <a:pt x="69" y="77"/>
                    <a:pt x="70" y="77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83" y="77"/>
                    <a:pt x="84" y="77"/>
                    <a:pt x="85" y="78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6" y="69"/>
                    <a:pt x="97" y="68"/>
                    <a:pt x="98" y="6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33">
              <a:extLst>
                <a:ext uri="{FF2B5EF4-FFF2-40B4-BE49-F238E27FC236}">
                  <a16:creationId xmlns:a16="http://schemas.microsoft.com/office/drawing/2014/main" id="{93ABA6FD-F943-48DD-A600-DAEBCEF14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950" y="3563938"/>
              <a:ext cx="215900" cy="128588"/>
            </a:xfrm>
            <a:custGeom>
              <a:avLst/>
              <a:gdLst>
                <a:gd name="T0" fmla="*/ 7 w 72"/>
                <a:gd name="T1" fmla="*/ 33 h 43"/>
                <a:gd name="T2" fmla="*/ 11 w 72"/>
                <a:gd name="T3" fmla="*/ 36 h 43"/>
                <a:gd name="T4" fmla="*/ 24 w 72"/>
                <a:gd name="T5" fmla="*/ 42 h 43"/>
                <a:gd name="T6" fmla="*/ 32 w 72"/>
                <a:gd name="T7" fmla="*/ 42 h 43"/>
                <a:gd name="T8" fmla="*/ 39 w 72"/>
                <a:gd name="T9" fmla="*/ 38 h 43"/>
                <a:gd name="T10" fmla="*/ 46 w 72"/>
                <a:gd name="T11" fmla="*/ 38 h 43"/>
                <a:gd name="T12" fmla="*/ 56 w 72"/>
                <a:gd name="T13" fmla="*/ 34 h 43"/>
                <a:gd name="T14" fmla="*/ 70 w 72"/>
                <a:gd name="T15" fmla="*/ 15 h 43"/>
                <a:gd name="T16" fmla="*/ 68 w 72"/>
                <a:gd name="T17" fmla="*/ 3 h 43"/>
                <a:gd name="T18" fmla="*/ 65 w 72"/>
                <a:gd name="T19" fmla="*/ 0 h 43"/>
                <a:gd name="T20" fmla="*/ 63 w 72"/>
                <a:gd name="T21" fmla="*/ 1 h 43"/>
                <a:gd name="T22" fmla="*/ 49 w 72"/>
                <a:gd name="T23" fmla="*/ 1 h 43"/>
                <a:gd name="T24" fmla="*/ 47 w 72"/>
                <a:gd name="T25" fmla="*/ 1 h 43"/>
                <a:gd name="T26" fmla="*/ 31 w 72"/>
                <a:gd name="T27" fmla="*/ 10 h 43"/>
                <a:gd name="T28" fmla="*/ 29 w 72"/>
                <a:gd name="T29" fmla="*/ 11 h 43"/>
                <a:gd name="T30" fmla="*/ 7 w 72"/>
                <a:gd name="T31" fmla="*/ 11 h 43"/>
                <a:gd name="T32" fmla="*/ 6 w 72"/>
                <a:gd name="T33" fmla="*/ 14 h 43"/>
                <a:gd name="T34" fmla="*/ 1 w 72"/>
                <a:gd name="T35" fmla="*/ 22 h 43"/>
                <a:gd name="T36" fmla="*/ 0 w 72"/>
                <a:gd name="T37" fmla="*/ 25 h 43"/>
                <a:gd name="T38" fmla="*/ 7 w 72"/>
                <a:gd name="T39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43">
                  <a:moveTo>
                    <a:pt x="7" y="33"/>
                  </a:moveTo>
                  <a:cubicBezTo>
                    <a:pt x="8" y="34"/>
                    <a:pt x="9" y="35"/>
                    <a:pt x="11" y="36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7" y="43"/>
                    <a:pt x="30" y="43"/>
                    <a:pt x="32" y="42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41" y="37"/>
                    <a:pt x="44" y="37"/>
                    <a:pt x="46" y="38"/>
                  </a:cubicBezTo>
                  <a:cubicBezTo>
                    <a:pt x="49" y="39"/>
                    <a:pt x="53" y="37"/>
                    <a:pt x="56" y="34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2" y="12"/>
                    <a:pt x="72" y="6"/>
                    <a:pt x="68" y="3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4" y="1"/>
                    <a:pt x="64" y="1"/>
                    <a:pt x="63" y="1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1"/>
                    <a:pt x="48" y="1"/>
                    <a:pt x="47" y="1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0" y="11"/>
                    <a:pt x="29" y="11"/>
                    <a:pt x="29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2"/>
                    <a:pt x="6" y="13"/>
                    <a:pt x="6" y="14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0" y="24"/>
                    <a:pt x="0" y="25"/>
                  </a:cubicBezTo>
                  <a:lnTo>
                    <a:pt x="7" y="3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34">
              <a:extLst>
                <a:ext uri="{FF2B5EF4-FFF2-40B4-BE49-F238E27FC236}">
                  <a16:creationId xmlns:a16="http://schemas.microsoft.com/office/drawing/2014/main" id="{699AD0AC-DF7B-455E-88E5-5A329496A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600" y="3503613"/>
              <a:ext cx="215900" cy="92075"/>
            </a:xfrm>
            <a:custGeom>
              <a:avLst/>
              <a:gdLst>
                <a:gd name="T0" fmla="*/ 33 w 72"/>
                <a:gd name="T1" fmla="*/ 30 h 31"/>
                <a:gd name="T2" fmla="*/ 49 w 72"/>
                <a:gd name="T3" fmla="*/ 21 h 31"/>
                <a:gd name="T4" fmla="*/ 51 w 72"/>
                <a:gd name="T5" fmla="*/ 21 h 31"/>
                <a:gd name="T6" fmla="*/ 65 w 72"/>
                <a:gd name="T7" fmla="*/ 21 h 31"/>
                <a:gd name="T8" fmla="*/ 68 w 72"/>
                <a:gd name="T9" fmla="*/ 19 h 31"/>
                <a:gd name="T10" fmla="*/ 70 w 72"/>
                <a:gd name="T11" fmla="*/ 17 h 31"/>
                <a:gd name="T12" fmla="*/ 70 w 72"/>
                <a:gd name="T13" fmla="*/ 11 h 31"/>
                <a:gd name="T14" fmla="*/ 65 w 72"/>
                <a:gd name="T15" fmla="*/ 5 h 31"/>
                <a:gd name="T16" fmla="*/ 62 w 72"/>
                <a:gd name="T17" fmla="*/ 4 h 31"/>
                <a:gd name="T18" fmla="*/ 50 w 72"/>
                <a:gd name="T19" fmla="*/ 4 h 31"/>
                <a:gd name="T20" fmla="*/ 47 w 72"/>
                <a:gd name="T21" fmla="*/ 5 h 31"/>
                <a:gd name="T22" fmla="*/ 41 w 72"/>
                <a:gd name="T23" fmla="*/ 5 h 31"/>
                <a:gd name="T24" fmla="*/ 36 w 72"/>
                <a:gd name="T25" fmla="*/ 1 h 31"/>
                <a:gd name="T26" fmla="*/ 33 w 72"/>
                <a:gd name="T27" fmla="*/ 0 h 31"/>
                <a:gd name="T28" fmla="*/ 31 w 72"/>
                <a:gd name="T29" fmla="*/ 0 h 31"/>
                <a:gd name="T30" fmla="*/ 30 w 72"/>
                <a:gd name="T31" fmla="*/ 0 h 31"/>
                <a:gd name="T32" fmla="*/ 26 w 72"/>
                <a:gd name="T33" fmla="*/ 1 h 31"/>
                <a:gd name="T34" fmla="*/ 27 w 72"/>
                <a:gd name="T35" fmla="*/ 2 h 31"/>
                <a:gd name="T36" fmla="*/ 27 w 72"/>
                <a:gd name="T37" fmla="*/ 2 h 31"/>
                <a:gd name="T38" fmla="*/ 27 w 72"/>
                <a:gd name="T39" fmla="*/ 3 h 31"/>
                <a:gd name="T40" fmla="*/ 27 w 72"/>
                <a:gd name="T41" fmla="*/ 4 h 31"/>
                <a:gd name="T42" fmla="*/ 26 w 72"/>
                <a:gd name="T43" fmla="*/ 4 h 31"/>
                <a:gd name="T44" fmla="*/ 26 w 72"/>
                <a:gd name="T45" fmla="*/ 5 h 31"/>
                <a:gd name="T46" fmla="*/ 25 w 72"/>
                <a:gd name="T47" fmla="*/ 6 h 31"/>
                <a:gd name="T48" fmla="*/ 18 w 72"/>
                <a:gd name="T49" fmla="*/ 13 h 31"/>
                <a:gd name="T50" fmla="*/ 15 w 72"/>
                <a:gd name="T51" fmla="*/ 14 h 31"/>
                <a:gd name="T52" fmla="*/ 1 w 72"/>
                <a:gd name="T53" fmla="*/ 14 h 31"/>
                <a:gd name="T54" fmla="*/ 0 w 72"/>
                <a:gd name="T55" fmla="*/ 15 h 31"/>
                <a:gd name="T56" fmla="*/ 0 w 72"/>
                <a:gd name="T57" fmla="*/ 15 h 31"/>
                <a:gd name="T58" fmla="*/ 6 w 72"/>
                <a:gd name="T59" fmla="*/ 20 h 31"/>
                <a:gd name="T60" fmla="*/ 8 w 72"/>
                <a:gd name="T61" fmla="*/ 28 h 31"/>
                <a:gd name="T62" fmla="*/ 9 w 72"/>
                <a:gd name="T63" fmla="*/ 31 h 31"/>
                <a:gd name="T64" fmla="*/ 31 w 72"/>
                <a:gd name="T65" fmla="*/ 31 h 31"/>
                <a:gd name="T66" fmla="*/ 33 w 72"/>
                <a:gd name="T67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2" h="31">
                  <a:moveTo>
                    <a:pt x="33" y="30"/>
                  </a:move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1" y="21"/>
                    <a:pt x="51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6" y="21"/>
                    <a:pt x="67" y="20"/>
                    <a:pt x="68" y="19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2" y="15"/>
                    <a:pt x="72" y="13"/>
                    <a:pt x="70" y="11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4" y="4"/>
                    <a:pt x="63" y="4"/>
                    <a:pt x="62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9" y="4"/>
                    <a:pt x="48" y="4"/>
                    <a:pt x="47" y="5"/>
                  </a:cubicBezTo>
                  <a:cubicBezTo>
                    <a:pt x="45" y="7"/>
                    <a:pt x="42" y="7"/>
                    <a:pt x="41" y="5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5" y="0"/>
                    <a:pt x="34" y="0"/>
                    <a:pt x="3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1"/>
                    <a:pt x="27" y="1"/>
                    <a:pt x="27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2"/>
                    <a:pt x="27" y="3"/>
                    <a:pt x="27" y="3"/>
                  </a:cubicBezTo>
                  <a:cubicBezTo>
                    <a:pt x="27" y="3"/>
                    <a:pt x="27" y="3"/>
                    <a:pt x="27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6" y="6"/>
                    <a:pt x="25" y="6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7" y="14"/>
                    <a:pt x="16" y="14"/>
                    <a:pt x="15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0" y="14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3" y="15"/>
                    <a:pt x="5" y="18"/>
                    <a:pt x="6" y="20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9" y="29"/>
                    <a:pt x="9" y="30"/>
                    <a:pt x="9" y="31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1" y="31"/>
                    <a:pt x="32" y="31"/>
                    <a:pt x="33" y="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35">
              <a:extLst>
                <a:ext uri="{FF2B5EF4-FFF2-40B4-BE49-F238E27FC236}">
                  <a16:creationId xmlns:a16="http://schemas.microsoft.com/office/drawing/2014/main" id="{DA5D1128-6412-410D-B3C3-311A63589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6163" y="3595688"/>
              <a:ext cx="161925" cy="128588"/>
            </a:xfrm>
            <a:custGeom>
              <a:avLst/>
              <a:gdLst>
                <a:gd name="T0" fmla="*/ 47 w 54"/>
                <a:gd name="T1" fmla="*/ 24 h 43"/>
                <a:gd name="T2" fmla="*/ 52 w 54"/>
                <a:gd name="T3" fmla="*/ 21 h 43"/>
                <a:gd name="T4" fmla="*/ 54 w 54"/>
                <a:gd name="T5" fmla="*/ 17 h 43"/>
                <a:gd name="T6" fmla="*/ 51 w 54"/>
                <a:gd name="T7" fmla="*/ 13 h 43"/>
                <a:gd name="T8" fmla="*/ 49 w 54"/>
                <a:gd name="T9" fmla="*/ 13 h 43"/>
                <a:gd name="T10" fmla="*/ 45 w 54"/>
                <a:gd name="T11" fmla="*/ 8 h 43"/>
                <a:gd name="T12" fmla="*/ 45 w 54"/>
                <a:gd name="T13" fmla="*/ 7 h 43"/>
                <a:gd name="T14" fmla="*/ 45 w 54"/>
                <a:gd name="T15" fmla="*/ 7 h 43"/>
                <a:gd name="T16" fmla="*/ 41 w 54"/>
                <a:gd name="T17" fmla="*/ 6 h 43"/>
                <a:gd name="T18" fmla="*/ 31 w 54"/>
                <a:gd name="T19" fmla="*/ 1 h 43"/>
                <a:gd name="T20" fmla="*/ 27 w 54"/>
                <a:gd name="T21" fmla="*/ 0 h 43"/>
                <a:gd name="T22" fmla="*/ 19 w 54"/>
                <a:gd name="T23" fmla="*/ 0 h 43"/>
                <a:gd name="T24" fmla="*/ 1 w 54"/>
                <a:gd name="T25" fmla="*/ 29 h 43"/>
                <a:gd name="T26" fmla="*/ 4 w 54"/>
                <a:gd name="T27" fmla="*/ 34 h 43"/>
                <a:gd name="T28" fmla="*/ 5 w 54"/>
                <a:gd name="T29" fmla="*/ 34 h 43"/>
                <a:gd name="T30" fmla="*/ 8 w 54"/>
                <a:gd name="T31" fmla="*/ 37 h 43"/>
                <a:gd name="T32" fmla="*/ 8 w 54"/>
                <a:gd name="T33" fmla="*/ 43 h 43"/>
                <a:gd name="T34" fmla="*/ 9 w 54"/>
                <a:gd name="T35" fmla="*/ 43 h 43"/>
                <a:gd name="T36" fmla="*/ 15 w 54"/>
                <a:gd name="T37" fmla="*/ 43 h 43"/>
                <a:gd name="T38" fmla="*/ 19 w 54"/>
                <a:gd name="T39" fmla="*/ 39 h 43"/>
                <a:gd name="T40" fmla="*/ 23 w 54"/>
                <a:gd name="T41" fmla="*/ 35 h 43"/>
                <a:gd name="T42" fmla="*/ 37 w 54"/>
                <a:gd name="T43" fmla="*/ 35 h 43"/>
                <a:gd name="T44" fmla="*/ 44 w 54"/>
                <a:gd name="T45" fmla="*/ 32 h 43"/>
                <a:gd name="T46" fmla="*/ 44 w 54"/>
                <a:gd name="T47" fmla="*/ 32 h 43"/>
                <a:gd name="T48" fmla="*/ 44 w 54"/>
                <a:gd name="T49" fmla="*/ 29 h 43"/>
                <a:gd name="T50" fmla="*/ 47 w 54"/>
                <a:gd name="T51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43">
                  <a:moveTo>
                    <a:pt x="47" y="24"/>
                  </a:moveTo>
                  <a:cubicBezTo>
                    <a:pt x="52" y="21"/>
                    <a:pt x="52" y="21"/>
                    <a:pt x="52" y="21"/>
                  </a:cubicBezTo>
                  <a:cubicBezTo>
                    <a:pt x="54" y="20"/>
                    <a:pt x="54" y="18"/>
                    <a:pt x="54" y="17"/>
                  </a:cubicBezTo>
                  <a:cubicBezTo>
                    <a:pt x="54" y="15"/>
                    <a:pt x="53" y="13"/>
                    <a:pt x="51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7" y="13"/>
                    <a:pt x="45" y="11"/>
                    <a:pt x="45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3" y="7"/>
                    <a:pt x="42" y="6"/>
                    <a:pt x="41" y="6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0" y="0"/>
                    <a:pt x="28" y="0"/>
                    <a:pt x="27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0" y="31"/>
                    <a:pt x="1" y="34"/>
                    <a:pt x="4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7" y="34"/>
                    <a:pt x="8" y="36"/>
                    <a:pt x="8" y="37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7" y="43"/>
                    <a:pt x="19" y="41"/>
                    <a:pt x="19" y="39"/>
                  </a:cubicBezTo>
                  <a:cubicBezTo>
                    <a:pt x="19" y="37"/>
                    <a:pt x="21" y="35"/>
                    <a:pt x="23" y="35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40" y="35"/>
                    <a:pt x="42" y="34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7"/>
                    <a:pt x="45" y="25"/>
                    <a:pt x="47" y="2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36">
              <a:extLst>
                <a:ext uri="{FF2B5EF4-FFF2-40B4-BE49-F238E27FC236}">
                  <a16:creationId xmlns:a16="http://schemas.microsoft.com/office/drawing/2014/main" id="{AF0F9CB3-A65E-45BC-ABD2-5FEAB9E9DB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0" y="3365501"/>
              <a:ext cx="119063" cy="114300"/>
            </a:xfrm>
            <a:custGeom>
              <a:avLst/>
              <a:gdLst>
                <a:gd name="T0" fmla="*/ 24 w 40"/>
                <a:gd name="T1" fmla="*/ 31 h 38"/>
                <a:gd name="T2" fmla="*/ 32 w 40"/>
                <a:gd name="T3" fmla="*/ 17 h 38"/>
                <a:gd name="T4" fmla="*/ 40 w 40"/>
                <a:gd name="T5" fmla="*/ 4 h 38"/>
                <a:gd name="T6" fmla="*/ 40 w 40"/>
                <a:gd name="T7" fmla="*/ 2 h 38"/>
                <a:gd name="T8" fmla="*/ 39 w 40"/>
                <a:gd name="T9" fmla="*/ 0 h 38"/>
                <a:gd name="T10" fmla="*/ 24 w 40"/>
                <a:gd name="T11" fmla="*/ 1 h 38"/>
                <a:gd name="T12" fmla="*/ 22 w 40"/>
                <a:gd name="T13" fmla="*/ 1 h 38"/>
                <a:gd name="T14" fmla="*/ 17 w 40"/>
                <a:gd name="T15" fmla="*/ 5 h 38"/>
                <a:gd name="T16" fmla="*/ 16 w 40"/>
                <a:gd name="T17" fmla="*/ 9 h 38"/>
                <a:gd name="T18" fmla="*/ 18 w 40"/>
                <a:gd name="T19" fmla="*/ 13 h 38"/>
                <a:gd name="T20" fmla="*/ 16 w 40"/>
                <a:gd name="T21" fmla="*/ 17 h 38"/>
                <a:gd name="T22" fmla="*/ 11 w 40"/>
                <a:gd name="T23" fmla="*/ 15 h 38"/>
                <a:gd name="T24" fmla="*/ 11 w 40"/>
                <a:gd name="T25" fmla="*/ 15 h 38"/>
                <a:gd name="T26" fmla="*/ 6 w 40"/>
                <a:gd name="T27" fmla="*/ 13 h 38"/>
                <a:gd name="T28" fmla="*/ 4 w 40"/>
                <a:gd name="T29" fmla="*/ 15 h 38"/>
                <a:gd name="T30" fmla="*/ 2 w 40"/>
                <a:gd name="T31" fmla="*/ 17 h 38"/>
                <a:gd name="T32" fmla="*/ 0 w 40"/>
                <a:gd name="T33" fmla="*/ 26 h 38"/>
                <a:gd name="T34" fmla="*/ 9 w 40"/>
                <a:gd name="T35" fmla="*/ 26 h 38"/>
                <a:gd name="T36" fmla="*/ 23 w 40"/>
                <a:gd name="T37" fmla="*/ 36 h 38"/>
                <a:gd name="T38" fmla="*/ 24 w 40"/>
                <a:gd name="T39" fmla="*/ 37 h 38"/>
                <a:gd name="T40" fmla="*/ 24 w 40"/>
                <a:gd name="T41" fmla="*/ 38 h 38"/>
                <a:gd name="T42" fmla="*/ 24 w 40"/>
                <a:gd name="T43" fmla="*/ 38 h 38"/>
                <a:gd name="T44" fmla="*/ 24 w 40"/>
                <a:gd name="T45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38">
                  <a:moveTo>
                    <a:pt x="24" y="31"/>
                  </a:moveTo>
                  <a:cubicBezTo>
                    <a:pt x="24" y="25"/>
                    <a:pt x="27" y="20"/>
                    <a:pt x="32" y="17"/>
                  </a:cubicBezTo>
                  <a:cubicBezTo>
                    <a:pt x="37" y="14"/>
                    <a:pt x="40" y="9"/>
                    <a:pt x="40" y="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2"/>
                    <a:pt x="40" y="1"/>
                    <a:pt x="39" y="0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4" y="1"/>
                    <a:pt x="23" y="1"/>
                    <a:pt x="22" y="1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6"/>
                    <a:pt x="16" y="8"/>
                    <a:pt x="16" y="9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5"/>
                    <a:pt x="18" y="16"/>
                    <a:pt x="16" y="17"/>
                  </a:cubicBezTo>
                  <a:cubicBezTo>
                    <a:pt x="15" y="19"/>
                    <a:pt x="12" y="18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3"/>
                    <a:pt x="8" y="12"/>
                    <a:pt x="6" y="13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3" y="16"/>
                    <a:pt x="2" y="1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15" y="26"/>
                    <a:pt x="21" y="30"/>
                    <a:pt x="23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8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lnTo>
                    <a:pt x="24" y="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37">
              <a:extLst>
                <a:ext uri="{FF2B5EF4-FFF2-40B4-BE49-F238E27FC236}">
                  <a16:creationId xmlns:a16="http://schemas.microsoft.com/office/drawing/2014/main" id="{F562AD63-65CE-4E6B-A1E1-69129EC967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7575" y="3443288"/>
              <a:ext cx="128588" cy="107950"/>
            </a:xfrm>
            <a:custGeom>
              <a:avLst/>
              <a:gdLst>
                <a:gd name="T0" fmla="*/ 39 w 43"/>
                <a:gd name="T1" fmla="*/ 28 h 36"/>
                <a:gd name="T2" fmla="*/ 42 w 43"/>
                <a:gd name="T3" fmla="*/ 22 h 36"/>
                <a:gd name="T4" fmla="*/ 42 w 43"/>
                <a:gd name="T5" fmla="*/ 11 h 36"/>
                <a:gd name="T6" fmla="*/ 41 w 43"/>
                <a:gd name="T7" fmla="*/ 10 h 36"/>
                <a:gd name="T8" fmla="*/ 27 w 43"/>
                <a:gd name="T9" fmla="*/ 0 h 36"/>
                <a:gd name="T10" fmla="*/ 18 w 43"/>
                <a:gd name="T11" fmla="*/ 0 h 36"/>
                <a:gd name="T12" fmla="*/ 18 w 43"/>
                <a:gd name="T13" fmla="*/ 1 h 36"/>
                <a:gd name="T14" fmla="*/ 17 w 43"/>
                <a:gd name="T15" fmla="*/ 3 h 36"/>
                <a:gd name="T16" fmla="*/ 4 w 43"/>
                <a:gd name="T17" fmla="*/ 14 h 36"/>
                <a:gd name="T18" fmla="*/ 0 w 43"/>
                <a:gd name="T19" fmla="*/ 15 h 36"/>
                <a:gd name="T20" fmla="*/ 26 w 43"/>
                <a:gd name="T21" fmla="*/ 35 h 36"/>
                <a:gd name="T22" fmla="*/ 28 w 43"/>
                <a:gd name="T23" fmla="*/ 36 h 36"/>
                <a:gd name="T24" fmla="*/ 32 w 43"/>
                <a:gd name="T25" fmla="*/ 36 h 36"/>
                <a:gd name="T26" fmla="*/ 39 w 43"/>
                <a:gd name="T2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" h="36">
                  <a:moveTo>
                    <a:pt x="39" y="28"/>
                  </a:moveTo>
                  <a:cubicBezTo>
                    <a:pt x="42" y="22"/>
                    <a:pt x="42" y="22"/>
                    <a:pt x="42" y="22"/>
                  </a:cubicBezTo>
                  <a:cubicBezTo>
                    <a:pt x="43" y="19"/>
                    <a:pt x="43" y="14"/>
                    <a:pt x="42" y="11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9" y="4"/>
                    <a:pt x="33" y="0"/>
                    <a:pt x="2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6"/>
                    <a:pt x="27" y="36"/>
                    <a:pt x="28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5" y="34"/>
                    <a:pt x="38" y="31"/>
                    <a:pt x="39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38">
              <a:extLst>
                <a:ext uri="{FF2B5EF4-FFF2-40B4-BE49-F238E27FC236}">
                  <a16:creationId xmlns:a16="http://schemas.microsoft.com/office/drawing/2014/main" id="{6B6B62C3-0892-40D0-A05C-B43F4CF2FC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5" y="3662363"/>
              <a:ext cx="409575" cy="396875"/>
            </a:xfrm>
            <a:custGeom>
              <a:avLst/>
              <a:gdLst>
                <a:gd name="T0" fmla="*/ 70 w 137"/>
                <a:gd name="T1" fmla="*/ 9 h 133"/>
                <a:gd name="T2" fmla="*/ 64 w 137"/>
                <a:gd name="T3" fmla="*/ 5 h 133"/>
                <a:gd name="T4" fmla="*/ 51 w 137"/>
                <a:gd name="T5" fmla="*/ 2 h 133"/>
                <a:gd name="T6" fmla="*/ 44 w 137"/>
                <a:gd name="T7" fmla="*/ 6 h 133"/>
                <a:gd name="T8" fmla="*/ 36 w 137"/>
                <a:gd name="T9" fmla="*/ 10 h 133"/>
                <a:gd name="T10" fmla="*/ 15 w 137"/>
                <a:gd name="T11" fmla="*/ 13 h 133"/>
                <a:gd name="T12" fmla="*/ 7 w 137"/>
                <a:gd name="T13" fmla="*/ 21 h 133"/>
                <a:gd name="T14" fmla="*/ 0 w 137"/>
                <a:gd name="T15" fmla="*/ 21 h 133"/>
                <a:gd name="T16" fmla="*/ 4 w 137"/>
                <a:gd name="T17" fmla="*/ 41 h 133"/>
                <a:gd name="T18" fmla="*/ 7 w 137"/>
                <a:gd name="T19" fmla="*/ 51 h 133"/>
                <a:gd name="T20" fmla="*/ 26 w 137"/>
                <a:gd name="T21" fmla="*/ 43 h 133"/>
                <a:gd name="T22" fmla="*/ 40 w 137"/>
                <a:gd name="T23" fmla="*/ 55 h 133"/>
                <a:gd name="T24" fmla="*/ 50 w 137"/>
                <a:gd name="T25" fmla="*/ 68 h 133"/>
                <a:gd name="T26" fmla="*/ 64 w 137"/>
                <a:gd name="T27" fmla="*/ 79 h 133"/>
                <a:gd name="T28" fmla="*/ 81 w 137"/>
                <a:gd name="T29" fmla="*/ 87 h 133"/>
                <a:gd name="T30" fmla="*/ 94 w 137"/>
                <a:gd name="T31" fmla="*/ 99 h 133"/>
                <a:gd name="T32" fmla="*/ 108 w 137"/>
                <a:gd name="T33" fmla="*/ 111 h 133"/>
                <a:gd name="T34" fmla="*/ 109 w 137"/>
                <a:gd name="T35" fmla="*/ 114 h 133"/>
                <a:gd name="T36" fmla="*/ 108 w 137"/>
                <a:gd name="T37" fmla="*/ 133 h 133"/>
                <a:gd name="T38" fmla="*/ 117 w 137"/>
                <a:gd name="T39" fmla="*/ 123 h 133"/>
                <a:gd name="T40" fmla="*/ 121 w 137"/>
                <a:gd name="T41" fmla="*/ 115 h 133"/>
                <a:gd name="T42" fmla="*/ 116 w 137"/>
                <a:gd name="T43" fmla="*/ 105 h 133"/>
                <a:gd name="T44" fmla="*/ 120 w 137"/>
                <a:gd name="T45" fmla="*/ 100 h 133"/>
                <a:gd name="T46" fmla="*/ 130 w 137"/>
                <a:gd name="T47" fmla="*/ 106 h 133"/>
                <a:gd name="T48" fmla="*/ 137 w 137"/>
                <a:gd name="T49" fmla="*/ 106 h 133"/>
                <a:gd name="T50" fmla="*/ 133 w 137"/>
                <a:gd name="T51" fmla="*/ 97 h 133"/>
                <a:gd name="T52" fmla="*/ 117 w 137"/>
                <a:gd name="T53" fmla="*/ 88 h 133"/>
                <a:gd name="T54" fmla="*/ 109 w 137"/>
                <a:gd name="T55" fmla="*/ 84 h 133"/>
                <a:gd name="T56" fmla="*/ 102 w 137"/>
                <a:gd name="T57" fmla="*/ 78 h 133"/>
                <a:gd name="T58" fmla="*/ 91 w 137"/>
                <a:gd name="T59" fmla="*/ 74 h 133"/>
                <a:gd name="T60" fmla="*/ 82 w 137"/>
                <a:gd name="T61" fmla="*/ 56 h 133"/>
                <a:gd name="T62" fmla="*/ 63 w 137"/>
                <a:gd name="T63" fmla="*/ 41 h 133"/>
                <a:gd name="T64" fmla="*/ 68 w 137"/>
                <a:gd name="T65" fmla="*/ 22 h 133"/>
                <a:gd name="T66" fmla="*/ 76 w 137"/>
                <a:gd name="T67" fmla="*/ 22 h 133"/>
                <a:gd name="T68" fmla="*/ 76 w 137"/>
                <a:gd name="T69" fmla="*/ 2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" h="133">
                  <a:moveTo>
                    <a:pt x="76" y="20"/>
                  </a:moveTo>
                  <a:cubicBezTo>
                    <a:pt x="78" y="15"/>
                    <a:pt x="75" y="10"/>
                    <a:pt x="70" y="9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5" y="7"/>
                    <a:pt x="64" y="6"/>
                    <a:pt x="64" y="5"/>
                  </a:cubicBezTo>
                  <a:cubicBezTo>
                    <a:pt x="63" y="3"/>
                    <a:pt x="61" y="2"/>
                    <a:pt x="59" y="2"/>
                  </a:cubicBezTo>
                  <a:cubicBezTo>
                    <a:pt x="59" y="2"/>
                    <a:pt x="52" y="0"/>
                    <a:pt x="51" y="2"/>
                  </a:cubicBezTo>
                  <a:cubicBezTo>
                    <a:pt x="50" y="3"/>
                    <a:pt x="50" y="6"/>
                    <a:pt x="50" y="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2" y="6"/>
                    <a:pt x="39" y="7"/>
                    <a:pt x="38" y="8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4" y="12"/>
                    <a:pt x="32" y="13"/>
                    <a:pt x="29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3" y="13"/>
                    <a:pt x="11" y="15"/>
                    <a:pt x="11" y="17"/>
                  </a:cubicBezTo>
                  <a:cubicBezTo>
                    <a:pt x="11" y="19"/>
                    <a:pt x="9" y="21"/>
                    <a:pt x="7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0" y="21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0"/>
                    <a:pt x="2" y="41"/>
                    <a:pt x="4" y="41"/>
                  </a:cubicBezTo>
                  <a:cubicBezTo>
                    <a:pt x="5" y="41"/>
                    <a:pt x="7" y="42"/>
                    <a:pt x="7" y="44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7" y="44"/>
                    <a:pt x="22" y="42"/>
                    <a:pt x="26" y="43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35" y="46"/>
                    <a:pt x="39" y="50"/>
                    <a:pt x="40" y="55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3" y="62"/>
                    <a:pt x="46" y="66"/>
                    <a:pt x="50" y="68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7" y="83"/>
                    <a:pt x="72" y="86"/>
                    <a:pt x="77" y="87"/>
                  </a:cubicBezTo>
                  <a:cubicBezTo>
                    <a:pt x="79" y="87"/>
                    <a:pt x="81" y="87"/>
                    <a:pt x="81" y="87"/>
                  </a:cubicBezTo>
                  <a:cubicBezTo>
                    <a:pt x="82" y="87"/>
                    <a:pt x="85" y="92"/>
                    <a:pt x="88" y="95"/>
                  </a:cubicBezTo>
                  <a:cubicBezTo>
                    <a:pt x="89" y="97"/>
                    <a:pt x="92" y="98"/>
                    <a:pt x="94" y="99"/>
                  </a:cubicBezTo>
                  <a:cubicBezTo>
                    <a:pt x="97" y="100"/>
                    <a:pt x="97" y="100"/>
                    <a:pt x="97" y="100"/>
                  </a:cubicBezTo>
                  <a:cubicBezTo>
                    <a:pt x="102" y="102"/>
                    <a:pt x="106" y="106"/>
                    <a:pt x="108" y="111"/>
                  </a:cubicBezTo>
                  <a:cubicBezTo>
                    <a:pt x="108" y="111"/>
                    <a:pt x="108" y="111"/>
                    <a:pt x="108" y="111"/>
                  </a:cubicBezTo>
                  <a:cubicBezTo>
                    <a:pt x="109" y="112"/>
                    <a:pt x="109" y="113"/>
                    <a:pt x="109" y="114"/>
                  </a:cubicBezTo>
                  <a:cubicBezTo>
                    <a:pt x="109" y="114"/>
                    <a:pt x="105" y="127"/>
                    <a:pt x="106" y="131"/>
                  </a:cubicBezTo>
                  <a:cubicBezTo>
                    <a:pt x="106" y="132"/>
                    <a:pt x="107" y="133"/>
                    <a:pt x="108" y="133"/>
                  </a:cubicBezTo>
                  <a:cubicBezTo>
                    <a:pt x="111" y="133"/>
                    <a:pt x="116" y="124"/>
                    <a:pt x="116" y="124"/>
                  </a:cubicBezTo>
                  <a:cubicBezTo>
                    <a:pt x="116" y="124"/>
                    <a:pt x="117" y="124"/>
                    <a:pt x="117" y="123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22" y="120"/>
                    <a:pt x="122" y="117"/>
                    <a:pt x="121" y="115"/>
                  </a:cubicBezTo>
                  <a:cubicBezTo>
                    <a:pt x="117" y="110"/>
                    <a:pt x="117" y="110"/>
                    <a:pt x="117" y="110"/>
                  </a:cubicBezTo>
                  <a:cubicBezTo>
                    <a:pt x="116" y="109"/>
                    <a:pt x="116" y="107"/>
                    <a:pt x="116" y="105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17" y="102"/>
                    <a:pt x="119" y="100"/>
                    <a:pt x="120" y="100"/>
                  </a:cubicBezTo>
                  <a:cubicBezTo>
                    <a:pt x="122" y="100"/>
                    <a:pt x="124" y="100"/>
                    <a:pt x="125" y="101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31" y="107"/>
                    <a:pt x="133" y="108"/>
                    <a:pt x="135" y="107"/>
                  </a:cubicBezTo>
                  <a:cubicBezTo>
                    <a:pt x="137" y="106"/>
                    <a:pt x="137" y="106"/>
                    <a:pt x="137" y="106"/>
                  </a:cubicBezTo>
                  <a:cubicBezTo>
                    <a:pt x="135" y="100"/>
                    <a:pt x="135" y="100"/>
                    <a:pt x="135" y="100"/>
                  </a:cubicBezTo>
                  <a:cubicBezTo>
                    <a:pt x="135" y="98"/>
                    <a:pt x="134" y="97"/>
                    <a:pt x="133" y="97"/>
                  </a:cubicBezTo>
                  <a:cubicBezTo>
                    <a:pt x="118" y="88"/>
                    <a:pt x="118" y="88"/>
                    <a:pt x="118" y="8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14" y="88"/>
                    <a:pt x="112" y="87"/>
                    <a:pt x="110" y="85"/>
                  </a:cubicBezTo>
                  <a:cubicBezTo>
                    <a:pt x="109" y="84"/>
                    <a:pt x="109" y="84"/>
                    <a:pt x="109" y="84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09" y="79"/>
                    <a:pt x="105" y="78"/>
                    <a:pt x="102" y="78"/>
                  </a:cubicBezTo>
                  <a:cubicBezTo>
                    <a:pt x="102" y="78"/>
                    <a:pt x="102" y="78"/>
                    <a:pt x="102" y="78"/>
                  </a:cubicBezTo>
                  <a:cubicBezTo>
                    <a:pt x="98" y="78"/>
                    <a:pt x="94" y="77"/>
                    <a:pt x="91" y="74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5" y="45"/>
                    <a:pt x="64" y="43"/>
                    <a:pt x="63" y="41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0" y="29"/>
                    <a:pt x="63" y="23"/>
                    <a:pt x="68" y="2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6" y="22"/>
                    <a:pt x="76" y="22"/>
                  </a:cubicBezTo>
                  <a:lnTo>
                    <a:pt x="76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39">
              <a:extLst>
                <a:ext uri="{FF2B5EF4-FFF2-40B4-BE49-F238E27FC236}">
                  <a16:creationId xmlns:a16="http://schemas.microsoft.com/office/drawing/2014/main" id="{146889C8-61F6-4A46-A2D4-1EC56A0C9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3489326"/>
              <a:ext cx="466725" cy="384175"/>
            </a:xfrm>
            <a:custGeom>
              <a:avLst/>
              <a:gdLst>
                <a:gd name="T0" fmla="*/ 147 w 156"/>
                <a:gd name="T1" fmla="*/ 99 h 129"/>
                <a:gd name="T2" fmla="*/ 143 w 156"/>
                <a:gd name="T3" fmla="*/ 96 h 129"/>
                <a:gd name="T4" fmla="*/ 143 w 156"/>
                <a:gd name="T5" fmla="*/ 73 h 129"/>
                <a:gd name="T6" fmla="*/ 140 w 156"/>
                <a:gd name="T7" fmla="*/ 70 h 129"/>
                <a:gd name="T8" fmla="*/ 139 w 156"/>
                <a:gd name="T9" fmla="*/ 70 h 129"/>
                <a:gd name="T10" fmla="*/ 136 w 156"/>
                <a:gd name="T11" fmla="*/ 65 h 129"/>
                <a:gd name="T12" fmla="*/ 155 w 156"/>
                <a:gd name="T13" fmla="*/ 35 h 129"/>
                <a:gd name="T14" fmla="*/ 156 w 156"/>
                <a:gd name="T15" fmla="*/ 33 h 129"/>
                <a:gd name="T16" fmla="*/ 156 w 156"/>
                <a:gd name="T17" fmla="*/ 30 h 129"/>
                <a:gd name="T18" fmla="*/ 152 w 156"/>
                <a:gd name="T19" fmla="*/ 27 h 129"/>
                <a:gd name="T20" fmla="*/ 143 w 156"/>
                <a:gd name="T21" fmla="*/ 27 h 129"/>
                <a:gd name="T22" fmla="*/ 140 w 156"/>
                <a:gd name="T23" fmla="*/ 26 h 129"/>
                <a:gd name="T24" fmla="*/ 136 w 156"/>
                <a:gd name="T25" fmla="*/ 22 h 129"/>
                <a:gd name="T26" fmla="*/ 134 w 156"/>
                <a:gd name="T27" fmla="*/ 21 h 129"/>
                <a:gd name="T28" fmla="*/ 120 w 156"/>
                <a:gd name="T29" fmla="*/ 21 h 129"/>
                <a:gd name="T30" fmla="*/ 118 w 156"/>
                <a:gd name="T31" fmla="*/ 20 h 129"/>
                <a:gd name="T32" fmla="*/ 92 w 156"/>
                <a:gd name="T33" fmla="*/ 0 h 129"/>
                <a:gd name="T34" fmla="*/ 83 w 156"/>
                <a:gd name="T35" fmla="*/ 4 h 129"/>
                <a:gd name="T36" fmla="*/ 82 w 156"/>
                <a:gd name="T37" fmla="*/ 13 h 129"/>
                <a:gd name="T38" fmla="*/ 61 w 156"/>
                <a:gd name="T39" fmla="*/ 25 h 129"/>
                <a:gd name="T40" fmla="*/ 57 w 156"/>
                <a:gd name="T41" fmla="*/ 26 h 129"/>
                <a:gd name="T42" fmla="*/ 44 w 156"/>
                <a:gd name="T43" fmla="*/ 21 h 129"/>
                <a:gd name="T44" fmla="*/ 39 w 156"/>
                <a:gd name="T45" fmla="*/ 22 h 129"/>
                <a:gd name="T46" fmla="*/ 42 w 156"/>
                <a:gd name="T47" fmla="*/ 28 h 129"/>
                <a:gd name="T48" fmla="*/ 40 w 156"/>
                <a:gd name="T49" fmla="*/ 34 h 129"/>
                <a:gd name="T50" fmla="*/ 35 w 156"/>
                <a:gd name="T51" fmla="*/ 36 h 129"/>
                <a:gd name="T52" fmla="*/ 33 w 156"/>
                <a:gd name="T53" fmla="*/ 37 h 129"/>
                <a:gd name="T54" fmla="*/ 33 w 156"/>
                <a:gd name="T55" fmla="*/ 37 h 129"/>
                <a:gd name="T56" fmla="*/ 26 w 156"/>
                <a:gd name="T57" fmla="*/ 38 h 129"/>
                <a:gd name="T58" fmla="*/ 26 w 156"/>
                <a:gd name="T59" fmla="*/ 37 h 129"/>
                <a:gd name="T60" fmla="*/ 23 w 156"/>
                <a:gd name="T61" fmla="*/ 36 h 129"/>
                <a:gd name="T62" fmla="*/ 6 w 156"/>
                <a:gd name="T63" fmla="*/ 36 h 129"/>
                <a:gd name="T64" fmla="*/ 3 w 156"/>
                <a:gd name="T65" fmla="*/ 37 h 129"/>
                <a:gd name="T66" fmla="*/ 1 w 156"/>
                <a:gd name="T67" fmla="*/ 39 h 129"/>
                <a:gd name="T68" fmla="*/ 1 w 156"/>
                <a:gd name="T69" fmla="*/ 44 h 129"/>
                <a:gd name="T70" fmla="*/ 3 w 156"/>
                <a:gd name="T71" fmla="*/ 48 h 129"/>
                <a:gd name="T72" fmla="*/ 6 w 156"/>
                <a:gd name="T73" fmla="*/ 50 h 129"/>
                <a:gd name="T74" fmla="*/ 22 w 156"/>
                <a:gd name="T75" fmla="*/ 50 h 129"/>
                <a:gd name="T76" fmla="*/ 25 w 156"/>
                <a:gd name="T77" fmla="*/ 51 h 129"/>
                <a:gd name="T78" fmla="*/ 41 w 156"/>
                <a:gd name="T79" fmla="*/ 71 h 129"/>
                <a:gd name="T80" fmla="*/ 41 w 156"/>
                <a:gd name="T81" fmla="*/ 71 h 129"/>
                <a:gd name="T82" fmla="*/ 47 w 156"/>
                <a:gd name="T83" fmla="*/ 80 h 129"/>
                <a:gd name="T84" fmla="*/ 45 w 156"/>
                <a:gd name="T85" fmla="*/ 86 h 129"/>
                <a:gd name="T86" fmla="*/ 42 w 156"/>
                <a:gd name="T87" fmla="*/ 90 h 129"/>
                <a:gd name="T88" fmla="*/ 42 w 156"/>
                <a:gd name="T89" fmla="*/ 110 h 129"/>
                <a:gd name="T90" fmla="*/ 39 w 156"/>
                <a:gd name="T91" fmla="*/ 114 h 129"/>
                <a:gd name="T92" fmla="*/ 64 w 156"/>
                <a:gd name="T93" fmla="*/ 123 h 129"/>
                <a:gd name="T94" fmla="*/ 71 w 156"/>
                <a:gd name="T95" fmla="*/ 122 h 129"/>
                <a:gd name="T96" fmla="*/ 78 w 156"/>
                <a:gd name="T97" fmla="*/ 120 h 129"/>
                <a:gd name="T98" fmla="*/ 99 w 156"/>
                <a:gd name="T99" fmla="*/ 129 h 129"/>
                <a:gd name="T100" fmla="*/ 100 w 156"/>
                <a:gd name="T101" fmla="*/ 128 h 129"/>
                <a:gd name="T102" fmla="*/ 99 w 156"/>
                <a:gd name="T103" fmla="*/ 124 h 129"/>
                <a:gd name="T104" fmla="*/ 103 w 156"/>
                <a:gd name="T105" fmla="*/ 115 h 129"/>
                <a:gd name="T106" fmla="*/ 104 w 156"/>
                <a:gd name="T107" fmla="*/ 114 h 129"/>
                <a:gd name="T108" fmla="*/ 109 w 156"/>
                <a:gd name="T109" fmla="*/ 113 h 129"/>
                <a:gd name="T110" fmla="*/ 128 w 156"/>
                <a:gd name="T111" fmla="*/ 117 h 129"/>
                <a:gd name="T112" fmla="*/ 128 w 156"/>
                <a:gd name="T113" fmla="*/ 117 h 129"/>
                <a:gd name="T114" fmla="*/ 133 w 156"/>
                <a:gd name="T115" fmla="*/ 118 h 129"/>
                <a:gd name="T116" fmla="*/ 139 w 156"/>
                <a:gd name="T117" fmla="*/ 116 h 129"/>
                <a:gd name="T118" fmla="*/ 145 w 156"/>
                <a:gd name="T119" fmla="*/ 110 h 129"/>
                <a:gd name="T120" fmla="*/ 150 w 156"/>
                <a:gd name="T121" fmla="*/ 109 h 129"/>
                <a:gd name="T122" fmla="*/ 150 w 156"/>
                <a:gd name="T123" fmla="*/ 102 h 129"/>
                <a:gd name="T124" fmla="*/ 147 w 156"/>
                <a:gd name="T125" fmla="*/ 9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6" h="129">
                  <a:moveTo>
                    <a:pt x="147" y="99"/>
                  </a:moveTo>
                  <a:cubicBezTo>
                    <a:pt x="145" y="99"/>
                    <a:pt x="143" y="98"/>
                    <a:pt x="143" y="96"/>
                  </a:cubicBezTo>
                  <a:cubicBezTo>
                    <a:pt x="143" y="73"/>
                    <a:pt x="143" y="73"/>
                    <a:pt x="143" y="73"/>
                  </a:cubicBezTo>
                  <a:cubicBezTo>
                    <a:pt x="143" y="72"/>
                    <a:pt x="142" y="70"/>
                    <a:pt x="140" y="7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6" y="70"/>
                    <a:pt x="135" y="67"/>
                    <a:pt x="136" y="65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5" y="34"/>
                    <a:pt x="156" y="34"/>
                    <a:pt x="156" y="33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28"/>
                    <a:pt x="154" y="27"/>
                    <a:pt x="152" y="27"/>
                  </a:cubicBezTo>
                  <a:cubicBezTo>
                    <a:pt x="143" y="27"/>
                    <a:pt x="143" y="27"/>
                    <a:pt x="143" y="27"/>
                  </a:cubicBezTo>
                  <a:cubicBezTo>
                    <a:pt x="142" y="27"/>
                    <a:pt x="141" y="27"/>
                    <a:pt x="140" y="26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5" y="21"/>
                    <a:pt x="135" y="21"/>
                    <a:pt x="134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19" y="21"/>
                    <a:pt x="118" y="21"/>
                    <a:pt x="118" y="2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0" y="26"/>
                    <a:pt x="58" y="26"/>
                    <a:pt x="57" y="26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3" y="31"/>
                    <a:pt x="42" y="34"/>
                    <a:pt x="40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4" y="36"/>
                    <a:pt x="34" y="36"/>
                    <a:pt x="33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1" y="40"/>
                    <a:pt x="28" y="40"/>
                    <a:pt x="26" y="38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5" y="36"/>
                    <a:pt x="24" y="36"/>
                    <a:pt x="23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5" y="36"/>
                    <a:pt x="4" y="36"/>
                    <a:pt x="3" y="37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41"/>
                    <a:pt x="0" y="43"/>
                    <a:pt x="1" y="44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4" y="49"/>
                    <a:pt x="5" y="50"/>
                    <a:pt x="6" y="50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3" y="50"/>
                    <a:pt x="24" y="50"/>
                    <a:pt x="25" y="5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8" y="82"/>
                    <a:pt x="47" y="85"/>
                    <a:pt x="45" y="86"/>
                  </a:cubicBezTo>
                  <a:cubicBezTo>
                    <a:pt x="43" y="86"/>
                    <a:pt x="42" y="88"/>
                    <a:pt x="42" y="90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2"/>
                    <a:pt x="40" y="113"/>
                    <a:pt x="39" y="114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6" y="124"/>
                    <a:pt x="69" y="124"/>
                    <a:pt x="71" y="122"/>
                  </a:cubicBezTo>
                  <a:cubicBezTo>
                    <a:pt x="72" y="120"/>
                    <a:pt x="75" y="119"/>
                    <a:pt x="78" y="120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0" y="126"/>
                    <a:pt x="100" y="125"/>
                    <a:pt x="99" y="124"/>
                  </a:cubicBezTo>
                  <a:cubicBezTo>
                    <a:pt x="98" y="120"/>
                    <a:pt x="100" y="116"/>
                    <a:pt x="103" y="115"/>
                  </a:cubicBezTo>
                  <a:cubicBezTo>
                    <a:pt x="104" y="114"/>
                    <a:pt x="104" y="114"/>
                    <a:pt x="104" y="114"/>
                  </a:cubicBezTo>
                  <a:cubicBezTo>
                    <a:pt x="106" y="113"/>
                    <a:pt x="107" y="113"/>
                    <a:pt x="109" y="113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35" y="118"/>
                    <a:pt x="137" y="117"/>
                    <a:pt x="139" y="116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50" y="109"/>
                    <a:pt x="150" y="109"/>
                    <a:pt x="150" y="109"/>
                  </a:cubicBezTo>
                  <a:cubicBezTo>
                    <a:pt x="150" y="102"/>
                    <a:pt x="150" y="102"/>
                    <a:pt x="150" y="102"/>
                  </a:cubicBezTo>
                  <a:cubicBezTo>
                    <a:pt x="150" y="100"/>
                    <a:pt x="148" y="99"/>
                    <a:pt x="147" y="9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Freeform 40">
              <a:extLst>
                <a:ext uri="{FF2B5EF4-FFF2-40B4-BE49-F238E27FC236}">
                  <a16:creationId xmlns:a16="http://schemas.microsoft.com/office/drawing/2014/main" id="{09132DE5-3FFF-4918-8C17-1129D722B0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5775" y="3892551"/>
              <a:ext cx="117475" cy="193675"/>
            </a:xfrm>
            <a:custGeom>
              <a:avLst/>
              <a:gdLst>
                <a:gd name="T0" fmla="*/ 27 w 39"/>
                <a:gd name="T1" fmla="*/ 44 h 65"/>
                <a:gd name="T2" fmla="*/ 25 w 39"/>
                <a:gd name="T3" fmla="*/ 41 h 65"/>
                <a:gd name="T4" fmla="*/ 27 w 39"/>
                <a:gd name="T5" fmla="*/ 39 h 65"/>
                <a:gd name="T6" fmla="*/ 28 w 39"/>
                <a:gd name="T7" fmla="*/ 36 h 65"/>
                <a:gd name="T8" fmla="*/ 31 w 39"/>
                <a:gd name="T9" fmla="*/ 17 h 65"/>
                <a:gd name="T10" fmla="*/ 34 w 39"/>
                <a:gd name="T11" fmla="*/ 12 h 65"/>
                <a:gd name="T12" fmla="*/ 35 w 39"/>
                <a:gd name="T13" fmla="*/ 12 h 65"/>
                <a:gd name="T14" fmla="*/ 37 w 39"/>
                <a:gd name="T15" fmla="*/ 10 h 65"/>
                <a:gd name="T16" fmla="*/ 38 w 39"/>
                <a:gd name="T17" fmla="*/ 9 h 65"/>
                <a:gd name="T18" fmla="*/ 37 w 39"/>
                <a:gd name="T19" fmla="*/ 2 h 65"/>
                <a:gd name="T20" fmla="*/ 32 w 39"/>
                <a:gd name="T21" fmla="*/ 0 h 65"/>
                <a:gd name="T22" fmla="*/ 16 w 39"/>
                <a:gd name="T23" fmla="*/ 3 h 65"/>
                <a:gd name="T24" fmla="*/ 9 w 39"/>
                <a:gd name="T25" fmla="*/ 1 h 65"/>
                <a:gd name="T26" fmla="*/ 9 w 39"/>
                <a:gd name="T27" fmla="*/ 2 h 65"/>
                <a:gd name="T28" fmla="*/ 9 w 39"/>
                <a:gd name="T29" fmla="*/ 22 h 65"/>
                <a:gd name="T30" fmla="*/ 8 w 39"/>
                <a:gd name="T31" fmla="*/ 24 h 65"/>
                <a:gd name="T32" fmla="*/ 4 w 39"/>
                <a:gd name="T33" fmla="*/ 32 h 65"/>
                <a:gd name="T34" fmla="*/ 4 w 39"/>
                <a:gd name="T35" fmla="*/ 32 h 65"/>
                <a:gd name="T36" fmla="*/ 1 w 39"/>
                <a:gd name="T37" fmla="*/ 37 h 65"/>
                <a:gd name="T38" fmla="*/ 2 w 39"/>
                <a:gd name="T39" fmla="*/ 43 h 65"/>
                <a:gd name="T40" fmla="*/ 4 w 39"/>
                <a:gd name="T41" fmla="*/ 46 h 65"/>
                <a:gd name="T42" fmla="*/ 5 w 39"/>
                <a:gd name="T43" fmla="*/ 49 h 65"/>
                <a:gd name="T44" fmla="*/ 6 w 39"/>
                <a:gd name="T45" fmla="*/ 60 h 65"/>
                <a:gd name="T46" fmla="*/ 11 w 39"/>
                <a:gd name="T47" fmla="*/ 65 h 65"/>
                <a:gd name="T48" fmla="*/ 14 w 39"/>
                <a:gd name="T49" fmla="*/ 65 h 65"/>
                <a:gd name="T50" fmla="*/ 15 w 39"/>
                <a:gd name="T51" fmla="*/ 65 h 65"/>
                <a:gd name="T52" fmla="*/ 26 w 39"/>
                <a:gd name="T53" fmla="*/ 65 h 65"/>
                <a:gd name="T54" fmla="*/ 26 w 39"/>
                <a:gd name="T55" fmla="*/ 65 h 65"/>
                <a:gd name="T56" fmla="*/ 28 w 39"/>
                <a:gd name="T57" fmla="*/ 47 h 65"/>
                <a:gd name="T58" fmla="*/ 27 w 39"/>
                <a:gd name="T59" fmla="*/ 4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9" h="65">
                  <a:moveTo>
                    <a:pt x="27" y="44"/>
                  </a:moveTo>
                  <a:cubicBezTo>
                    <a:pt x="25" y="41"/>
                    <a:pt x="25" y="41"/>
                    <a:pt x="25" y="41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8" y="38"/>
                    <a:pt x="28" y="37"/>
                    <a:pt x="28" y="36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5"/>
                    <a:pt x="32" y="13"/>
                    <a:pt x="34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6" y="12"/>
                    <a:pt x="36" y="11"/>
                    <a:pt x="37" y="10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9" y="7"/>
                    <a:pt x="39" y="4"/>
                    <a:pt x="37" y="2"/>
                  </a:cubicBezTo>
                  <a:cubicBezTo>
                    <a:pt x="36" y="1"/>
                    <a:pt x="34" y="0"/>
                    <a:pt x="32" y="0"/>
                  </a:cubicBezTo>
                  <a:cubicBezTo>
                    <a:pt x="26" y="1"/>
                    <a:pt x="17" y="3"/>
                    <a:pt x="16" y="3"/>
                  </a:cubicBezTo>
                  <a:cubicBezTo>
                    <a:pt x="15" y="3"/>
                    <a:pt x="12" y="2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3"/>
                    <a:pt x="8" y="24"/>
                    <a:pt x="8" y="24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0" y="38"/>
                    <a:pt x="0" y="41"/>
                    <a:pt x="2" y="43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8"/>
                    <a:pt x="5" y="49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2"/>
                    <a:pt x="8" y="64"/>
                    <a:pt x="11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5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5"/>
                    <a:pt x="27" y="4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Freeform 41">
              <a:extLst>
                <a:ext uri="{FF2B5EF4-FFF2-40B4-BE49-F238E27FC236}">
                  <a16:creationId xmlns:a16="http://schemas.microsoft.com/office/drawing/2014/main" id="{59424044-7263-46B3-B45F-91B433EDAB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1263" y="3267076"/>
              <a:ext cx="41275" cy="47625"/>
            </a:xfrm>
            <a:custGeom>
              <a:avLst/>
              <a:gdLst>
                <a:gd name="T0" fmla="*/ 2 w 14"/>
                <a:gd name="T1" fmla="*/ 10 h 16"/>
                <a:gd name="T2" fmla="*/ 6 w 14"/>
                <a:gd name="T3" fmla="*/ 14 h 16"/>
                <a:gd name="T4" fmla="*/ 11 w 14"/>
                <a:gd name="T5" fmla="*/ 15 h 16"/>
                <a:gd name="T6" fmla="*/ 11 w 14"/>
                <a:gd name="T7" fmla="*/ 6 h 16"/>
                <a:gd name="T8" fmla="*/ 14 w 14"/>
                <a:gd name="T9" fmla="*/ 5 h 16"/>
                <a:gd name="T10" fmla="*/ 14 w 14"/>
                <a:gd name="T11" fmla="*/ 0 h 16"/>
                <a:gd name="T12" fmla="*/ 11 w 14"/>
                <a:gd name="T13" fmla="*/ 1 h 16"/>
                <a:gd name="T14" fmla="*/ 8 w 14"/>
                <a:gd name="T15" fmla="*/ 2 h 16"/>
                <a:gd name="T16" fmla="*/ 4 w 14"/>
                <a:gd name="T17" fmla="*/ 0 h 16"/>
                <a:gd name="T18" fmla="*/ 0 w 14"/>
                <a:gd name="T19" fmla="*/ 2 h 16"/>
                <a:gd name="T20" fmla="*/ 1 w 14"/>
                <a:gd name="T21" fmla="*/ 6 h 16"/>
                <a:gd name="T22" fmla="*/ 2 w 14"/>
                <a:gd name="T23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6">
                  <a:moveTo>
                    <a:pt x="2" y="10"/>
                  </a:moveTo>
                  <a:cubicBezTo>
                    <a:pt x="3" y="11"/>
                    <a:pt x="5" y="14"/>
                    <a:pt x="6" y="14"/>
                  </a:cubicBezTo>
                  <a:cubicBezTo>
                    <a:pt x="6" y="15"/>
                    <a:pt x="10" y="16"/>
                    <a:pt x="11" y="15"/>
                  </a:cubicBezTo>
                  <a:cubicBezTo>
                    <a:pt x="12" y="13"/>
                    <a:pt x="11" y="6"/>
                    <a:pt x="11" y="6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9"/>
                    <a:pt x="2" y="1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Freeform 42">
              <a:extLst>
                <a:ext uri="{FF2B5EF4-FFF2-40B4-BE49-F238E27FC236}">
                  <a16:creationId xmlns:a16="http://schemas.microsoft.com/office/drawing/2014/main" id="{16AEF4CE-2D47-424E-948B-B7E9521DF3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5" y="3279776"/>
              <a:ext cx="26988" cy="26988"/>
            </a:xfrm>
            <a:custGeom>
              <a:avLst/>
              <a:gdLst>
                <a:gd name="T0" fmla="*/ 6 w 9"/>
                <a:gd name="T1" fmla="*/ 9 h 9"/>
                <a:gd name="T2" fmla="*/ 9 w 9"/>
                <a:gd name="T3" fmla="*/ 4 h 9"/>
                <a:gd name="T4" fmla="*/ 5 w 9"/>
                <a:gd name="T5" fmla="*/ 0 h 9"/>
                <a:gd name="T6" fmla="*/ 1 w 9"/>
                <a:gd name="T7" fmla="*/ 2 h 9"/>
                <a:gd name="T8" fmla="*/ 1 w 9"/>
                <a:gd name="T9" fmla="*/ 2 h 9"/>
                <a:gd name="T10" fmla="*/ 1 w 9"/>
                <a:gd name="T11" fmla="*/ 6 h 9"/>
                <a:gd name="T12" fmla="*/ 1 w 9"/>
                <a:gd name="T13" fmla="*/ 7 h 9"/>
                <a:gd name="T14" fmla="*/ 4 w 9"/>
                <a:gd name="T15" fmla="*/ 9 h 9"/>
                <a:gd name="T16" fmla="*/ 6 w 9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6" y="9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8" y="2"/>
                    <a:pt x="7" y="1"/>
                    <a:pt x="5" y="0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5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8"/>
                    <a:pt x="3" y="9"/>
                    <a:pt x="4" y="9"/>
                  </a:cubicBezTo>
                  <a:lnTo>
                    <a:pt x="6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Freeform 43">
              <a:extLst>
                <a:ext uri="{FF2B5EF4-FFF2-40B4-BE49-F238E27FC236}">
                  <a16:creationId xmlns:a16="http://schemas.microsoft.com/office/drawing/2014/main" id="{BC9F3A9B-88A4-49D6-87EF-5794A1614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1188" y="3108326"/>
              <a:ext cx="269875" cy="431800"/>
            </a:xfrm>
            <a:custGeom>
              <a:avLst/>
              <a:gdLst>
                <a:gd name="T0" fmla="*/ 84 w 90"/>
                <a:gd name="T1" fmla="*/ 98 h 144"/>
                <a:gd name="T2" fmla="*/ 78 w 90"/>
                <a:gd name="T3" fmla="*/ 99 h 144"/>
                <a:gd name="T4" fmla="*/ 72 w 90"/>
                <a:gd name="T5" fmla="*/ 95 h 144"/>
                <a:gd name="T6" fmla="*/ 67 w 90"/>
                <a:gd name="T7" fmla="*/ 80 h 144"/>
                <a:gd name="T8" fmla="*/ 53 w 90"/>
                <a:gd name="T9" fmla="*/ 66 h 144"/>
                <a:gd name="T10" fmla="*/ 50 w 90"/>
                <a:gd name="T11" fmla="*/ 55 h 144"/>
                <a:gd name="T12" fmla="*/ 41 w 90"/>
                <a:gd name="T13" fmla="*/ 50 h 144"/>
                <a:gd name="T14" fmla="*/ 28 w 90"/>
                <a:gd name="T15" fmla="*/ 50 h 144"/>
                <a:gd name="T16" fmla="*/ 31 w 90"/>
                <a:gd name="T17" fmla="*/ 42 h 144"/>
                <a:gd name="T18" fmla="*/ 43 w 90"/>
                <a:gd name="T19" fmla="*/ 29 h 144"/>
                <a:gd name="T20" fmla="*/ 28 w 90"/>
                <a:gd name="T21" fmla="*/ 20 h 144"/>
                <a:gd name="T22" fmla="*/ 30 w 90"/>
                <a:gd name="T23" fmla="*/ 6 h 144"/>
                <a:gd name="T24" fmla="*/ 15 w 90"/>
                <a:gd name="T25" fmla="*/ 0 h 144"/>
                <a:gd name="T26" fmla="*/ 9 w 90"/>
                <a:gd name="T27" fmla="*/ 12 h 144"/>
                <a:gd name="T28" fmla="*/ 4 w 90"/>
                <a:gd name="T29" fmla="*/ 15 h 144"/>
                <a:gd name="T30" fmla="*/ 0 w 90"/>
                <a:gd name="T31" fmla="*/ 27 h 144"/>
                <a:gd name="T32" fmla="*/ 5 w 90"/>
                <a:gd name="T33" fmla="*/ 34 h 144"/>
                <a:gd name="T34" fmla="*/ 5 w 90"/>
                <a:gd name="T35" fmla="*/ 38 h 144"/>
                <a:gd name="T36" fmla="*/ 6 w 90"/>
                <a:gd name="T37" fmla="*/ 47 h 144"/>
                <a:gd name="T38" fmla="*/ 12 w 90"/>
                <a:gd name="T39" fmla="*/ 49 h 144"/>
                <a:gd name="T40" fmla="*/ 13 w 90"/>
                <a:gd name="T41" fmla="*/ 58 h 144"/>
                <a:gd name="T42" fmla="*/ 12 w 90"/>
                <a:gd name="T43" fmla="*/ 64 h 144"/>
                <a:gd name="T44" fmla="*/ 18 w 90"/>
                <a:gd name="T45" fmla="*/ 68 h 144"/>
                <a:gd name="T46" fmla="*/ 25 w 90"/>
                <a:gd name="T47" fmla="*/ 67 h 144"/>
                <a:gd name="T48" fmla="*/ 32 w 90"/>
                <a:gd name="T49" fmla="*/ 66 h 144"/>
                <a:gd name="T50" fmla="*/ 31 w 90"/>
                <a:gd name="T51" fmla="*/ 72 h 144"/>
                <a:gd name="T52" fmla="*/ 36 w 90"/>
                <a:gd name="T53" fmla="*/ 80 h 144"/>
                <a:gd name="T54" fmla="*/ 34 w 90"/>
                <a:gd name="T55" fmla="*/ 85 h 144"/>
                <a:gd name="T56" fmla="*/ 30 w 90"/>
                <a:gd name="T57" fmla="*/ 90 h 144"/>
                <a:gd name="T58" fmla="*/ 18 w 90"/>
                <a:gd name="T59" fmla="*/ 93 h 144"/>
                <a:gd name="T60" fmla="*/ 21 w 90"/>
                <a:gd name="T61" fmla="*/ 96 h 144"/>
                <a:gd name="T62" fmla="*/ 23 w 90"/>
                <a:gd name="T63" fmla="*/ 102 h 144"/>
                <a:gd name="T64" fmla="*/ 13 w 90"/>
                <a:gd name="T65" fmla="*/ 108 h 144"/>
                <a:gd name="T66" fmla="*/ 13 w 90"/>
                <a:gd name="T67" fmla="*/ 117 h 144"/>
                <a:gd name="T68" fmla="*/ 21 w 90"/>
                <a:gd name="T69" fmla="*/ 116 h 144"/>
                <a:gd name="T70" fmla="*/ 25 w 90"/>
                <a:gd name="T71" fmla="*/ 118 h 144"/>
                <a:gd name="T72" fmla="*/ 38 w 90"/>
                <a:gd name="T73" fmla="*/ 118 h 144"/>
                <a:gd name="T74" fmla="*/ 44 w 90"/>
                <a:gd name="T75" fmla="*/ 116 h 144"/>
                <a:gd name="T76" fmla="*/ 38 w 90"/>
                <a:gd name="T77" fmla="*/ 121 h 144"/>
                <a:gd name="T78" fmla="*/ 26 w 90"/>
                <a:gd name="T79" fmla="*/ 123 h 144"/>
                <a:gd name="T80" fmla="*/ 6 w 90"/>
                <a:gd name="T81" fmla="*/ 139 h 144"/>
                <a:gd name="T82" fmla="*/ 16 w 90"/>
                <a:gd name="T83" fmla="*/ 138 h 144"/>
                <a:gd name="T84" fmla="*/ 23 w 90"/>
                <a:gd name="T85" fmla="*/ 138 h 144"/>
                <a:gd name="T86" fmla="*/ 28 w 90"/>
                <a:gd name="T87" fmla="*/ 132 h 144"/>
                <a:gd name="T88" fmla="*/ 73 w 90"/>
                <a:gd name="T89" fmla="*/ 131 h 144"/>
                <a:gd name="T90" fmla="*/ 82 w 90"/>
                <a:gd name="T91" fmla="*/ 123 h 144"/>
                <a:gd name="T92" fmla="*/ 86 w 90"/>
                <a:gd name="T93" fmla="*/ 113 h 144"/>
                <a:gd name="T94" fmla="*/ 90 w 90"/>
                <a:gd name="T95" fmla="*/ 104 h 144"/>
                <a:gd name="T96" fmla="*/ 87 w 90"/>
                <a:gd name="T97" fmla="*/ 9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0" h="144">
                  <a:moveTo>
                    <a:pt x="87" y="99"/>
                  </a:moveTo>
                  <a:cubicBezTo>
                    <a:pt x="87" y="98"/>
                    <a:pt x="86" y="97"/>
                    <a:pt x="84" y="98"/>
                  </a:cubicBezTo>
                  <a:cubicBezTo>
                    <a:pt x="79" y="99"/>
                    <a:pt x="79" y="99"/>
                    <a:pt x="79" y="99"/>
                  </a:cubicBezTo>
                  <a:cubicBezTo>
                    <a:pt x="79" y="99"/>
                    <a:pt x="79" y="99"/>
                    <a:pt x="78" y="99"/>
                  </a:cubicBezTo>
                  <a:cubicBezTo>
                    <a:pt x="74" y="98"/>
                    <a:pt x="74" y="98"/>
                    <a:pt x="74" y="98"/>
                  </a:cubicBezTo>
                  <a:cubicBezTo>
                    <a:pt x="73" y="97"/>
                    <a:pt x="72" y="96"/>
                    <a:pt x="72" y="95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7" y="81"/>
                    <a:pt x="67" y="80"/>
                    <a:pt x="67" y="80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4" y="68"/>
                    <a:pt x="53" y="67"/>
                    <a:pt x="53" y="66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6"/>
                    <a:pt x="50" y="55"/>
                    <a:pt x="50" y="55"/>
                  </a:cubicBezTo>
                  <a:cubicBezTo>
                    <a:pt x="43" y="51"/>
                    <a:pt x="43" y="51"/>
                    <a:pt x="43" y="51"/>
                  </a:cubicBezTo>
                  <a:cubicBezTo>
                    <a:pt x="42" y="50"/>
                    <a:pt x="41" y="50"/>
                    <a:pt x="41" y="50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3"/>
                    <a:pt x="30" y="42"/>
                    <a:pt x="31" y="42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0"/>
                    <a:pt x="43" y="30"/>
                    <a:pt x="43" y="29"/>
                  </a:cubicBezTo>
                  <a:cubicBezTo>
                    <a:pt x="44" y="25"/>
                    <a:pt x="40" y="20"/>
                    <a:pt x="36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6" y="20"/>
                    <a:pt x="24" y="17"/>
                    <a:pt x="25" y="15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1" y="4"/>
                    <a:pt x="30" y="1"/>
                    <a:pt x="27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0"/>
                    <a:pt x="11" y="1"/>
                    <a:pt x="11" y="3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4"/>
                    <a:pt x="7" y="15"/>
                    <a:pt x="6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2" y="15"/>
                    <a:pt x="1" y="16"/>
                    <a:pt x="1" y="1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0" y="29"/>
                    <a:pt x="1" y="30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6" y="35"/>
                    <a:pt x="6" y="37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1" y="40"/>
                    <a:pt x="1" y="44"/>
                    <a:pt x="3" y="47"/>
                  </a:cubicBezTo>
                  <a:cubicBezTo>
                    <a:pt x="4" y="48"/>
                    <a:pt x="5" y="48"/>
                    <a:pt x="6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0" y="46"/>
                    <a:pt x="12" y="47"/>
                    <a:pt x="12" y="49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6"/>
                    <a:pt x="14" y="57"/>
                    <a:pt x="13" y="58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1" y="60"/>
                    <a:pt x="11" y="62"/>
                    <a:pt x="12" y="64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8"/>
                    <a:pt x="17" y="68"/>
                    <a:pt x="18" y="68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3" y="69"/>
                    <a:pt x="24" y="68"/>
                    <a:pt x="25" y="67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9" y="69"/>
                    <a:pt x="29" y="71"/>
                    <a:pt x="31" y="72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8"/>
                    <a:pt x="36" y="80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4"/>
                    <a:pt x="34" y="84"/>
                    <a:pt x="34" y="85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8"/>
                    <a:pt x="32" y="90"/>
                    <a:pt x="30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19" y="90"/>
                    <a:pt x="18" y="91"/>
                    <a:pt x="18" y="93"/>
                  </a:cubicBezTo>
                  <a:cubicBezTo>
                    <a:pt x="18" y="95"/>
                    <a:pt x="19" y="96"/>
                    <a:pt x="20" y="96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23" y="97"/>
                    <a:pt x="25" y="99"/>
                    <a:pt x="24" y="101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103"/>
                    <a:pt x="23" y="103"/>
                    <a:pt x="22" y="104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9" y="109"/>
                    <a:pt x="8" y="114"/>
                    <a:pt x="11" y="117"/>
                  </a:cubicBezTo>
                  <a:cubicBezTo>
                    <a:pt x="11" y="117"/>
                    <a:pt x="12" y="117"/>
                    <a:pt x="13" y="117"/>
                  </a:cubicBezTo>
                  <a:cubicBezTo>
                    <a:pt x="18" y="115"/>
                    <a:pt x="18" y="115"/>
                    <a:pt x="18" y="115"/>
                  </a:cubicBezTo>
                  <a:cubicBezTo>
                    <a:pt x="19" y="115"/>
                    <a:pt x="21" y="115"/>
                    <a:pt x="21" y="116"/>
                  </a:cubicBezTo>
                  <a:cubicBezTo>
                    <a:pt x="23" y="117"/>
                    <a:pt x="23" y="117"/>
                    <a:pt x="23" y="117"/>
                  </a:cubicBezTo>
                  <a:cubicBezTo>
                    <a:pt x="24" y="118"/>
                    <a:pt x="25" y="118"/>
                    <a:pt x="25" y="118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6" y="119"/>
                    <a:pt x="37" y="118"/>
                    <a:pt x="38" y="118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6"/>
                    <a:pt x="44" y="116"/>
                    <a:pt x="44" y="116"/>
                  </a:cubicBezTo>
                  <a:cubicBezTo>
                    <a:pt x="44" y="117"/>
                    <a:pt x="43" y="118"/>
                    <a:pt x="42" y="119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2"/>
                    <a:pt x="37" y="122"/>
                    <a:pt x="37" y="122"/>
                  </a:cubicBezTo>
                  <a:cubicBezTo>
                    <a:pt x="26" y="123"/>
                    <a:pt x="26" y="123"/>
                    <a:pt x="26" y="123"/>
                  </a:cubicBezTo>
                  <a:cubicBezTo>
                    <a:pt x="25" y="123"/>
                    <a:pt x="25" y="123"/>
                    <a:pt x="24" y="123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7" y="143"/>
                    <a:pt x="12" y="144"/>
                    <a:pt x="14" y="140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7" y="138"/>
                    <a:pt x="17" y="138"/>
                    <a:pt x="18" y="138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5" y="139"/>
                    <a:pt x="27" y="137"/>
                    <a:pt x="27" y="135"/>
                  </a:cubicBezTo>
                  <a:cubicBezTo>
                    <a:pt x="27" y="133"/>
                    <a:pt x="27" y="132"/>
                    <a:pt x="28" y="132"/>
                  </a:cubicBezTo>
                  <a:cubicBezTo>
                    <a:pt x="30" y="132"/>
                    <a:pt x="67" y="131"/>
                    <a:pt x="72" y="131"/>
                  </a:cubicBezTo>
                  <a:cubicBezTo>
                    <a:pt x="72" y="131"/>
                    <a:pt x="73" y="131"/>
                    <a:pt x="73" y="131"/>
                  </a:cubicBezTo>
                  <a:cubicBezTo>
                    <a:pt x="75" y="130"/>
                    <a:pt x="81" y="128"/>
                    <a:pt x="82" y="127"/>
                  </a:cubicBezTo>
                  <a:cubicBezTo>
                    <a:pt x="83" y="127"/>
                    <a:pt x="82" y="123"/>
                    <a:pt x="82" y="123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86" y="113"/>
                    <a:pt x="86" y="113"/>
                    <a:pt x="86" y="113"/>
                  </a:cubicBezTo>
                  <a:cubicBezTo>
                    <a:pt x="86" y="113"/>
                    <a:pt x="87" y="112"/>
                    <a:pt x="87" y="111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0" y="103"/>
                    <a:pt x="90" y="101"/>
                    <a:pt x="89" y="100"/>
                  </a:cubicBezTo>
                  <a:lnTo>
                    <a:pt x="87" y="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Freeform 44">
              <a:extLst>
                <a:ext uri="{FF2B5EF4-FFF2-40B4-BE49-F238E27FC236}">
                  <a16:creationId xmlns:a16="http://schemas.microsoft.com/office/drawing/2014/main" id="{0E93BED2-3CAE-4FEB-B350-8B07AB8E9A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138" y="3324226"/>
              <a:ext cx="144463" cy="141288"/>
            </a:xfrm>
            <a:custGeom>
              <a:avLst/>
              <a:gdLst>
                <a:gd name="T0" fmla="*/ 39 w 48"/>
                <a:gd name="T1" fmla="*/ 3 h 47"/>
                <a:gd name="T2" fmla="*/ 34 w 48"/>
                <a:gd name="T3" fmla="*/ 2 h 47"/>
                <a:gd name="T4" fmla="*/ 34 w 48"/>
                <a:gd name="T5" fmla="*/ 2 h 47"/>
                <a:gd name="T6" fmla="*/ 27 w 48"/>
                <a:gd name="T7" fmla="*/ 1 h 47"/>
                <a:gd name="T8" fmla="*/ 27 w 48"/>
                <a:gd name="T9" fmla="*/ 0 h 47"/>
                <a:gd name="T10" fmla="*/ 25 w 48"/>
                <a:gd name="T11" fmla="*/ 2 h 47"/>
                <a:gd name="T12" fmla="*/ 14 w 48"/>
                <a:gd name="T13" fmla="*/ 5 h 47"/>
                <a:gd name="T14" fmla="*/ 10 w 48"/>
                <a:gd name="T15" fmla="*/ 4 h 47"/>
                <a:gd name="T16" fmla="*/ 4 w 48"/>
                <a:gd name="T17" fmla="*/ 6 h 47"/>
                <a:gd name="T18" fmla="*/ 1 w 48"/>
                <a:gd name="T19" fmla="*/ 11 h 47"/>
                <a:gd name="T20" fmla="*/ 1 w 48"/>
                <a:gd name="T21" fmla="*/ 15 h 47"/>
                <a:gd name="T22" fmla="*/ 2 w 48"/>
                <a:gd name="T23" fmla="*/ 16 h 47"/>
                <a:gd name="T24" fmla="*/ 7 w 48"/>
                <a:gd name="T25" fmla="*/ 17 h 47"/>
                <a:gd name="T26" fmla="*/ 10 w 48"/>
                <a:gd name="T27" fmla="*/ 16 h 47"/>
                <a:gd name="T28" fmla="*/ 12 w 48"/>
                <a:gd name="T29" fmla="*/ 22 h 47"/>
                <a:gd name="T30" fmla="*/ 9 w 48"/>
                <a:gd name="T31" fmla="*/ 23 h 47"/>
                <a:gd name="T32" fmla="*/ 7 w 48"/>
                <a:gd name="T33" fmla="*/ 25 h 47"/>
                <a:gd name="T34" fmla="*/ 1 w 48"/>
                <a:gd name="T35" fmla="*/ 35 h 47"/>
                <a:gd name="T36" fmla="*/ 1 w 48"/>
                <a:gd name="T37" fmla="*/ 39 h 47"/>
                <a:gd name="T38" fmla="*/ 5 w 48"/>
                <a:gd name="T39" fmla="*/ 44 h 47"/>
                <a:gd name="T40" fmla="*/ 8 w 48"/>
                <a:gd name="T41" fmla="*/ 46 h 47"/>
                <a:gd name="T42" fmla="*/ 12 w 48"/>
                <a:gd name="T43" fmla="*/ 47 h 47"/>
                <a:gd name="T44" fmla="*/ 15 w 48"/>
                <a:gd name="T45" fmla="*/ 46 h 47"/>
                <a:gd name="T46" fmla="*/ 26 w 48"/>
                <a:gd name="T47" fmla="*/ 39 h 47"/>
                <a:gd name="T48" fmla="*/ 27 w 48"/>
                <a:gd name="T49" fmla="*/ 39 h 47"/>
                <a:gd name="T50" fmla="*/ 43 w 48"/>
                <a:gd name="T51" fmla="*/ 35 h 47"/>
                <a:gd name="T52" fmla="*/ 47 w 48"/>
                <a:gd name="T53" fmla="*/ 31 h 47"/>
                <a:gd name="T54" fmla="*/ 48 w 48"/>
                <a:gd name="T55" fmla="*/ 19 h 47"/>
                <a:gd name="T56" fmla="*/ 47 w 48"/>
                <a:gd name="T57" fmla="*/ 16 h 47"/>
                <a:gd name="T58" fmla="*/ 44 w 48"/>
                <a:gd name="T59" fmla="*/ 13 h 47"/>
                <a:gd name="T60" fmla="*/ 44 w 48"/>
                <a:gd name="T61" fmla="*/ 8 h 47"/>
                <a:gd name="T62" fmla="*/ 39 w 48"/>
                <a:gd name="T63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7">
                  <a:moveTo>
                    <a:pt x="39" y="3"/>
                  </a:moveTo>
                  <a:cubicBezTo>
                    <a:pt x="38" y="2"/>
                    <a:pt x="36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1" y="3"/>
                    <a:pt x="29" y="2"/>
                    <a:pt x="27" y="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6" y="1"/>
                    <a:pt x="26" y="1"/>
                    <a:pt x="25" y="2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2" y="5"/>
                    <a:pt x="11" y="5"/>
                    <a:pt x="10" y="4"/>
                  </a:cubicBezTo>
                  <a:cubicBezTo>
                    <a:pt x="8" y="3"/>
                    <a:pt x="5" y="3"/>
                    <a:pt x="4" y="6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2"/>
                    <a:pt x="0" y="14"/>
                    <a:pt x="1" y="1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8"/>
                    <a:pt x="5" y="18"/>
                    <a:pt x="7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4"/>
                    <a:pt x="7" y="24"/>
                    <a:pt x="7" y="2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6"/>
                    <a:pt x="1" y="38"/>
                    <a:pt x="1" y="39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5"/>
                    <a:pt x="6" y="46"/>
                    <a:pt x="8" y="46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3" y="47"/>
                    <a:pt x="14" y="47"/>
                    <a:pt x="15" y="46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5" y="35"/>
                    <a:pt x="47" y="33"/>
                    <a:pt x="47" y="31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8" y="18"/>
                    <a:pt x="48" y="17"/>
                    <a:pt x="47" y="16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3" y="11"/>
                    <a:pt x="43" y="10"/>
                    <a:pt x="44" y="8"/>
                  </a:cubicBezTo>
                  <a:lnTo>
                    <a:pt x="39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Freeform 45">
              <a:extLst>
                <a:ext uri="{FF2B5EF4-FFF2-40B4-BE49-F238E27FC236}">
                  <a16:creationId xmlns:a16="http://schemas.microsoft.com/office/drawing/2014/main" id="{79932821-61FB-4ACB-88AB-06C5271F57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6100" y="3287713"/>
              <a:ext cx="77788" cy="60325"/>
            </a:xfrm>
            <a:custGeom>
              <a:avLst/>
              <a:gdLst>
                <a:gd name="T0" fmla="*/ 7 w 26"/>
                <a:gd name="T1" fmla="*/ 14 h 20"/>
                <a:gd name="T2" fmla="*/ 7 w 26"/>
                <a:gd name="T3" fmla="*/ 14 h 20"/>
                <a:gd name="T4" fmla="*/ 12 w 26"/>
                <a:gd name="T5" fmla="*/ 15 h 20"/>
                <a:gd name="T6" fmla="*/ 17 w 26"/>
                <a:gd name="T7" fmla="*/ 20 h 20"/>
                <a:gd name="T8" fmla="*/ 20 w 26"/>
                <a:gd name="T9" fmla="*/ 18 h 20"/>
                <a:gd name="T10" fmla="*/ 21 w 26"/>
                <a:gd name="T11" fmla="*/ 18 h 20"/>
                <a:gd name="T12" fmla="*/ 25 w 26"/>
                <a:gd name="T13" fmla="*/ 15 h 20"/>
                <a:gd name="T14" fmla="*/ 26 w 26"/>
                <a:gd name="T15" fmla="*/ 12 h 20"/>
                <a:gd name="T16" fmla="*/ 25 w 26"/>
                <a:gd name="T17" fmla="*/ 8 h 20"/>
                <a:gd name="T18" fmla="*/ 19 w 26"/>
                <a:gd name="T19" fmla="*/ 2 h 20"/>
                <a:gd name="T20" fmla="*/ 16 w 26"/>
                <a:gd name="T21" fmla="*/ 1 h 20"/>
                <a:gd name="T22" fmla="*/ 10 w 26"/>
                <a:gd name="T23" fmla="*/ 0 h 20"/>
                <a:gd name="T24" fmla="*/ 6 w 26"/>
                <a:gd name="T25" fmla="*/ 2 h 20"/>
                <a:gd name="T26" fmla="*/ 0 w 26"/>
                <a:gd name="T27" fmla="*/ 12 h 20"/>
                <a:gd name="T28" fmla="*/ 0 w 26"/>
                <a:gd name="T29" fmla="*/ 12 h 20"/>
                <a:gd name="T30" fmla="*/ 0 w 26"/>
                <a:gd name="T31" fmla="*/ 13 h 20"/>
                <a:gd name="T32" fmla="*/ 7 w 26"/>
                <a:gd name="T33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20">
                  <a:moveTo>
                    <a:pt x="7" y="14"/>
                  </a:moveTo>
                  <a:cubicBezTo>
                    <a:pt x="7" y="14"/>
                    <a:pt x="7" y="14"/>
                    <a:pt x="7" y="14"/>
                  </a:cubicBezTo>
                  <a:cubicBezTo>
                    <a:pt x="9" y="14"/>
                    <a:pt x="11" y="14"/>
                    <a:pt x="12" y="15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19"/>
                    <a:pt x="18" y="18"/>
                    <a:pt x="20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3" y="18"/>
                    <a:pt x="24" y="17"/>
                    <a:pt x="25" y="15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1"/>
                    <a:pt x="26" y="9"/>
                    <a:pt x="25" y="8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7" y="1"/>
                    <a:pt x="16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6" y="1"/>
                    <a:pt x="6" y="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4"/>
                    <a:pt x="4" y="15"/>
                    <a:pt x="7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Freeform 46">
              <a:extLst>
                <a:ext uri="{FF2B5EF4-FFF2-40B4-BE49-F238E27FC236}">
                  <a16:creationId xmlns:a16="http://schemas.microsoft.com/office/drawing/2014/main" id="{810FAD50-ADDF-4B01-9BEC-F3E6797F7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3663" y="3713163"/>
              <a:ext cx="128588" cy="128588"/>
            </a:xfrm>
            <a:custGeom>
              <a:avLst/>
              <a:gdLst>
                <a:gd name="T0" fmla="*/ 43 w 43"/>
                <a:gd name="T1" fmla="*/ 25 h 43"/>
                <a:gd name="T2" fmla="*/ 33 w 43"/>
                <a:gd name="T3" fmla="*/ 43 h 43"/>
                <a:gd name="T4" fmla="*/ 33 w 43"/>
                <a:gd name="T5" fmla="*/ 43 h 43"/>
                <a:gd name="T6" fmla="*/ 4 w 43"/>
                <a:gd name="T7" fmla="*/ 19 h 43"/>
                <a:gd name="T8" fmla="*/ 7 w 43"/>
                <a:gd name="T9" fmla="*/ 14 h 43"/>
                <a:gd name="T10" fmla="*/ 0 w 43"/>
                <a:gd name="T11" fmla="*/ 9 h 43"/>
                <a:gd name="T12" fmla="*/ 2 w 43"/>
                <a:gd name="T13" fmla="*/ 4 h 43"/>
                <a:gd name="T14" fmla="*/ 7 w 43"/>
                <a:gd name="T15" fmla="*/ 4 h 43"/>
                <a:gd name="T16" fmla="*/ 11 w 43"/>
                <a:gd name="T17" fmla="*/ 0 h 43"/>
                <a:gd name="T18" fmla="*/ 31 w 43"/>
                <a:gd name="T19" fmla="*/ 3 h 43"/>
                <a:gd name="T20" fmla="*/ 40 w 43"/>
                <a:gd name="T21" fmla="*/ 9 h 43"/>
                <a:gd name="T22" fmla="*/ 39 w 43"/>
                <a:gd name="T23" fmla="*/ 10 h 43"/>
                <a:gd name="T24" fmla="*/ 39 w 43"/>
                <a:gd name="T25" fmla="*/ 14 h 43"/>
                <a:gd name="T26" fmla="*/ 43 w 43"/>
                <a:gd name="T27" fmla="*/ 23 h 43"/>
                <a:gd name="T28" fmla="*/ 43 w 43"/>
                <a:gd name="T29" fmla="*/ 2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43">
                  <a:moveTo>
                    <a:pt x="43" y="25"/>
                  </a:move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8" y="11"/>
                    <a:pt x="38" y="13"/>
                    <a:pt x="39" y="14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4"/>
                    <a:pt x="43" y="25"/>
                    <a:pt x="43" y="2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Freeform 47">
              <a:extLst>
                <a:ext uri="{FF2B5EF4-FFF2-40B4-BE49-F238E27FC236}">
                  <a16:creationId xmlns:a16="http://schemas.microsoft.com/office/drawing/2014/main" id="{2F6B4EA8-D839-47DB-822A-070E4A074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6200" y="2636838"/>
              <a:ext cx="338138" cy="182563"/>
            </a:xfrm>
            <a:custGeom>
              <a:avLst/>
              <a:gdLst>
                <a:gd name="T0" fmla="*/ 101 w 113"/>
                <a:gd name="T1" fmla="*/ 45 h 61"/>
                <a:gd name="T2" fmla="*/ 108 w 113"/>
                <a:gd name="T3" fmla="*/ 37 h 61"/>
                <a:gd name="T4" fmla="*/ 109 w 113"/>
                <a:gd name="T5" fmla="*/ 17 h 61"/>
                <a:gd name="T6" fmla="*/ 101 w 113"/>
                <a:gd name="T7" fmla="*/ 6 h 61"/>
                <a:gd name="T8" fmla="*/ 89 w 113"/>
                <a:gd name="T9" fmla="*/ 0 h 61"/>
                <a:gd name="T10" fmla="*/ 69 w 113"/>
                <a:gd name="T11" fmla="*/ 2 h 61"/>
                <a:gd name="T12" fmla="*/ 61 w 113"/>
                <a:gd name="T13" fmla="*/ 6 h 61"/>
                <a:gd name="T14" fmla="*/ 54 w 113"/>
                <a:gd name="T15" fmla="*/ 11 h 61"/>
                <a:gd name="T16" fmla="*/ 48 w 113"/>
                <a:gd name="T17" fmla="*/ 11 h 61"/>
                <a:gd name="T18" fmla="*/ 41 w 113"/>
                <a:gd name="T19" fmla="*/ 10 h 61"/>
                <a:gd name="T20" fmla="*/ 35 w 113"/>
                <a:gd name="T21" fmla="*/ 15 h 61"/>
                <a:gd name="T22" fmla="*/ 28 w 113"/>
                <a:gd name="T23" fmla="*/ 15 h 61"/>
                <a:gd name="T24" fmla="*/ 24 w 113"/>
                <a:gd name="T25" fmla="*/ 10 h 61"/>
                <a:gd name="T26" fmla="*/ 5 w 113"/>
                <a:gd name="T27" fmla="*/ 11 h 61"/>
                <a:gd name="T28" fmla="*/ 3 w 113"/>
                <a:gd name="T29" fmla="*/ 13 h 61"/>
                <a:gd name="T30" fmla="*/ 3 w 113"/>
                <a:gd name="T31" fmla="*/ 25 h 61"/>
                <a:gd name="T32" fmla="*/ 11 w 113"/>
                <a:gd name="T33" fmla="*/ 38 h 61"/>
                <a:gd name="T34" fmla="*/ 20 w 113"/>
                <a:gd name="T35" fmla="*/ 42 h 61"/>
                <a:gd name="T36" fmla="*/ 22 w 113"/>
                <a:gd name="T37" fmla="*/ 42 h 61"/>
                <a:gd name="T38" fmla="*/ 40 w 113"/>
                <a:gd name="T39" fmla="*/ 55 h 61"/>
                <a:gd name="T40" fmla="*/ 58 w 113"/>
                <a:gd name="T41" fmla="*/ 61 h 61"/>
                <a:gd name="T42" fmla="*/ 64 w 113"/>
                <a:gd name="T43" fmla="*/ 61 h 61"/>
                <a:gd name="T44" fmla="*/ 66 w 113"/>
                <a:gd name="T45" fmla="*/ 61 h 61"/>
                <a:gd name="T46" fmla="*/ 99 w 113"/>
                <a:gd name="T47" fmla="*/ 46 h 61"/>
                <a:gd name="T48" fmla="*/ 101 w 113"/>
                <a:gd name="T49" fmla="*/ 4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3" h="61">
                  <a:moveTo>
                    <a:pt x="101" y="45"/>
                  </a:moveTo>
                  <a:cubicBezTo>
                    <a:pt x="108" y="37"/>
                    <a:pt x="108" y="37"/>
                    <a:pt x="108" y="37"/>
                  </a:cubicBezTo>
                  <a:cubicBezTo>
                    <a:pt x="113" y="31"/>
                    <a:pt x="113" y="23"/>
                    <a:pt x="109" y="17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98" y="2"/>
                    <a:pt x="93" y="0"/>
                    <a:pt x="89" y="0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6" y="3"/>
                    <a:pt x="63" y="4"/>
                    <a:pt x="61" y="6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2" y="13"/>
                    <a:pt x="49" y="13"/>
                    <a:pt x="48" y="11"/>
                  </a:cubicBezTo>
                  <a:cubicBezTo>
                    <a:pt x="46" y="9"/>
                    <a:pt x="43" y="8"/>
                    <a:pt x="41" y="10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3" y="17"/>
                    <a:pt x="30" y="17"/>
                    <a:pt x="28" y="15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18" y="4"/>
                    <a:pt x="9" y="4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17"/>
                    <a:pt x="0" y="21"/>
                    <a:pt x="3" y="25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3" y="41"/>
                    <a:pt x="17" y="42"/>
                    <a:pt x="20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2" y="43"/>
                    <a:pt x="33" y="50"/>
                    <a:pt x="40" y="55"/>
                  </a:cubicBezTo>
                  <a:cubicBezTo>
                    <a:pt x="45" y="59"/>
                    <a:pt x="52" y="61"/>
                    <a:pt x="58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1"/>
                    <a:pt x="66" y="61"/>
                    <a:pt x="66" y="61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100" y="46"/>
                    <a:pt x="100" y="45"/>
                    <a:pt x="101" y="4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Freeform 48">
              <a:extLst>
                <a:ext uri="{FF2B5EF4-FFF2-40B4-BE49-F238E27FC236}">
                  <a16:creationId xmlns:a16="http://schemas.microsoft.com/office/drawing/2014/main" id="{AD33EEA6-D6FA-43EF-8000-EA170B5AE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1475" y="4157663"/>
              <a:ext cx="117475" cy="36513"/>
            </a:xfrm>
            <a:custGeom>
              <a:avLst/>
              <a:gdLst>
                <a:gd name="T0" fmla="*/ 38 w 39"/>
                <a:gd name="T1" fmla="*/ 6 h 12"/>
                <a:gd name="T2" fmla="*/ 38 w 39"/>
                <a:gd name="T3" fmla="*/ 6 h 12"/>
                <a:gd name="T4" fmla="*/ 34 w 39"/>
                <a:gd name="T5" fmla="*/ 3 h 12"/>
                <a:gd name="T6" fmla="*/ 22 w 39"/>
                <a:gd name="T7" fmla="*/ 1 h 12"/>
                <a:gd name="T8" fmla="*/ 21 w 39"/>
                <a:gd name="T9" fmla="*/ 1 h 12"/>
                <a:gd name="T10" fmla="*/ 11 w 39"/>
                <a:gd name="T11" fmla="*/ 0 h 12"/>
                <a:gd name="T12" fmla="*/ 0 w 39"/>
                <a:gd name="T13" fmla="*/ 6 h 12"/>
                <a:gd name="T14" fmla="*/ 17 w 39"/>
                <a:gd name="T15" fmla="*/ 6 h 12"/>
                <a:gd name="T16" fmla="*/ 17 w 39"/>
                <a:gd name="T17" fmla="*/ 8 h 12"/>
                <a:gd name="T18" fmla="*/ 22 w 39"/>
                <a:gd name="T19" fmla="*/ 7 h 12"/>
                <a:gd name="T20" fmla="*/ 25 w 39"/>
                <a:gd name="T21" fmla="*/ 7 h 12"/>
                <a:gd name="T22" fmla="*/ 34 w 39"/>
                <a:gd name="T23" fmla="*/ 11 h 12"/>
                <a:gd name="T24" fmla="*/ 38 w 39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12">
                  <a:moveTo>
                    <a:pt x="38" y="6"/>
                  </a:moveTo>
                  <a:cubicBezTo>
                    <a:pt x="38" y="6"/>
                    <a:pt x="38" y="6"/>
                    <a:pt x="38" y="6"/>
                  </a:cubicBezTo>
                  <a:cubicBezTo>
                    <a:pt x="37" y="4"/>
                    <a:pt x="36" y="3"/>
                    <a:pt x="34" y="3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0" y="0"/>
                    <a:pt x="0" y="6"/>
                  </a:cubicBezTo>
                  <a:cubicBezTo>
                    <a:pt x="0" y="7"/>
                    <a:pt x="17" y="6"/>
                    <a:pt x="17" y="6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3" y="7"/>
                    <a:pt x="24" y="7"/>
                    <a:pt x="25" y="7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6" y="12"/>
                    <a:pt x="39" y="9"/>
                    <a:pt x="38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Freeform 52">
              <a:extLst>
                <a:ext uri="{FF2B5EF4-FFF2-40B4-BE49-F238E27FC236}">
                  <a16:creationId xmlns:a16="http://schemas.microsoft.com/office/drawing/2014/main" id="{08171183-C0A1-409F-B001-E43549636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4170363"/>
              <a:ext cx="76200" cy="50800"/>
            </a:xfrm>
            <a:custGeom>
              <a:avLst/>
              <a:gdLst>
                <a:gd name="T0" fmla="*/ 25 w 25"/>
                <a:gd name="T1" fmla="*/ 1 h 17"/>
                <a:gd name="T2" fmla="*/ 25 w 25"/>
                <a:gd name="T3" fmla="*/ 1 h 17"/>
                <a:gd name="T4" fmla="*/ 25 w 25"/>
                <a:gd name="T5" fmla="*/ 2 h 17"/>
                <a:gd name="T6" fmla="*/ 19 w 25"/>
                <a:gd name="T7" fmla="*/ 7 h 17"/>
                <a:gd name="T8" fmla="*/ 19 w 25"/>
                <a:gd name="T9" fmla="*/ 8 h 17"/>
                <a:gd name="T10" fmla="*/ 18 w 25"/>
                <a:gd name="T11" fmla="*/ 10 h 17"/>
                <a:gd name="T12" fmla="*/ 17 w 25"/>
                <a:gd name="T13" fmla="*/ 10 h 17"/>
                <a:gd name="T14" fmla="*/ 12 w 25"/>
                <a:gd name="T15" fmla="*/ 15 h 17"/>
                <a:gd name="T16" fmla="*/ 12 w 25"/>
                <a:gd name="T17" fmla="*/ 15 h 17"/>
                <a:gd name="T18" fmla="*/ 3 w 25"/>
                <a:gd name="T19" fmla="*/ 17 h 17"/>
                <a:gd name="T20" fmla="*/ 2 w 25"/>
                <a:gd name="T21" fmla="*/ 16 h 17"/>
                <a:gd name="T22" fmla="*/ 0 w 25"/>
                <a:gd name="T23" fmla="*/ 10 h 17"/>
                <a:gd name="T24" fmla="*/ 1 w 25"/>
                <a:gd name="T25" fmla="*/ 8 h 17"/>
                <a:gd name="T26" fmla="*/ 7 w 25"/>
                <a:gd name="T27" fmla="*/ 7 h 17"/>
                <a:gd name="T28" fmla="*/ 8 w 25"/>
                <a:gd name="T29" fmla="*/ 6 h 17"/>
                <a:gd name="T30" fmla="*/ 8 w 25"/>
                <a:gd name="T31" fmla="*/ 4 h 17"/>
                <a:gd name="T32" fmla="*/ 9 w 25"/>
                <a:gd name="T33" fmla="*/ 3 h 17"/>
                <a:gd name="T34" fmla="*/ 14 w 25"/>
                <a:gd name="T35" fmla="*/ 3 h 17"/>
                <a:gd name="T36" fmla="*/ 16 w 25"/>
                <a:gd name="T37" fmla="*/ 2 h 17"/>
                <a:gd name="T38" fmla="*/ 17 w 25"/>
                <a:gd name="T39" fmla="*/ 1 h 17"/>
                <a:gd name="T40" fmla="*/ 24 w 25"/>
                <a:gd name="T41" fmla="*/ 0 h 17"/>
                <a:gd name="T42" fmla="*/ 25 w 25"/>
                <a:gd name="T43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17">
                  <a:moveTo>
                    <a:pt x="25" y="1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5" y="1"/>
                    <a:pt x="25" y="2"/>
                    <a:pt x="25" y="2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8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7" y="1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2" y="16"/>
                    <a:pt x="2" y="1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8" y="7"/>
                    <a:pt x="8" y="6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6" y="3"/>
                    <a:pt x="16" y="2"/>
                  </a:cubicBezTo>
                  <a:cubicBezTo>
                    <a:pt x="16" y="1"/>
                    <a:pt x="16" y="1"/>
                    <a:pt x="17" y="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5" y="0"/>
                    <a:pt x="25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6" name="Group 315">
            <a:extLst>
              <a:ext uri="{FF2B5EF4-FFF2-40B4-BE49-F238E27FC236}">
                <a16:creationId xmlns:a16="http://schemas.microsoft.com/office/drawing/2014/main" id="{6B105014-82ED-4C60-8679-95129CDA6806}"/>
              </a:ext>
            </a:extLst>
          </p:cNvPr>
          <p:cNvGrpSpPr>
            <a:grpSpLocks noChangeAspect="1"/>
          </p:cNvGrpSpPr>
          <p:nvPr/>
        </p:nvGrpSpPr>
        <p:grpSpPr>
          <a:xfrm>
            <a:off x="10228778" y="4030968"/>
            <a:ext cx="311999" cy="291999"/>
            <a:chOff x="5757863" y="4910138"/>
            <a:chExt cx="371475" cy="347662"/>
          </a:xfrm>
          <a:solidFill>
            <a:schemeClr val="tx2"/>
          </a:solidFill>
        </p:grpSpPr>
        <p:sp>
          <p:nvSpPr>
            <p:cNvPr id="317" name="Freeform 67">
              <a:extLst>
                <a:ext uri="{FF2B5EF4-FFF2-40B4-BE49-F238E27FC236}">
                  <a16:creationId xmlns:a16="http://schemas.microsoft.com/office/drawing/2014/main" id="{E2AF8C15-C7FF-4D76-A19F-61B5F0530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863" y="5148263"/>
              <a:ext cx="371475" cy="69850"/>
            </a:xfrm>
            <a:custGeom>
              <a:avLst/>
              <a:gdLst>
                <a:gd name="T0" fmla="*/ 89 w 96"/>
                <a:gd name="T1" fmla="*/ 18 h 18"/>
                <a:gd name="T2" fmla="*/ 88 w 96"/>
                <a:gd name="T3" fmla="*/ 18 h 18"/>
                <a:gd name="T4" fmla="*/ 88 w 96"/>
                <a:gd name="T5" fmla="*/ 15 h 18"/>
                <a:gd name="T6" fmla="*/ 92 w 96"/>
                <a:gd name="T7" fmla="*/ 4 h 18"/>
                <a:gd name="T8" fmla="*/ 4 w 96"/>
                <a:gd name="T9" fmla="*/ 4 h 18"/>
                <a:gd name="T10" fmla="*/ 8 w 96"/>
                <a:gd name="T11" fmla="*/ 15 h 18"/>
                <a:gd name="T12" fmla="*/ 8 w 96"/>
                <a:gd name="T13" fmla="*/ 18 h 18"/>
                <a:gd name="T14" fmla="*/ 5 w 96"/>
                <a:gd name="T15" fmla="*/ 17 h 18"/>
                <a:gd name="T16" fmla="*/ 0 w 96"/>
                <a:gd name="T17" fmla="*/ 2 h 18"/>
                <a:gd name="T18" fmla="*/ 2 w 96"/>
                <a:gd name="T19" fmla="*/ 0 h 18"/>
                <a:gd name="T20" fmla="*/ 94 w 96"/>
                <a:gd name="T21" fmla="*/ 0 h 18"/>
                <a:gd name="T22" fmla="*/ 96 w 96"/>
                <a:gd name="T23" fmla="*/ 2 h 18"/>
                <a:gd name="T24" fmla="*/ 91 w 96"/>
                <a:gd name="T25" fmla="*/ 17 h 18"/>
                <a:gd name="T26" fmla="*/ 89 w 96"/>
                <a:gd name="T2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18">
                  <a:moveTo>
                    <a:pt x="89" y="18"/>
                  </a:moveTo>
                  <a:cubicBezTo>
                    <a:pt x="89" y="18"/>
                    <a:pt x="89" y="18"/>
                    <a:pt x="88" y="18"/>
                  </a:cubicBezTo>
                  <a:cubicBezTo>
                    <a:pt x="87" y="17"/>
                    <a:pt x="87" y="16"/>
                    <a:pt x="88" y="15"/>
                  </a:cubicBezTo>
                  <a:cubicBezTo>
                    <a:pt x="90" y="12"/>
                    <a:pt x="92" y="8"/>
                    <a:pt x="92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8"/>
                    <a:pt x="6" y="12"/>
                    <a:pt x="8" y="15"/>
                  </a:cubicBezTo>
                  <a:cubicBezTo>
                    <a:pt x="9" y="16"/>
                    <a:pt x="9" y="17"/>
                    <a:pt x="8" y="18"/>
                  </a:cubicBezTo>
                  <a:cubicBezTo>
                    <a:pt x="7" y="18"/>
                    <a:pt x="6" y="18"/>
                    <a:pt x="5" y="17"/>
                  </a:cubicBezTo>
                  <a:cubicBezTo>
                    <a:pt x="2" y="13"/>
                    <a:pt x="0" y="7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5" y="0"/>
                    <a:pt x="96" y="1"/>
                    <a:pt x="96" y="2"/>
                  </a:cubicBezTo>
                  <a:cubicBezTo>
                    <a:pt x="96" y="7"/>
                    <a:pt x="94" y="13"/>
                    <a:pt x="91" y="17"/>
                  </a:cubicBezTo>
                  <a:cubicBezTo>
                    <a:pt x="91" y="18"/>
                    <a:pt x="90" y="18"/>
                    <a:pt x="89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68">
              <a:extLst>
                <a:ext uri="{FF2B5EF4-FFF2-40B4-BE49-F238E27FC236}">
                  <a16:creationId xmlns:a16="http://schemas.microsoft.com/office/drawing/2014/main" id="{462AE650-072C-47D9-A4EA-3CBF574F67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3901" y="5072063"/>
              <a:ext cx="279400" cy="92075"/>
            </a:xfrm>
            <a:custGeom>
              <a:avLst/>
              <a:gdLst>
                <a:gd name="T0" fmla="*/ 70 w 72"/>
                <a:gd name="T1" fmla="*/ 24 h 24"/>
                <a:gd name="T2" fmla="*/ 68 w 72"/>
                <a:gd name="T3" fmla="*/ 22 h 24"/>
                <a:gd name="T4" fmla="*/ 68 w 72"/>
                <a:gd name="T5" fmla="*/ 4 h 24"/>
                <a:gd name="T6" fmla="*/ 4 w 72"/>
                <a:gd name="T7" fmla="*/ 4 h 24"/>
                <a:gd name="T8" fmla="*/ 4 w 72"/>
                <a:gd name="T9" fmla="*/ 22 h 24"/>
                <a:gd name="T10" fmla="*/ 2 w 72"/>
                <a:gd name="T11" fmla="*/ 24 h 24"/>
                <a:gd name="T12" fmla="*/ 0 w 72"/>
                <a:gd name="T13" fmla="*/ 22 h 24"/>
                <a:gd name="T14" fmla="*/ 0 w 72"/>
                <a:gd name="T15" fmla="*/ 2 h 24"/>
                <a:gd name="T16" fmla="*/ 2 w 72"/>
                <a:gd name="T17" fmla="*/ 0 h 24"/>
                <a:gd name="T18" fmla="*/ 70 w 72"/>
                <a:gd name="T19" fmla="*/ 0 h 24"/>
                <a:gd name="T20" fmla="*/ 72 w 72"/>
                <a:gd name="T21" fmla="*/ 2 h 24"/>
                <a:gd name="T22" fmla="*/ 72 w 72"/>
                <a:gd name="T23" fmla="*/ 22 h 24"/>
                <a:gd name="T24" fmla="*/ 70 w 72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24">
                  <a:moveTo>
                    <a:pt x="70" y="24"/>
                  </a:moveTo>
                  <a:cubicBezTo>
                    <a:pt x="69" y="24"/>
                    <a:pt x="68" y="23"/>
                    <a:pt x="68" y="22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3"/>
                    <a:pt x="3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1" y="0"/>
                    <a:pt x="72" y="1"/>
                    <a:pt x="72" y="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3"/>
                    <a:pt x="71" y="24"/>
                    <a:pt x="70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69">
              <a:extLst>
                <a:ext uri="{FF2B5EF4-FFF2-40B4-BE49-F238E27FC236}">
                  <a16:creationId xmlns:a16="http://schemas.microsoft.com/office/drawing/2014/main" id="{945A5B95-19D5-46CD-804F-12B3B7B0C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1526" y="4994275"/>
              <a:ext cx="76200" cy="93662"/>
            </a:xfrm>
            <a:custGeom>
              <a:avLst/>
              <a:gdLst>
                <a:gd name="T0" fmla="*/ 18 w 20"/>
                <a:gd name="T1" fmla="*/ 24 h 24"/>
                <a:gd name="T2" fmla="*/ 16 w 20"/>
                <a:gd name="T3" fmla="*/ 22 h 24"/>
                <a:gd name="T4" fmla="*/ 16 w 20"/>
                <a:gd name="T5" fmla="*/ 4 h 24"/>
                <a:gd name="T6" fmla="*/ 4 w 20"/>
                <a:gd name="T7" fmla="*/ 4 h 24"/>
                <a:gd name="T8" fmla="*/ 4 w 20"/>
                <a:gd name="T9" fmla="*/ 22 h 24"/>
                <a:gd name="T10" fmla="*/ 2 w 20"/>
                <a:gd name="T11" fmla="*/ 24 h 24"/>
                <a:gd name="T12" fmla="*/ 0 w 20"/>
                <a:gd name="T13" fmla="*/ 22 h 24"/>
                <a:gd name="T14" fmla="*/ 0 w 20"/>
                <a:gd name="T15" fmla="*/ 2 h 24"/>
                <a:gd name="T16" fmla="*/ 2 w 20"/>
                <a:gd name="T17" fmla="*/ 0 h 24"/>
                <a:gd name="T18" fmla="*/ 18 w 20"/>
                <a:gd name="T19" fmla="*/ 0 h 24"/>
                <a:gd name="T20" fmla="*/ 20 w 20"/>
                <a:gd name="T21" fmla="*/ 2 h 24"/>
                <a:gd name="T22" fmla="*/ 20 w 20"/>
                <a:gd name="T23" fmla="*/ 22 h 24"/>
                <a:gd name="T24" fmla="*/ 18 w 20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4">
                  <a:moveTo>
                    <a:pt x="18" y="24"/>
                  </a:moveTo>
                  <a:cubicBezTo>
                    <a:pt x="17" y="24"/>
                    <a:pt x="16" y="23"/>
                    <a:pt x="16" y="2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3"/>
                    <a:pt x="3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3"/>
                    <a:pt x="19" y="24"/>
                    <a:pt x="1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Freeform 70">
              <a:extLst>
                <a:ext uri="{FF2B5EF4-FFF2-40B4-BE49-F238E27FC236}">
                  <a16:creationId xmlns:a16="http://schemas.microsoft.com/office/drawing/2014/main" id="{A1D21E08-5C01-4F54-A520-7A97B4FBB3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1526" y="5026025"/>
              <a:ext cx="76200" cy="14287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Freeform 71">
              <a:extLst>
                <a:ext uri="{FF2B5EF4-FFF2-40B4-BE49-F238E27FC236}">
                  <a16:creationId xmlns:a16="http://schemas.microsoft.com/office/drawing/2014/main" id="{B318A5F0-4368-4174-862D-AF73410947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9476" y="4994275"/>
              <a:ext cx="77788" cy="93662"/>
            </a:xfrm>
            <a:custGeom>
              <a:avLst/>
              <a:gdLst>
                <a:gd name="T0" fmla="*/ 18 w 20"/>
                <a:gd name="T1" fmla="*/ 24 h 24"/>
                <a:gd name="T2" fmla="*/ 16 w 20"/>
                <a:gd name="T3" fmla="*/ 22 h 24"/>
                <a:gd name="T4" fmla="*/ 16 w 20"/>
                <a:gd name="T5" fmla="*/ 4 h 24"/>
                <a:gd name="T6" fmla="*/ 4 w 20"/>
                <a:gd name="T7" fmla="*/ 4 h 24"/>
                <a:gd name="T8" fmla="*/ 4 w 20"/>
                <a:gd name="T9" fmla="*/ 22 h 24"/>
                <a:gd name="T10" fmla="*/ 2 w 20"/>
                <a:gd name="T11" fmla="*/ 24 h 24"/>
                <a:gd name="T12" fmla="*/ 0 w 20"/>
                <a:gd name="T13" fmla="*/ 22 h 24"/>
                <a:gd name="T14" fmla="*/ 0 w 20"/>
                <a:gd name="T15" fmla="*/ 2 h 24"/>
                <a:gd name="T16" fmla="*/ 2 w 20"/>
                <a:gd name="T17" fmla="*/ 0 h 24"/>
                <a:gd name="T18" fmla="*/ 18 w 20"/>
                <a:gd name="T19" fmla="*/ 0 h 24"/>
                <a:gd name="T20" fmla="*/ 20 w 20"/>
                <a:gd name="T21" fmla="*/ 2 h 24"/>
                <a:gd name="T22" fmla="*/ 20 w 20"/>
                <a:gd name="T23" fmla="*/ 22 h 24"/>
                <a:gd name="T24" fmla="*/ 18 w 20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4">
                  <a:moveTo>
                    <a:pt x="18" y="24"/>
                  </a:moveTo>
                  <a:cubicBezTo>
                    <a:pt x="17" y="24"/>
                    <a:pt x="16" y="23"/>
                    <a:pt x="16" y="2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3"/>
                    <a:pt x="3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3"/>
                    <a:pt x="19" y="24"/>
                    <a:pt x="1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Freeform 72">
              <a:extLst>
                <a:ext uri="{FF2B5EF4-FFF2-40B4-BE49-F238E27FC236}">
                  <a16:creationId xmlns:a16="http://schemas.microsoft.com/office/drawing/2014/main" id="{6778DA2F-708C-4F70-9C29-FFC476DC8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9476" y="5026025"/>
              <a:ext cx="69850" cy="14287"/>
            </a:xfrm>
            <a:custGeom>
              <a:avLst/>
              <a:gdLst>
                <a:gd name="T0" fmla="*/ 16 w 18"/>
                <a:gd name="T1" fmla="*/ 4 h 4"/>
                <a:gd name="T2" fmla="*/ 2 w 18"/>
                <a:gd name="T3" fmla="*/ 4 h 4"/>
                <a:gd name="T4" fmla="*/ 0 w 18"/>
                <a:gd name="T5" fmla="*/ 2 h 4"/>
                <a:gd name="T6" fmla="*/ 2 w 18"/>
                <a:gd name="T7" fmla="*/ 0 h 4"/>
                <a:gd name="T8" fmla="*/ 16 w 18"/>
                <a:gd name="T9" fmla="*/ 0 h 4"/>
                <a:gd name="T10" fmla="*/ 18 w 18"/>
                <a:gd name="T11" fmla="*/ 2 h 4"/>
                <a:gd name="T12" fmla="*/ 16 w 1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4">
                  <a:moveTo>
                    <a:pt x="1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8" y="1"/>
                    <a:pt x="18" y="2"/>
                  </a:cubicBezTo>
                  <a:cubicBezTo>
                    <a:pt x="18" y="3"/>
                    <a:pt x="17" y="4"/>
                    <a:pt x="1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Freeform 73">
              <a:extLst>
                <a:ext uri="{FF2B5EF4-FFF2-40B4-BE49-F238E27FC236}">
                  <a16:creationId xmlns:a16="http://schemas.microsoft.com/office/drawing/2014/main" id="{C632956E-0EE6-4BFA-816F-ED8BDE048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9626" y="4932363"/>
              <a:ext cx="46038" cy="46037"/>
            </a:xfrm>
            <a:custGeom>
              <a:avLst/>
              <a:gdLst>
                <a:gd name="T0" fmla="*/ 2 w 12"/>
                <a:gd name="T1" fmla="*/ 12 h 12"/>
                <a:gd name="T2" fmla="*/ 0 w 12"/>
                <a:gd name="T3" fmla="*/ 10 h 12"/>
                <a:gd name="T4" fmla="*/ 10 w 12"/>
                <a:gd name="T5" fmla="*/ 0 h 12"/>
                <a:gd name="T6" fmla="*/ 12 w 12"/>
                <a:gd name="T7" fmla="*/ 2 h 12"/>
                <a:gd name="T8" fmla="*/ 10 w 12"/>
                <a:gd name="T9" fmla="*/ 4 h 12"/>
                <a:gd name="T10" fmla="*/ 4 w 12"/>
                <a:gd name="T11" fmla="*/ 10 h 12"/>
                <a:gd name="T12" fmla="*/ 2 w 1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2" y="12"/>
                  </a:moveTo>
                  <a:cubicBezTo>
                    <a:pt x="1" y="12"/>
                    <a:pt x="0" y="11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3"/>
                    <a:pt x="11" y="4"/>
                    <a:pt x="10" y="4"/>
                  </a:cubicBezTo>
                  <a:cubicBezTo>
                    <a:pt x="7" y="4"/>
                    <a:pt x="4" y="7"/>
                    <a:pt x="4" y="10"/>
                  </a:cubicBezTo>
                  <a:cubicBezTo>
                    <a:pt x="4" y="11"/>
                    <a:pt x="3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Freeform 74">
              <a:extLst>
                <a:ext uri="{FF2B5EF4-FFF2-40B4-BE49-F238E27FC236}">
                  <a16:creationId xmlns:a16="http://schemas.microsoft.com/office/drawing/2014/main" id="{69967304-DC3F-4E5E-9984-C5E0BF29A5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788" y="4910138"/>
              <a:ext cx="39688" cy="38100"/>
            </a:xfrm>
            <a:custGeom>
              <a:avLst/>
              <a:gdLst>
                <a:gd name="T0" fmla="*/ 2 w 10"/>
                <a:gd name="T1" fmla="*/ 10 h 10"/>
                <a:gd name="T2" fmla="*/ 0 w 10"/>
                <a:gd name="T3" fmla="*/ 8 h 10"/>
                <a:gd name="T4" fmla="*/ 2 w 10"/>
                <a:gd name="T5" fmla="*/ 6 h 10"/>
                <a:gd name="T6" fmla="*/ 6 w 10"/>
                <a:gd name="T7" fmla="*/ 2 h 10"/>
                <a:gd name="T8" fmla="*/ 8 w 10"/>
                <a:gd name="T9" fmla="*/ 0 h 10"/>
                <a:gd name="T10" fmla="*/ 10 w 10"/>
                <a:gd name="T11" fmla="*/ 2 h 10"/>
                <a:gd name="T12" fmla="*/ 2 w 10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2" y="10"/>
                  </a:moveTo>
                  <a:cubicBezTo>
                    <a:pt x="1" y="10"/>
                    <a:pt x="0" y="9"/>
                    <a:pt x="0" y="8"/>
                  </a:cubicBezTo>
                  <a:cubicBezTo>
                    <a:pt x="0" y="7"/>
                    <a:pt x="1" y="6"/>
                    <a:pt x="2" y="6"/>
                  </a:cubicBezTo>
                  <a:cubicBezTo>
                    <a:pt x="4" y="6"/>
                    <a:pt x="6" y="4"/>
                    <a:pt x="6" y="2"/>
                  </a:cubicBezTo>
                  <a:cubicBezTo>
                    <a:pt x="6" y="1"/>
                    <a:pt x="7" y="0"/>
                    <a:pt x="8" y="0"/>
                  </a:cubicBezTo>
                  <a:cubicBezTo>
                    <a:pt x="9" y="0"/>
                    <a:pt x="10" y="1"/>
                    <a:pt x="10" y="2"/>
                  </a:cubicBezTo>
                  <a:cubicBezTo>
                    <a:pt x="10" y="6"/>
                    <a:pt x="6" y="10"/>
                    <a:pt x="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75">
              <a:extLst>
                <a:ext uri="{FF2B5EF4-FFF2-40B4-BE49-F238E27FC236}">
                  <a16:creationId xmlns:a16="http://schemas.microsoft.com/office/drawing/2014/main" id="{27566E80-ADA0-4691-B43A-6CC8397714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1701" y="4932363"/>
              <a:ext cx="47625" cy="46037"/>
            </a:xfrm>
            <a:custGeom>
              <a:avLst/>
              <a:gdLst>
                <a:gd name="T0" fmla="*/ 2 w 12"/>
                <a:gd name="T1" fmla="*/ 12 h 12"/>
                <a:gd name="T2" fmla="*/ 0 w 12"/>
                <a:gd name="T3" fmla="*/ 10 h 12"/>
                <a:gd name="T4" fmla="*/ 10 w 12"/>
                <a:gd name="T5" fmla="*/ 0 h 12"/>
                <a:gd name="T6" fmla="*/ 12 w 12"/>
                <a:gd name="T7" fmla="*/ 2 h 12"/>
                <a:gd name="T8" fmla="*/ 10 w 12"/>
                <a:gd name="T9" fmla="*/ 4 h 12"/>
                <a:gd name="T10" fmla="*/ 4 w 12"/>
                <a:gd name="T11" fmla="*/ 10 h 12"/>
                <a:gd name="T12" fmla="*/ 2 w 1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2" y="12"/>
                  </a:moveTo>
                  <a:cubicBezTo>
                    <a:pt x="1" y="12"/>
                    <a:pt x="0" y="11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3"/>
                    <a:pt x="11" y="4"/>
                    <a:pt x="10" y="4"/>
                  </a:cubicBezTo>
                  <a:cubicBezTo>
                    <a:pt x="7" y="4"/>
                    <a:pt x="4" y="7"/>
                    <a:pt x="4" y="10"/>
                  </a:cubicBezTo>
                  <a:cubicBezTo>
                    <a:pt x="4" y="11"/>
                    <a:pt x="3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76">
              <a:extLst>
                <a:ext uri="{FF2B5EF4-FFF2-40B4-BE49-F238E27FC236}">
                  <a16:creationId xmlns:a16="http://schemas.microsoft.com/office/drawing/2014/main" id="{57679151-2C88-4A0C-B6BA-B88597AD2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451" y="4910138"/>
              <a:ext cx="38100" cy="38100"/>
            </a:xfrm>
            <a:custGeom>
              <a:avLst/>
              <a:gdLst>
                <a:gd name="T0" fmla="*/ 2 w 10"/>
                <a:gd name="T1" fmla="*/ 10 h 10"/>
                <a:gd name="T2" fmla="*/ 0 w 10"/>
                <a:gd name="T3" fmla="*/ 8 h 10"/>
                <a:gd name="T4" fmla="*/ 2 w 10"/>
                <a:gd name="T5" fmla="*/ 6 h 10"/>
                <a:gd name="T6" fmla="*/ 6 w 10"/>
                <a:gd name="T7" fmla="*/ 2 h 10"/>
                <a:gd name="T8" fmla="*/ 8 w 10"/>
                <a:gd name="T9" fmla="*/ 0 h 10"/>
                <a:gd name="T10" fmla="*/ 10 w 10"/>
                <a:gd name="T11" fmla="*/ 2 h 10"/>
                <a:gd name="T12" fmla="*/ 2 w 10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2" y="10"/>
                  </a:moveTo>
                  <a:cubicBezTo>
                    <a:pt x="1" y="10"/>
                    <a:pt x="0" y="9"/>
                    <a:pt x="0" y="8"/>
                  </a:cubicBezTo>
                  <a:cubicBezTo>
                    <a:pt x="0" y="7"/>
                    <a:pt x="1" y="6"/>
                    <a:pt x="2" y="6"/>
                  </a:cubicBezTo>
                  <a:cubicBezTo>
                    <a:pt x="4" y="6"/>
                    <a:pt x="6" y="4"/>
                    <a:pt x="6" y="2"/>
                  </a:cubicBezTo>
                  <a:cubicBezTo>
                    <a:pt x="6" y="1"/>
                    <a:pt x="7" y="0"/>
                    <a:pt x="8" y="0"/>
                  </a:cubicBezTo>
                  <a:cubicBezTo>
                    <a:pt x="9" y="0"/>
                    <a:pt x="10" y="1"/>
                    <a:pt x="10" y="2"/>
                  </a:cubicBezTo>
                  <a:cubicBezTo>
                    <a:pt x="10" y="6"/>
                    <a:pt x="6" y="10"/>
                    <a:pt x="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Freeform 77">
              <a:extLst>
                <a:ext uri="{FF2B5EF4-FFF2-40B4-BE49-F238E27FC236}">
                  <a16:creationId xmlns:a16="http://schemas.microsoft.com/office/drawing/2014/main" id="{F29A3728-CEA5-4B56-A34E-B33E963247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2788" y="5222875"/>
              <a:ext cx="85725" cy="34925"/>
            </a:xfrm>
            <a:custGeom>
              <a:avLst/>
              <a:gdLst>
                <a:gd name="T0" fmla="*/ 11 w 22"/>
                <a:gd name="T1" fmla="*/ 9 h 9"/>
                <a:gd name="T2" fmla="*/ 11 w 22"/>
                <a:gd name="T3" fmla="*/ 9 h 9"/>
                <a:gd name="T4" fmla="*/ 0 w 22"/>
                <a:gd name="T5" fmla="*/ 3 h 9"/>
                <a:gd name="T6" fmla="*/ 1 w 22"/>
                <a:gd name="T7" fmla="*/ 0 h 9"/>
                <a:gd name="T8" fmla="*/ 4 w 22"/>
                <a:gd name="T9" fmla="*/ 1 h 9"/>
                <a:gd name="T10" fmla="*/ 11 w 22"/>
                <a:gd name="T11" fmla="*/ 5 h 9"/>
                <a:gd name="T12" fmla="*/ 11 w 22"/>
                <a:gd name="T13" fmla="*/ 5 h 9"/>
                <a:gd name="T14" fmla="*/ 18 w 22"/>
                <a:gd name="T15" fmla="*/ 1 h 9"/>
                <a:gd name="T16" fmla="*/ 21 w 22"/>
                <a:gd name="T17" fmla="*/ 0 h 9"/>
                <a:gd name="T18" fmla="*/ 22 w 22"/>
                <a:gd name="T19" fmla="*/ 3 h 9"/>
                <a:gd name="T20" fmla="*/ 11 w 22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9">
                  <a:moveTo>
                    <a:pt x="11" y="9"/>
                  </a:moveTo>
                  <a:cubicBezTo>
                    <a:pt x="11" y="9"/>
                    <a:pt x="11" y="9"/>
                    <a:pt x="11" y="9"/>
                  </a:cubicBezTo>
                  <a:cubicBezTo>
                    <a:pt x="7" y="9"/>
                    <a:pt x="3" y="7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5" y="3"/>
                    <a:pt x="8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4" y="5"/>
                    <a:pt x="17" y="3"/>
                    <a:pt x="18" y="1"/>
                  </a:cubicBezTo>
                  <a:cubicBezTo>
                    <a:pt x="19" y="0"/>
                    <a:pt x="20" y="0"/>
                    <a:pt x="21" y="0"/>
                  </a:cubicBezTo>
                  <a:cubicBezTo>
                    <a:pt x="22" y="1"/>
                    <a:pt x="22" y="2"/>
                    <a:pt x="22" y="3"/>
                  </a:cubicBezTo>
                  <a:cubicBezTo>
                    <a:pt x="19" y="7"/>
                    <a:pt x="15" y="9"/>
                    <a:pt x="1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Freeform 78">
              <a:extLst>
                <a:ext uri="{FF2B5EF4-FFF2-40B4-BE49-F238E27FC236}">
                  <a16:creationId xmlns:a16="http://schemas.microsoft.com/office/drawing/2014/main" id="{BE4611C8-2EA1-418F-B277-7F5EB6275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2638" y="5222875"/>
              <a:ext cx="84138" cy="34925"/>
            </a:xfrm>
            <a:custGeom>
              <a:avLst/>
              <a:gdLst>
                <a:gd name="T0" fmla="*/ 11 w 22"/>
                <a:gd name="T1" fmla="*/ 9 h 9"/>
                <a:gd name="T2" fmla="*/ 11 w 22"/>
                <a:gd name="T3" fmla="*/ 9 h 9"/>
                <a:gd name="T4" fmla="*/ 0 w 22"/>
                <a:gd name="T5" fmla="*/ 3 h 9"/>
                <a:gd name="T6" fmla="*/ 1 w 22"/>
                <a:gd name="T7" fmla="*/ 0 h 9"/>
                <a:gd name="T8" fmla="*/ 4 w 22"/>
                <a:gd name="T9" fmla="*/ 1 h 9"/>
                <a:gd name="T10" fmla="*/ 11 w 22"/>
                <a:gd name="T11" fmla="*/ 5 h 9"/>
                <a:gd name="T12" fmla="*/ 11 w 22"/>
                <a:gd name="T13" fmla="*/ 5 h 9"/>
                <a:gd name="T14" fmla="*/ 18 w 22"/>
                <a:gd name="T15" fmla="*/ 1 h 9"/>
                <a:gd name="T16" fmla="*/ 21 w 22"/>
                <a:gd name="T17" fmla="*/ 0 h 9"/>
                <a:gd name="T18" fmla="*/ 22 w 22"/>
                <a:gd name="T19" fmla="*/ 3 h 9"/>
                <a:gd name="T20" fmla="*/ 11 w 22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9">
                  <a:moveTo>
                    <a:pt x="11" y="9"/>
                  </a:moveTo>
                  <a:cubicBezTo>
                    <a:pt x="11" y="9"/>
                    <a:pt x="11" y="9"/>
                    <a:pt x="11" y="9"/>
                  </a:cubicBezTo>
                  <a:cubicBezTo>
                    <a:pt x="7" y="9"/>
                    <a:pt x="3" y="7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5" y="3"/>
                    <a:pt x="8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4" y="5"/>
                    <a:pt x="17" y="3"/>
                    <a:pt x="18" y="1"/>
                  </a:cubicBezTo>
                  <a:cubicBezTo>
                    <a:pt x="19" y="0"/>
                    <a:pt x="20" y="0"/>
                    <a:pt x="21" y="0"/>
                  </a:cubicBezTo>
                  <a:cubicBezTo>
                    <a:pt x="22" y="1"/>
                    <a:pt x="22" y="2"/>
                    <a:pt x="22" y="3"/>
                  </a:cubicBezTo>
                  <a:cubicBezTo>
                    <a:pt x="19" y="7"/>
                    <a:pt x="15" y="9"/>
                    <a:pt x="1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Freeform 79">
              <a:extLst>
                <a:ext uri="{FF2B5EF4-FFF2-40B4-BE49-F238E27FC236}">
                  <a16:creationId xmlns:a16="http://schemas.microsoft.com/office/drawing/2014/main" id="{C9A5D1A9-2196-41B8-8ADB-6E3FF9C762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2488" y="5222875"/>
              <a:ext cx="84138" cy="34925"/>
            </a:xfrm>
            <a:custGeom>
              <a:avLst/>
              <a:gdLst>
                <a:gd name="T0" fmla="*/ 11 w 22"/>
                <a:gd name="T1" fmla="*/ 9 h 9"/>
                <a:gd name="T2" fmla="*/ 11 w 22"/>
                <a:gd name="T3" fmla="*/ 9 h 9"/>
                <a:gd name="T4" fmla="*/ 0 w 22"/>
                <a:gd name="T5" fmla="*/ 3 h 9"/>
                <a:gd name="T6" fmla="*/ 1 w 22"/>
                <a:gd name="T7" fmla="*/ 0 h 9"/>
                <a:gd name="T8" fmla="*/ 4 w 22"/>
                <a:gd name="T9" fmla="*/ 1 h 9"/>
                <a:gd name="T10" fmla="*/ 11 w 22"/>
                <a:gd name="T11" fmla="*/ 5 h 9"/>
                <a:gd name="T12" fmla="*/ 11 w 22"/>
                <a:gd name="T13" fmla="*/ 5 h 9"/>
                <a:gd name="T14" fmla="*/ 18 w 22"/>
                <a:gd name="T15" fmla="*/ 1 h 9"/>
                <a:gd name="T16" fmla="*/ 21 w 22"/>
                <a:gd name="T17" fmla="*/ 0 h 9"/>
                <a:gd name="T18" fmla="*/ 22 w 22"/>
                <a:gd name="T19" fmla="*/ 3 h 9"/>
                <a:gd name="T20" fmla="*/ 11 w 22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9">
                  <a:moveTo>
                    <a:pt x="11" y="9"/>
                  </a:moveTo>
                  <a:cubicBezTo>
                    <a:pt x="11" y="9"/>
                    <a:pt x="11" y="9"/>
                    <a:pt x="11" y="9"/>
                  </a:cubicBezTo>
                  <a:cubicBezTo>
                    <a:pt x="7" y="9"/>
                    <a:pt x="3" y="7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5" y="3"/>
                    <a:pt x="8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4" y="5"/>
                    <a:pt x="17" y="3"/>
                    <a:pt x="18" y="1"/>
                  </a:cubicBezTo>
                  <a:cubicBezTo>
                    <a:pt x="19" y="0"/>
                    <a:pt x="20" y="0"/>
                    <a:pt x="21" y="0"/>
                  </a:cubicBezTo>
                  <a:cubicBezTo>
                    <a:pt x="22" y="1"/>
                    <a:pt x="22" y="2"/>
                    <a:pt x="22" y="3"/>
                  </a:cubicBezTo>
                  <a:cubicBezTo>
                    <a:pt x="19" y="7"/>
                    <a:pt x="15" y="9"/>
                    <a:pt x="1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Freeform 80">
              <a:extLst>
                <a:ext uri="{FF2B5EF4-FFF2-40B4-BE49-F238E27FC236}">
                  <a16:creationId xmlns:a16="http://schemas.microsoft.com/office/drawing/2014/main" id="{AFF3BF2C-BC09-4561-ABC2-5749A500F6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2338" y="5222875"/>
              <a:ext cx="84138" cy="34925"/>
            </a:xfrm>
            <a:custGeom>
              <a:avLst/>
              <a:gdLst>
                <a:gd name="T0" fmla="*/ 11 w 22"/>
                <a:gd name="T1" fmla="*/ 9 h 9"/>
                <a:gd name="T2" fmla="*/ 11 w 22"/>
                <a:gd name="T3" fmla="*/ 9 h 9"/>
                <a:gd name="T4" fmla="*/ 0 w 22"/>
                <a:gd name="T5" fmla="*/ 3 h 9"/>
                <a:gd name="T6" fmla="*/ 1 w 22"/>
                <a:gd name="T7" fmla="*/ 0 h 9"/>
                <a:gd name="T8" fmla="*/ 4 w 22"/>
                <a:gd name="T9" fmla="*/ 1 h 9"/>
                <a:gd name="T10" fmla="*/ 11 w 22"/>
                <a:gd name="T11" fmla="*/ 5 h 9"/>
                <a:gd name="T12" fmla="*/ 11 w 22"/>
                <a:gd name="T13" fmla="*/ 5 h 9"/>
                <a:gd name="T14" fmla="*/ 18 w 22"/>
                <a:gd name="T15" fmla="*/ 1 h 9"/>
                <a:gd name="T16" fmla="*/ 21 w 22"/>
                <a:gd name="T17" fmla="*/ 0 h 9"/>
                <a:gd name="T18" fmla="*/ 22 w 22"/>
                <a:gd name="T19" fmla="*/ 3 h 9"/>
                <a:gd name="T20" fmla="*/ 11 w 22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9">
                  <a:moveTo>
                    <a:pt x="11" y="9"/>
                  </a:moveTo>
                  <a:cubicBezTo>
                    <a:pt x="11" y="9"/>
                    <a:pt x="11" y="9"/>
                    <a:pt x="11" y="9"/>
                  </a:cubicBezTo>
                  <a:cubicBezTo>
                    <a:pt x="7" y="9"/>
                    <a:pt x="3" y="7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5" y="3"/>
                    <a:pt x="8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4" y="5"/>
                    <a:pt x="17" y="3"/>
                    <a:pt x="18" y="1"/>
                  </a:cubicBezTo>
                  <a:cubicBezTo>
                    <a:pt x="19" y="0"/>
                    <a:pt x="20" y="0"/>
                    <a:pt x="21" y="0"/>
                  </a:cubicBezTo>
                  <a:cubicBezTo>
                    <a:pt x="22" y="1"/>
                    <a:pt x="22" y="2"/>
                    <a:pt x="22" y="3"/>
                  </a:cubicBezTo>
                  <a:cubicBezTo>
                    <a:pt x="19" y="7"/>
                    <a:pt x="15" y="9"/>
                    <a:pt x="1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Freeform 81">
              <a:extLst>
                <a:ext uri="{FF2B5EF4-FFF2-40B4-BE49-F238E27FC236}">
                  <a16:creationId xmlns:a16="http://schemas.microsoft.com/office/drawing/2014/main" id="{E886FFF9-8E01-464A-A028-7C993F80A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601" y="5222875"/>
              <a:ext cx="50800" cy="34925"/>
            </a:xfrm>
            <a:custGeom>
              <a:avLst/>
              <a:gdLst>
                <a:gd name="T0" fmla="*/ 11 w 13"/>
                <a:gd name="T1" fmla="*/ 9 h 9"/>
                <a:gd name="T2" fmla="*/ 0 w 13"/>
                <a:gd name="T3" fmla="*/ 3 h 9"/>
                <a:gd name="T4" fmla="*/ 1 w 13"/>
                <a:gd name="T5" fmla="*/ 0 h 9"/>
                <a:gd name="T6" fmla="*/ 4 w 13"/>
                <a:gd name="T7" fmla="*/ 1 h 9"/>
                <a:gd name="T8" fmla="*/ 11 w 13"/>
                <a:gd name="T9" fmla="*/ 5 h 9"/>
                <a:gd name="T10" fmla="*/ 11 w 13"/>
                <a:gd name="T11" fmla="*/ 5 h 9"/>
                <a:gd name="T12" fmla="*/ 13 w 13"/>
                <a:gd name="T13" fmla="*/ 7 h 9"/>
                <a:gd name="T14" fmla="*/ 11 w 13"/>
                <a:gd name="T15" fmla="*/ 9 h 9"/>
                <a:gd name="T16" fmla="*/ 11 w 13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9">
                  <a:moveTo>
                    <a:pt x="11" y="9"/>
                  </a:moveTo>
                  <a:cubicBezTo>
                    <a:pt x="7" y="9"/>
                    <a:pt x="3" y="7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5" y="3"/>
                    <a:pt x="8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2" y="5"/>
                    <a:pt x="13" y="6"/>
                    <a:pt x="13" y="7"/>
                  </a:cubicBezTo>
                  <a:cubicBezTo>
                    <a:pt x="13" y="8"/>
                    <a:pt x="12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Freeform 82">
              <a:extLst>
                <a:ext uri="{FF2B5EF4-FFF2-40B4-BE49-F238E27FC236}">
                  <a16:creationId xmlns:a16="http://schemas.microsoft.com/office/drawing/2014/main" id="{09944215-FB2A-4F3D-AE3A-78858563BB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863" y="5222875"/>
              <a:ext cx="50800" cy="34925"/>
            </a:xfrm>
            <a:custGeom>
              <a:avLst/>
              <a:gdLst>
                <a:gd name="T0" fmla="*/ 2 w 13"/>
                <a:gd name="T1" fmla="*/ 9 h 9"/>
                <a:gd name="T2" fmla="*/ 0 w 13"/>
                <a:gd name="T3" fmla="*/ 7 h 9"/>
                <a:gd name="T4" fmla="*/ 2 w 13"/>
                <a:gd name="T5" fmla="*/ 5 h 9"/>
                <a:gd name="T6" fmla="*/ 2 w 13"/>
                <a:gd name="T7" fmla="*/ 5 h 9"/>
                <a:gd name="T8" fmla="*/ 2 w 13"/>
                <a:gd name="T9" fmla="*/ 5 h 9"/>
                <a:gd name="T10" fmla="*/ 9 w 13"/>
                <a:gd name="T11" fmla="*/ 1 h 9"/>
                <a:gd name="T12" fmla="*/ 12 w 13"/>
                <a:gd name="T13" fmla="*/ 0 h 9"/>
                <a:gd name="T14" fmla="*/ 13 w 13"/>
                <a:gd name="T15" fmla="*/ 3 h 9"/>
                <a:gd name="T16" fmla="*/ 2 w 13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9">
                  <a:moveTo>
                    <a:pt x="2" y="9"/>
                  </a:moveTo>
                  <a:cubicBezTo>
                    <a:pt x="1" y="9"/>
                    <a:pt x="0" y="8"/>
                    <a:pt x="0" y="7"/>
                  </a:cubicBezTo>
                  <a:cubicBezTo>
                    <a:pt x="0" y="6"/>
                    <a:pt x="1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5" y="5"/>
                    <a:pt x="8" y="3"/>
                    <a:pt x="9" y="1"/>
                  </a:cubicBezTo>
                  <a:cubicBezTo>
                    <a:pt x="10" y="0"/>
                    <a:pt x="11" y="0"/>
                    <a:pt x="12" y="0"/>
                  </a:cubicBezTo>
                  <a:cubicBezTo>
                    <a:pt x="13" y="1"/>
                    <a:pt x="13" y="2"/>
                    <a:pt x="13" y="3"/>
                  </a:cubicBezTo>
                  <a:cubicBezTo>
                    <a:pt x="10" y="7"/>
                    <a:pt x="6" y="9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Freeform 83">
              <a:extLst>
                <a:ext uri="{FF2B5EF4-FFF2-40B4-BE49-F238E27FC236}">
                  <a16:creationId xmlns:a16="http://schemas.microsoft.com/office/drawing/2014/main" id="{20373576-F1E6-4FF6-9B77-888226AA1B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1526" y="5118100"/>
              <a:ext cx="38100" cy="15875"/>
            </a:xfrm>
            <a:custGeom>
              <a:avLst/>
              <a:gdLst>
                <a:gd name="T0" fmla="*/ 8 w 10"/>
                <a:gd name="T1" fmla="*/ 4 h 4"/>
                <a:gd name="T2" fmla="*/ 2 w 10"/>
                <a:gd name="T3" fmla="*/ 4 h 4"/>
                <a:gd name="T4" fmla="*/ 0 w 10"/>
                <a:gd name="T5" fmla="*/ 2 h 4"/>
                <a:gd name="T6" fmla="*/ 2 w 10"/>
                <a:gd name="T7" fmla="*/ 0 h 4"/>
                <a:gd name="T8" fmla="*/ 8 w 10"/>
                <a:gd name="T9" fmla="*/ 0 h 4"/>
                <a:gd name="T10" fmla="*/ 10 w 10"/>
                <a:gd name="T11" fmla="*/ 2 h 4"/>
                <a:gd name="T12" fmla="*/ 8 w 1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1"/>
                    <a:pt x="10" y="2"/>
                  </a:cubicBezTo>
                  <a:cubicBezTo>
                    <a:pt x="10" y="3"/>
                    <a:pt x="9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4" name="Freeform 84">
              <a:extLst>
                <a:ext uri="{FF2B5EF4-FFF2-40B4-BE49-F238E27FC236}">
                  <a16:creationId xmlns:a16="http://schemas.microsoft.com/office/drawing/2014/main" id="{2968C92A-EE35-4A1A-AB4A-683C1E860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7726" y="5118100"/>
              <a:ext cx="39688" cy="15875"/>
            </a:xfrm>
            <a:custGeom>
              <a:avLst/>
              <a:gdLst>
                <a:gd name="T0" fmla="*/ 8 w 10"/>
                <a:gd name="T1" fmla="*/ 4 h 4"/>
                <a:gd name="T2" fmla="*/ 2 w 10"/>
                <a:gd name="T3" fmla="*/ 4 h 4"/>
                <a:gd name="T4" fmla="*/ 0 w 10"/>
                <a:gd name="T5" fmla="*/ 2 h 4"/>
                <a:gd name="T6" fmla="*/ 2 w 10"/>
                <a:gd name="T7" fmla="*/ 0 h 4"/>
                <a:gd name="T8" fmla="*/ 8 w 10"/>
                <a:gd name="T9" fmla="*/ 0 h 4"/>
                <a:gd name="T10" fmla="*/ 10 w 10"/>
                <a:gd name="T11" fmla="*/ 2 h 4"/>
                <a:gd name="T12" fmla="*/ 8 w 1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1"/>
                    <a:pt x="10" y="2"/>
                  </a:cubicBezTo>
                  <a:cubicBezTo>
                    <a:pt x="10" y="3"/>
                    <a:pt x="9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Freeform 85">
              <a:extLst>
                <a:ext uri="{FF2B5EF4-FFF2-40B4-BE49-F238E27FC236}">
                  <a16:creationId xmlns:a16="http://schemas.microsoft.com/office/drawing/2014/main" id="{F5697546-9EF7-457F-9942-E0B5690796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7576" y="5118100"/>
              <a:ext cx="39688" cy="15875"/>
            </a:xfrm>
            <a:custGeom>
              <a:avLst/>
              <a:gdLst>
                <a:gd name="T0" fmla="*/ 8 w 10"/>
                <a:gd name="T1" fmla="*/ 4 h 4"/>
                <a:gd name="T2" fmla="*/ 2 w 10"/>
                <a:gd name="T3" fmla="*/ 4 h 4"/>
                <a:gd name="T4" fmla="*/ 0 w 10"/>
                <a:gd name="T5" fmla="*/ 2 h 4"/>
                <a:gd name="T6" fmla="*/ 2 w 10"/>
                <a:gd name="T7" fmla="*/ 0 h 4"/>
                <a:gd name="T8" fmla="*/ 8 w 10"/>
                <a:gd name="T9" fmla="*/ 0 h 4"/>
                <a:gd name="T10" fmla="*/ 10 w 10"/>
                <a:gd name="T11" fmla="*/ 2 h 4"/>
                <a:gd name="T12" fmla="*/ 8 w 1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1"/>
                    <a:pt x="10" y="2"/>
                  </a:cubicBezTo>
                  <a:cubicBezTo>
                    <a:pt x="10" y="3"/>
                    <a:pt x="9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9" name="Group 258">
            <a:extLst>
              <a:ext uri="{FF2B5EF4-FFF2-40B4-BE49-F238E27FC236}">
                <a16:creationId xmlns:a16="http://schemas.microsoft.com/office/drawing/2014/main" id="{8A4BFD7C-F51B-47BF-BBFA-1D629CF8DB97}"/>
              </a:ext>
            </a:extLst>
          </p:cNvPr>
          <p:cNvGrpSpPr/>
          <p:nvPr/>
        </p:nvGrpSpPr>
        <p:grpSpPr>
          <a:xfrm>
            <a:off x="7787443" y="2102418"/>
            <a:ext cx="353123" cy="294593"/>
            <a:chOff x="11037888" y="817563"/>
            <a:chExt cx="287338" cy="239712"/>
          </a:xfrm>
          <a:solidFill>
            <a:schemeClr val="accent1"/>
          </a:solidFill>
        </p:grpSpPr>
        <p:sp>
          <p:nvSpPr>
            <p:cNvPr id="262" name="Freeform 294">
              <a:extLst>
                <a:ext uri="{FF2B5EF4-FFF2-40B4-BE49-F238E27FC236}">
                  <a16:creationId xmlns:a16="http://schemas.microsoft.com/office/drawing/2014/main" id="{400F1C7A-B676-4A1B-9902-EA23A221B3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37888" y="817563"/>
              <a:ext cx="287338" cy="239712"/>
            </a:xfrm>
            <a:custGeom>
              <a:avLst/>
              <a:gdLst>
                <a:gd name="T0" fmla="*/ 752 w 903"/>
                <a:gd name="T1" fmla="*/ 722 h 753"/>
                <a:gd name="T2" fmla="*/ 752 w 903"/>
                <a:gd name="T3" fmla="*/ 374 h 753"/>
                <a:gd name="T4" fmla="*/ 750 w 903"/>
                <a:gd name="T5" fmla="*/ 368 h 753"/>
                <a:gd name="T6" fmla="*/ 745 w 903"/>
                <a:gd name="T7" fmla="*/ 364 h 753"/>
                <a:gd name="T8" fmla="*/ 740 w 903"/>
                <a:gd name="T9" fmla="*/ 362 h 753"/>
                <a:gd name="T10" fmla="*/ 165 w 903"/>
                <a:gd name="T11" fmla="*/ 361 h 753"/>
                <a:gd name="T12" fmla="*/ 160 w 903"/>
                <a:gd name="T13" fmla="*/ 363 h 753"/>
                <a:gd name="T14" fmla="*/ 154 w 903"/>
                <a:gd name="T15" fmla="*/ 366 h 753"/>
                <a:gd name="T16" fmla="*/ 151 w 903"/>
                <a:gd name="T17" fmla="*/ 371 h 753"/>
                <a:gd name="T18" fmla="*/ 150 w 903"/>
                <a:gd name="T19" fmla="*/ 377 h 753"/>
                <a:gd name="T20" fmla="*/ 90 w 903"/>
                <a:gd name="T21" fmla="*/ 722 h 753"/>
                <a:gd name="T22" fmla="*/ 813 w 903"/>
                <a:gd name="T23" fmla="*/ 301 h 753"/>
                <a:gd name="T24" fmla="*/ 180 w 903"/>
                <a:gd name="T25" fmla="*/ 722 h 753"/>
                <a:gd name="T26" fmla="*/ 722 w 903"/>
                <a:gd name="T27" fmla="*/ 391 h 753"/>
                <a:gd name="T28" fmla="*/ 180 w 903"/>
                <a:gd name="T29" fmla="*/ 722 h 753"/>
                <a:gd name="T30" fmla="*/ 451 w 903"/>
                <a:gd name="T31" fmla="*/ 32 h 753"/>
                <a:gd name="T32" fmla="*/ 873 w 903"/>
                <a:gd name="T33" fmla="*/ 271 h 753"/>
                <a:gd name="T34" fmla="*/ 75 w 903"/>
                <a:gd name="T35" fmla="*/ 271 h 753"/>
                <a:gd name="T36" fmla="*/ 30 w 903"/>
                <a:gd name="T37" fmla="*/ 220 h 753"/>
                <a:gd name="T38" fmla="*/ 891 w 903"/>
                <a:gd name="T39" fmla="*/ 301 h 753"/>
                <a:gd name="T40" fmla="*/ 896 w 903"/>
                <a:gd name="T41" fmla="*/ 299 h 753"/>
                <a:gd name="T42" fmla="*/ 900 w 903"/>
                <a:gd name="T43" fmla="*/ 294 h 753"/>
                <a:gd name="T44" fmla="*/ 902 w 903"/>
                <a:gd name="T45" fmla="*/ 289 h 753"/>
                <a:gd name="T46" fmla="*/ 903 w 903"/>
                <a:gd name="T47" fmla="*/ 211 h 753"/>
                <a:gd name="T48" fmla="*/ 901 w 903"/>
                <a:gd name="T49" fmla="*/ 202 h 753"/>
                <a:gd name="T50" fmla="*/ 894 w 903"/>
                <a:gd name="T51" fmla="*/ 197 h 753"/>
                <a:gd name="T52" fmla="*/ 455 w 903"/>
                <a:gd name="T53" fmla="*/ 0 h 753"/>
                <a:gd name="T54" fmla="*/ 448 w 903"/>
                <a:gd name="T55" fmla="*/ 0 h 753"/>
                <a:gd name="T56" fmla="*/ 8 w 903"/>
                <a:gd name="T57" fmla="*/ 197 h 753"/>
                <a:gd name="T58" fmla="*/ 2 w 903"/>
                <a:gd name="T59" fmla="*/ 202 h 753"/>
                <a:gd name="T60" fmla="*/ 0 w 903"/>
                <a:gd name="T61" fmla="*/ 211 h 753"/>
                <a:gd name="T62" fmla="*/ 0 w 903"/>
                <a:gd name="T63" fmla="*/ 289 h 753"/>
                <a:gd name="T64" fmla="*/ 2 w 903"/>
                <a:gd name="T65" fmla="*/ 294 h 753"/>
                <a:gd name="T66" fmla="*/ 6 w 903"/>
                <a:gd name="T67" fmla="*/ 299 h 753"/>
                <a:gd name="T68" fmla="*/ 12 w 903"/>
                <a:gd name="T69" fmla="*/ 301 h 753"/>
                <a:gd name="T70" fmla="*/ 60 w 903"/>
                <a:gd name="T71" fmla="*/ 301 h 753"/>
                <a:gd name="T72" fmla="*/ 15 w 903"/>
                <a:gd name="T73" fmla="*/ 722 h 753"/>
                <a:gd name="T74" fmla="*/ 8 w 903"/>
                <a:gd name="T75" fmla="*/ 724 h 753"/>
                <a:gd name="T76" fmla="*/ 4 w 903"/>
                <a:gd name="T77" fmla="*/ 727 h 753"/>
                <a:gd name="T78" fmla="*/ 1 w 903"/>
                <a:gd name="T79" fmla="*/ 732 h 753"/>
                <a:gd name="T80" fmla="*/ 0 w 903"/>
                <a:gd name="T81" fmla="*/ 738 h 753"/>
                <a:gd name="T82" fmla="*/ 1 w 903"/>
                <a:gd name="T83" fmla="*/ 744 h 753"/>
                <a:gd name="T84" fmla="*/ 4 w 903"/>
                <a:gd name="T85" fmla="*/ 748 h 753"/>
                <a:gd name="T86" fmla="*/ 8 w 903"/>
                <a:gd name="T87" fmla="*/ 751 h 753"/>
                <a:gd name="T88" fmla="*/ 15 w 903"/>
                <a:gd name="T89" fmla="*/ 753 h 753"/>
                <a:gd name="T90" fmla="*/ 165 w 903"/>
                <a:gd name="T91" fmla="*/ 753 h 753"/>
                <a:gd name="T92" fmla="*/ 828 w 903"/>
                <a:gd name="T93" fmla="*/ 753 h 753"/>
                <a:gd name="T94" fmla="*/ 891 w 903"/>
                <a:gd name="T95" fmla="*/ 753 h 753"/>
                <a:gd name="T96" fmla="*/ 896 w 903"/>
                <a:gd name="T97" fmla="*/ 750 h 753"/>
                <a:gd name="T98" fmla="*/ 900 w 903"/>
                <a:gd name="T99" fmla="*/ 746 h 753"/>
                <a:gd name="T100" fmla="*/ 902 w 903"/>
                <a:gd name="T101" fmla="*/ 741 h 753"/>
                <a:gd name="T102" fmla="*/ 903 w 903"/>
                <a:gd name="T103" fmla="*/ 735 h 753"/>
                <a:gd name="T104" fmla="*/ 900 w 903"/>
                <a:gd name="T105" fmla="*/ 730 h 753"/>
                <a:gd name="T106" fmla="*/ 896 w 903"/>
                <a:gd name="T107" fmla="*/ 726 h 753"/>
                <a:gd name="T108" fmla="*/ 891 w 903"/>
                <a:gd name="T109" fmla="*/ 724 h 753"/>
                <a:gd name="T110" fmla="*/ 843 w 903"/>
                <a:gd name="T111" fmla="*/ 722 h 753"/>
                <a:gd name="T112" fmla="*/ 888 w 903"/>
                <a:gd name="T113" fmla="*/ 30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3" h="753">
                  <a:moveTo>
                    <a:pt x="813" y="722"/>
                  </a:moveTo>
                  <a:lnTo>
                    <a:pt x="752" y="722"/>
                  </a:lnTo>
                  <a:lnTo>
                    <a:pt x="752" y="376"/>
                  </a:lnTo>
                  <a:lnTo>
                    <a:pt x="752" y="374"/>
                  </a:lnTo>
                  <a:lnTo>
                    <a:pt x="751" y="371"/>
                  </a:lnTo>
                  <a:lnTo>
                    <a:pt x="750" y="368"/>
                  </a:lnTo>
                  <a:lnTo>
                    <a:pt x="747" y="366"/>
                  </a:lnTo>
                  <a:lnTo>
                    <a:pt x="745" y="364"/>
                  </a:lnTo>
                  <a:lnTo>
                    <a:pt x="743" y="363"/>
                  </a:lnTo>
                  <a:lnTo>
                    <a:pt x="740" y="362"/>
                  </a:lnTo>
                  <a:lnTo>
                    <a:pt x="737" y="361"/>
                  </a:lnTo>
                  <a:lnTo>
                    <a:pt x="165" y="361"/>
                  </a:lnTo>
                  <a:lnTo>
                    <a:pt x="162" y="362"/>
                  </a:lnTo>
                  <a:lnTo>
                    <a:pt x="160" y="363"/>
                  </a:lnTo>
                  <a:lnTo>
                    <a:pt x="156" y="364"/>
                  </a:lnTo>
                  <a:lnTo>
                    <a:pt x="154" y="366"/>
                  </a:lnTo>
                  <a:lnTo>
                    <a:pt x="152" y="368"/>
                  </a:lnTo>
                  <a:lnTo>
                    <a:pt x="151" y="371"/>
                  </a:lnTo>
                  <a:lnTo>
                    <a:pt x="150" y="374"/>
                  </a:lnTo>
                  <a:lnTo>
                    <a:pt x="150" y="377"/>
                  </a:lnTo>
                  <a:lnTo>
                    <a:pt x="150" y="722"/>
                  </a:lnTo>
                  <a:lnTo>
                    <a:pt x="90" y="722"/>
                  </a:lnTo>
                  <a:lnTo>
                    <a:pt x="90" y="301"/>
                  </a:lnTo>
                  <a:lnTo>
                    <a:pt x="813" y="301"/>
                  </a:lnTo>
                  <a:lnTo>
                    <a:pt x="813" y="722"/>
                  </a:lnTo>
                  <a:close/>
                  <a:moveTo>
                    <a:pt x="180" y="722"/>
                  </a:moveTo>
                  <a:lnTo>
                    <a:pt x="180" y="391"/>
                  </a:lnTo>
                  <a:lnTo>
                    <a:pt x="722" y="391"/>
                  </a:lnTo>
                  <a:lnTo>
                    <a:pt x="722" y="722"/>
                  </a:lnTo>
                  <a:lnTo>
                    <a:pt x="180" y="722"/>
                  </a:lnTo>
                  <a:close/>
                  <a:moveTo>
                    <a:pt x="30" y="220"/>
                  </a:moveTo>
                  <a:lnTo>
                    <a:pt x="451" y="32"/>
                  </a:lnTo>
                  <a:lnTo>
                    <a:pt x="873" y="220"/>
                  </a:lnTo>
                  <a:lnTo>
                    <a:pt x="873" y="271"/>
                  </a:lnTo>
                  <a:lnTo>
                    <a:pt x="828" y="271"/>
                  </a:lnTo>
                  <a:lnTo>
                    <a:pt x="75" y="271"/>
                  </a:lnTo>
                  <a:lnTo>
                    <a:pt x="30" y="271"/>
                  </a:lnTo>
                  <a:lnTo>
                    <a:pt x="30" y="220"/>
                  </a:lnTo>
                  <a:close/>
                  <a:moveTo>
                    <a:pt x="888" y="301"/>
                  </a:moveTo>
                  <a:lnTo>
                    <a:pt x="891" y="301"/>
                  </a:lnTo>
                  <a:lnTo>
                    <a:pt x="893" y="300"/>
                  </a:lnTo>
                  <a:lnTo>
                    <a:pt x="896" y="299"/>
                  </a:lnTo>
                  <a:lnTo>
                    <a:pt x="899" y="297"/>
                  </a:lnTo>
                  <a:lnTo>
                    <a:pt x="900" y="294"/>
                  </a:lnTo>
                  <a:lnTo>
                    <a:pt x="902" y="292"/>
                  </a:lnTo>
                  <a:lnTo>
                    <a:pt x="902" y="289"/>
                  </a:lnTo>
                  <a:lnTo>
                    <a:pt x="903" y="286"/>
                  </a:lnTo>
                  <a:lnTo>
                    <a:pt x="903" y="211"/>
                  </a:lnTo>
                  <a:lnTo>
                    <a:pt x="902" y="206"/>
                  </a:lnTo>
                  <a:lnTo>
                    <a:pt x="901" y="202"/>
                  </a:lnTo>
                  <a:lnTo>
                    <a:pt x="898" y="199"/>
                  </a:lnTo>
                  <a:lnTo>
                    <a:pt x="894" y="197"/>
                  </a:lnTo>
                  <a:lnTo>
                    <a:pt x="458" y="1"/>
                  </a:lnTo>
                  <a:lnTo>
                    <a:pt x="455" y="0"/>
                  </a:lnTo>
                  <a:lnTo>
                    <a:pt x="451" y="0"/>
                  </a:lnTo>
                  <a:lnTo>
                    <a:pt x="448" y="0"/>
                  </a:lnTo>
                  <a:lnTo>
                    <a:pt x="445" y="1"/>
                  </a:lnTo>
                  <a:lnTo>
                    <a:pt x="8" y="197"/>
                  </a:lnTo>
                  <a:lnTo>
                    <a:pt x="5" y="199"/>
                  </a:lnTo>
                  <a:lnTo>
                    <a:pt x="2" y="202"/>
                  </a:lnTo>
                  <a:lnTo>
                    <a:pt x="0" y="206"/>
                  </a:lnTo>
                  <a:lnTo>
                    <a:pt x="0" y="211"/>
                  </a:lnTo>
                  <a:lnTo>
                    <a:pt x="0" y="286"/>
                  </a:lnTo>
                  <a:lnTo>
                    <a:pt x="0" y="289"/>
                  </a:lnTo>
                  <a:lnTo>
                    <a:pt x="1" y="292"/>
                  </a:lnTo>
                  <a:lnTo>
                    <a:pt x="2" y="294"/>
                  </a:lnTo>
                  <a:lnTo>
                    <a:pt x="4" y="297"/>
                  </a:lnTo>
                  <a:lnTo>
                    <a:pt x="6" y="299"/>
                  </a:lnTo>
                  <a:lnTo>
                    <a:pt x="8" y="300"/>
                  </a:lnTo>
                  <a:lnTo>
                    <a:pt x="12" y="301"/>
                  </a:lnTo>
                  <a:lnTo>
                    <a:pt x="15" y="301"/>
                  </a:lnTo>
                  <a:lnTo>
                    <a:pt x="60" y="301"/>
                  </a:lnTo>
                  <a:lnTo>
                    <a:pt x="60" y="722"/>
                  </a:lnTo>
                  <a:lnTo>
                    <a:pt x="15" y="722"/>
                  </a:lnTo>
                  <a:lnTo>
                    <a:pt x="12" y="724"/>
                  </a:lnTo>
                  <a:lnTo>
                    <a:pt x="8" y="724"/>
                  </a:lnTo>
                  <a:lnTo>
                    <a:pt x="6" y="726"/>
                  </a:lnTo>
                  <a:lnTo>
                    <a:pt x="4" y="727"/>
                  </a:lnTo>
                  <a:lnTo>
                    <a:pt x="2" y="730"/>
                  </a:lnTo>
                  <a:lnTo>
                    <a:pt x="1" y="732"/>
                  </a:lnTo>
                  <a:lnTo>
                    <a:pt x="0" y="735"/>
                  </a:lnTo>
                  <a:lnTo>
                    <a:pt x="0" y="738"/>
                  </a:lnTo>
                  <a:lnTo>
                    <a:pt x="0" y="741"/>
                  </a:lnTo>
                  <a:lnTo>
                    <a:pt x="1" y="744"/>
                  </a:lnTo>
                  <a:lnTo>
                    <a:pt x="2" y="746"/>
                  </a:lnTo>
                  <a:lnTo>
                    <a:pt x="4" y="748"/>
                  </a:lnTo>
                  <a:lnTo>
                    <a:pt x="6" y="750"/>
                  </a:lnTo>
                  <a:lnTo>
                    <a:pt x="8" y="751"/>
                  </a:lnTo>
                  <a:lnTo>
                    <a:pt x="12" y="753"/>
                  </a:lnTo>
                  <a:lnTo>
                    <a:pt x="15" y="753"/>
                  </a:lnTo>
                  <a:lnTo>
                    <a:pt x="75" y="753"/>
                  </a:lnTo>
                  <a:lnTo>
                    <a:pt x="165" y="753"/>
                  </a:lnTo>
                  <a:lnTo>
                    <a:pt x="737" y="753"/>
                  </a:lnTo>
                  <a:lnTo>
                    <a:pt x="828" y="753"/>
                  </a:lnTo>
                  <a:lnTo>
                    <a:pt x="888" y="753"/>
                  </a:lnTo>
                  <a:lnTo>
                    <a:pt x="891" y="753"/>
                  </a:lnTo>
                  <a:lnTo>
                    <a:pt x="893" y="751"/>
                  </a:lnTo>
                  <a:lnTo>
                    <a:pt x="896" y="750"/>
                  </a:lnTo>
                  <a:lnTo>
                    <a:pt x="899" y="748"/>
                  </a:lnTo>
                  <a:lnTo>
                    <a:pt x="900" y="746"/>
                  </a:lnTo>
                  <a:lnTo>
                    <a:pt x="902" y="744"/>
                  </a:lnTo>
                  <a:lnTo>
                    <a:pt x="902" y="741"/>
                  </a:lnTo>
                  <a:lnTo>
                    <a:pt x="903" y="738"/>
                  </a:lnTo>
                  <a:lnTo>
                    <a:pt x="903" y="735"/>
                  </a:lnTo>
                  <a:lnTo>
                    <a:pt x="902" y="732"/>
                  </a:lnTo>
                  <a:lnTo>
                    <a:pt x="900" y="730"/>
                  </a:lnTo>
                  <a:lnTo>
                    <a:pt x="899" y="727"/>
                  </a:lnTo>
                  <a:lnTo>
                    <a:pt x="896" y="726"/>
                  </a:lnTo>
                  <a:lnTo>
                    <a:pt x="893" y="724"/>
                  </a:lnTo>
                  <a:lnTo>
                    <a:pt x="891" y="724"/>
                  </a:lnTo>
                  <a:lnTo>
                    <a:pt x="888" y="722"/>
                  </a:lnTo>
                  <a:lnTo>
                    <a:pt x="843" y="722"/>
                  </a:lnTo>
                  <a:lnTo>
                    <a:pt x="843" y="301"/>
                  </a:lnTo>
                  <a:lnTo>
                    <a:pt x="888" y="3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295">
              <a:extLst>
                <a:ext uri="{FF2B5EF4-FFF2-40B4-BE49-F238E27FC236}">
                  <a16:creationId xmlns:a16="http://schemas.microsoft.com/office/drawing/2014/main" id="{85392243-160B-4B91-AF65-8AC6D4E83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962025"/>
              <a:ext cx="134938" cy="9525"/>
            </a:xfrm>
            <a:custGeom>
              <a:avLst/>
              <a:gdLst>
                <a:gd name="T0" fmla="*/ 407 w 422"/>
                <a:gd name="T1" fmla="*/ 0 h 30"/>
                <a:gd name="T2" fmla="*/ 15 w 422"/>
                <a:gd name="T3" fmla="*/ 0 h 30"/>
                <a:gd name="T4" fmla="*/ 12 w 422"/>
                <a:gd name="T5" fmla="*/ 0 h 30"/>
                <a:gd name="T6" fmla="*/ 10 w 422"/>
                <a:gd name="T7" fmla="*/ 1 h 30"/>
                <a:gd name="T8" fmla="*/ 7 w 422"/>
                <a:gd name="T9" fmla="*/ 2 h 30"/>
                <a:gd name="T10" fmla="*/ 4 w 422"/>
                <a:gd name="T11" fmla="*/ 4 h 30"/>
                <a:gd name="T12" fmla="*/ 3 w 422"/>
                <a:gd name="T13" fmla="*/ 7 h 30"/>
                <a:gd name="T14" fmla="*/ 1 w 422"/>
                <a:gd name="T15" fmla="*/ 9 h 30"/>
                <a:gd name="T16" fmla="*/ 1 w 422"/>
                <a:gd name="T17" fmla="*/ 12 h 30"/>
                <a:gd name="T18" fmla="*/ 0 w 422"/>
                <a:gd name="T19" fmla="*/ 15 h 30"/>
                <a:gd name="T20" fmla="*/ 1 w 422"/>
                <a:gd name="T21" fmla="*/ 18 h 30"/>
                <a:gd name="T22" fmla="*/ 1 w 422"/>
                <a:gd name="T23" fmla="*/ 20 h 30"/>
                <a:gd name="T24" fmla="*/ 3 w 422"/>
                <a:gd name="T25" fmla="*/ 24 h 30"/>
                <a:gd name="T26" fmla="*/ 4 w 422"/>
                <a:gd name="T27" fmla="*/ 26 h 30"/>
                <a:gd name="T28" fmla="*/ 7 w 422"/>
                <a:gd name="T29" fmla="*/ 27 h 30"/>
                <a:gd name="T30" fmla="*/ 10 w 422"/>
                <a:gd name="T31" fmla="*/ 29 h 30"/>
                <a:gd name="T32" fmla="*/ 12 w 422"/>
                <a:gd name="T33" fmla="*/ 29 h 30"/>
                <a:gd name="T34" fmla="*/ 15 w 422"/>
                <a:gd name="T35" fmla="*/ 30 h 30"/>
                <a:gd name="T36" fmla="*/ 407 w 422"/>
                <a:gd name="T37" fmla="*/ 30 h 30"/>
                <a:gd name="T38" fmla="*/ 410 w 422"/>
                <a:gd name="T39" fmla="*/ 29 h 30"/>
                <a:gd name="T40" fmla="*/ 413 w 422"/>
                <a:gd name="T41" fmla="*/ 29 h 30"/>
                <a:gd name="T42" fmla="*/ 415 w 422"/>
                <a:gd name="T43" fmla="*/ 27 h 30"/>
                <a:gd name="T44" fmla="*/ 417 w 422"/>
                <a:gd name="T45" fmla="*/ 26 h 30"/>
                <a:gd name="T46" fmla="*/ 419 w 422"/>
                <a:gd name="T47" fmla="*/ 24 h 30"/>
                <a:gd name="T48" fmla="*/ 421 w 422"/>
                <a:gd name="T49" fmla="*/ 20 h 30"/>
                <a:gd name="T50" fmla="*/ 422 w 422"/>
                <a:gd name="T51" fmla="*/ 18 h 30"/>
                <a:gd name="T52" fmla="*/ 422 w 422"/>
                <a:gd name="T53" fmla="*/ 15 h 30"/>
                <a:gd name="T54" fmla="*/ 422 w 422"/>
                <a:gd name="T55" fmla="*/ 12 h 30"/>
                <a:gd name="T56" fmla="*/ 421 w 422"/>
                <a:gd name="T57" fmla="*/ 9 h 30"/>
                <a:gd name="T58" fmla="*/ 419 w 422"/>
                <a:gd name="T59" fmla="*/ 7 h 30"/>
                <a:gd name="T60" fmla="*/ 417 w 422"/>
                <a:gd name="T61" fmla="*/ 4 h 30"/>
                <a:gd name="T62" fmla="*/ 415 w 422"/>
                <a:gd name="T63" fmla="*/ 2 h 30"/>
                <a:gd name="T64" fmla="*/ 413 w 422"/>
                <a:gd name="T65" fmla="*/ 1 h 30"/>
                <a:gd name="T66" fmla="*/ 410 w 422"/>
                <a:gd name="T67" fmla="*/ 0 h 30"/>
                <a:gd name="T68" fmla="*/ 407 w 42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22" h="30">
                  <a:moveTo>
                    <a:pt x="40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0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7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407" y="30"/>
                  </a:lnTo>
                  <a:lnTo>
                    <a:pt x="410" y="29"/>
                  </a:lnTo>
                  <a:lnTo>
                    <a:pt x="413" y="29"/>
                  </a:lnTo>
                  <a:lnTo>
                    <a:pt x="415" y="27"/>
                  </a:lnTo>
                  <a:lnTo>
                    <a:pt x="417" y="26"/>
                  </a:lnTo>
                  <a:lnTo>
                    <a:pt x="419" y="24"/>
                  </a:lnTo>
                  <a:lnTo>
                    <a:pt x="421" y="20"/>
                  </a:lnTo>
                  <a:lnTo>
                    <a:pt x="422" y="18"/>
                  </a:lnTo>
                  <a:lnTo>
                    <a:pt x="422" y="15"/>
                  </a:lnTo>
                  <a:lnTo>
                    <a:pt x="422" y="12"/>
                  </a:lnTo>
                  <a:lnTo>
                    <a:pt x="421" y="9"/>
                  </a:lnTo>
                  <a:lnTo>
                    <a:pt x="419" y="7"/>
                  </a:lnTo>
                  <a:lnTo>
                    <a:pt x="417" y="4"/>
                  </a:lnTo>
                  <a:lnTo>
                    <a:pt x="415" y="2"/>
                  </a:lnTo>
                  <a:lnTo>
                    <a:pt x="413" y="1"/>
                  </a:lnTo>
                  <a:lnTo>
                    <a:pt x="410" y="0"/>
                  </a:lnTo>
                  <a:lnTo>
                    <a:pt x="4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296">
              <a:extLst>
                <a:ext uri="{FF2B5EF4-FFF2-40B4-BE49-F238E27FC236}">
                  <a16:creationId xmlns:a16="http://schemas.microsoft.com/office/drawing/2014/main" id="{4FD2D7D4-80A5-487F-B7C5-060848E0D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990600"/>
              <a:ext cx="134938" cy="9525"/>
            </a:xfrm>
            <a:custGeom>
              <a:avLst/>
              <a:gdLst>
                <a:gd name="T0" fmla="*/ 407 w 422"/>
                <a:gd name="T1" fmla="*/ 0 h 30"/>
                <a:gd name="T2" fmla="*/ 15 w 422"/>
                <a:gd name="T3" fmla="*/ 0 h 30"/>
                <a:gd name="T4" fmla="*/ 12 w 422"/>
                <a:gd name="T5" fmla="*/ 0 h 30"/>
                <a:gd name="T6" fmla="*/ 10 w 422"/>
                <a:gd name="T7" fmla="*/ 1 h 30"/>
                <a:gd name="T8" fmla="*/ 7 w 422"/>
                <a:gd name="T9" fmla="*/ 2 h 30"/>
                <a:gd name="T10" fmla="*/ 4 w 422"/>
                <a:gd name="T11" fmla="*/ 5 h 30"/>
                <a:gd name="T12" fmla="*/ 3 w 422"/>
                <a:gd name="T13" fmla="*/ 7 h 30"/>
                <a:gd name="T14" fmla="*/ 1 w 422"/>
                <a:gd name="T15" fmla="*/ 9 h 30"/>
                <a:gd name="T16" fmla="*/ 1 w 422"/>
                <a:gd name="T17" fmla="*/ 12 h 30"/>
                <a:gd name="T18" fmla="*/ 0 w 422"/>
                <a:gd name="T19" fmla="*/ 15 h 30"/>
                <a:gd name="T20" fmla="*/ 1 w 422"/>
                <a:gd name="T21" fmla="*/ 18 h 30"/>
                <a:gd name="T22" fmla="*/ 1 w 422"/>
                <a:gd name="T23" fmla="*/ 21 h 30"/>
                <a:gd name="T24" fmla="*/ 3 w 422"/>
                <a:gd name="T25" fmla="*/ 24 h 30"/>
                <a:gd name="T26" fmla="*/ 4 w 422"/>
                <a:gd name="T27" fmla="*/ 26 h 30"/>
                <a:gd name="T28" fmla="*/ 7 w 422"/>
                <a:gd name="T29" fmla="*/ 28 h 30"/>
                <a:gd name="T30" fmla="*/ 10 w 422"/>
                <a:gd name="T31" fmla="*/ 29 h 30"/>
                <a:gd name="T32" fmla="*/ 12 w 422"/>
                <a:gd name="T33" fmla="*/ 30 h 30"/>
                <a:gd name="T34" fmla="*/ 15 w 422"/>
                <a:gd name="T35" fmla="*/ 30 h 30"/>
                <a:gd name="T36" fmla="*/ 407 w 422"/>
                <a:gd name="T37" fmla="*/ 30 h 30"/>
                <a:gd name="T38" fmla="*/ 410 w 422"/>
                <a:gd name="T39" fmla="*/ 30 h 30"/>
                <a:gd name="T40" fmla="*/ 413 w 422"/>
                <a:gd name="T41" fmla="*/ 29 h 30"/>
                <a:gd name="T42" fmla="*/ 415 w 422"/>
                <a:gd name="T43" fmla="*/ 28 h 30"/>
                <a:gd name="T44" fmla="*/ 417 w 422"/>
                <a:gd name="T45" fmla="*/ 26 h 30"/>
                <a:gd name="T46" fmla="*/ 419 w 422"/>
                <a:gd name="T47" fmla="*/ 24 h 30"/>
                <a:gd name="T48" fmla="*/ 421 w 422"/>
                <a:gd name="T49" fmla="*/ 21 h 30"/>
                <a:gd name="T50" fmla="*/ 422 w 422"/>
                <a:gd name="T51" fmla="*/ 18 h 30"/>
                <a:gd name="T52" fmla="*/ 422 w 422"/>
                <a:gd name="T53" fmla="*/ 15 h 30"/>
                <a:gd name="T54" fmla="*/ 422 w 422"/>
                <a:gd name="T55" fmla="*/ 12 h 30"/>
                <a:gd name="T56" fmla="*/ 421 w 422"/>
                <a:gd name="T57" fmla="*/ 9 h 30"/>
                <a:gd name="T58" fmla="*/ 419 w 422"/>
                <a:gd name="T59" fmla="*/ 7 h 30"/>
                <a:gd name="T60" fmla="*/ 417 w 422"/>
                <a:gd name="T61" fmla="*/ 5 h 30"/>
                <a:gd name="T62" fmla="*/ 415 w 422"/>
                <a:gd name="T63" fmla="*/ 2 h 30"/>
                <a:gd name="T64" fmla="*/ 413 w 422"/>
                <a:gd name="T65" fmla="*/ 1 h 30"/>
                <a:gd name="T66" fmla="*/ 410 w 422"/>
                <a:gd name="T67" fmla="*/ 0 h 30"/>
                <a:gd name="T68" fmla="*/ 407 w 42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22" h="30">
                  <a:moveTo>
                    <a:pt x="40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7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407" y="30"/>
                  </a:lnTo>
                  <a:lnTo>
                    <a:pt x="410" y="30"/>
                  </a:lnTo>
                  <a:lnTo>
                    <a:pt x="413" y="29"/>
                  </a:lnTo>
                  <a:lnTo>
                    <a:pt x="415" y="28"/>
                  </a:lnTo>
                  <a:lnTo>
                    <a:pt x="417" y="26"/>
                  </a:lnTo>
                  <a:lnTo>
                    <a:pt x="419" y="24"/>
                  </a:lnTo>
                  <a:lnTo>
                    <a:pt x="421" y="21"/>
                  </a:lnTo>
                  <a:lnTo>
                    <a:pt x="422" y="18"/>
                  </a:lnTo>
                  <a:lnTo>
                    <a:pt x="422" y="15"/>
                  </a:lnTo>
                  <a:lnTo>
                    <a:pt x="422" y="12"/>
                  </a:lnTo>
                  <a:lnTo>
                    <a:pt x="421" y="9"/>
                  </a:lnTo>
                  <a:lnTo>
                    <a:pt x="419" y="7"/>
                  </a:lnTo>
                  <a:lnTo>
                    <a:pt x="417" y="5"/>
                  </a:lnTo>
                  <a:lnTo>
                    <a:pt x="415" y="2"/>
                  </a:lnTo>
                  <a:lnTo>
                    <a:pt x="413" y="1"/>
                  </a:lnTo>
                  <a:lnTo>
                    <a:pt x="410" y="0"/>
                  </a:lnTo>
                  <a:lnTo>
                    <a:pt x="4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297">
              <a:extLst>
                <a:ext uri="{FF2B5EF4-FFF2-40B4-BE49-F238E27FC236}">
                  <a16:creationId xmlns:a16="http://schemas.microsoft.com/office/drawing/2014/main" id="{BA5ED5CF-4C44-4591-BB52-61961C941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1019175"/>
              <a:ext cx="134938" cy="9525"/>
            </a:xfrm>
            <a:custGeom>
              <a:avLst/>
              <a:gdLst>
                <a:gd name="T0" fmla="*/ 407 w 422"/>
                <a:gd name="T1" fmla="*/ 0 h 30"/>
                <a:gd name="T2" fmla="*/ 15 w 422"/>
                <a:gd name="T3" fmla="*/ 0 h 30"/>
                <a:gd name="T4" fmla="*/ 12 w 422"/>
                <a:gd name="T5" fmla="*/ 0 h 30"/>
                <a:gd name="T6" fmla="*/ 10 w 422"/>
                <a:gd name="T7" fmla="*/ 1 h 30"/>
                <a:gd name="T8" fmla="*/ 7 w 422"/>
                <a:gd name="T9" fmla="*/ 3 h 30"/>
                <a:gd name="T10" fmla="*/ 4 w 422"/>
                <a:gd name="T11" fmla="*/ 5 h 30"/>
                <a:gd name="T12" fmla="*/ 3 w 422"/>
                <a:gd name="T13" fmla="*/ 7 h 30"/>
                <a:gd name="T14" fmla="*/ 1 w 422"/>
                <a:gd name="T15" fmla="*/ 10 h 30"/>
                <a:gd name="T16" fmla="*/ 1 w 422"/>
                <a:gd name="T17" fmla="*/ 12 h 30"/>
                <a:gd name="T18" fmla="*/ 0 w 422"/>
                <a:gd name="T19" fmla="*/ 15 h 30"/>
                <a:gd name="T20" fmla="*/ 1 w 422"/>
                <a:gd name="T21" fmla="*/ 19 h 30"/>
                <a:gd name="T22" fmla="*/ 1 w 422"/>
                <a:gd name="T23" fmla="*/ 22 h 30"/>
                <a:gd name="T24" fmla="*/ 3 w 422"/>
                <a:gd name="T25" fmla="*/ 24 h 30"/>
                <a:gd name="T26" fmla="*/ 4 w 422"/>
                <a:gd name="T27" fmla="*/ 26 h 30"/>
                <a:gd name="T28" fmla="*/ 7 w 422"/>
                <a:gd name="T29" fmla="*/ 28 h 30"/>
                <a:gd name="T30" fmla="*/ 10 w 422"/>
                <a:gd name="T31" fmla="*/ 29 h 30"/>
                <a:gd name="T32" fmla="*/ 12 w 422"/>
                <a:gd name="T33" fmla="*/ 30 h 30"/>
                <a:gd name="T34" fmla="*/ 15 w 422"/>
                <a:gd name="T35" fmla="*/ 30 h 30"/>
                <a:gd name="T36" fmla="*/ 407 w 422"/>
                <a:gd name="T37" fmla="*/ 30 h 30"/>
                <a:gd name="T38" fmla="*/ 410 w 422"/>
                <a:gd name="T39" fmla="*/ 30 h 30"/>
                <a:gd name="T40" fmla="*/ 413 w 422"/>
                <a:gd name="T41" fmla="*/ 29 h 30"/>
                <a:gd name="T42" fmla="*/ 415 w 422"/>
                <a:gd name="T43" fmla="*/ 28 h 30"/>
                <a:gd name="T44" fmla="*/ 417 w 422"/>
                <a:gd name="T45" fmla="*/ 26 h 30"/>
                <a:gd name="T46" fmla="*/ 419 w 422"/>
                <a:gd name="T47" fmla="*/ 24 h 30"/>
                <a:gd name="T48" fmla="*/ 421 w 422"/>
                <a:gd name="T49" fmla="*/ 22 h 30"/>
                <a:gd name="T50" fmla="*/ 422 w 422"/>
                <a:gd name="T51" fmla="*/ 19 h 30"/>
                <a:gd name="T52" fmla="*/ 422 w 422"/>
                <a:gd name="T53" fmla="*/ 15 h 30"/>
                <a:gd name="T54" fmla="*/ 422 w 422"/>
                <a:gd name="T55" fmla="*/ 12 h 30"/>
                <a:gd name="T56" fmla="*/ 421 w 422"/>
                <a:gd name="T57" fmla="*/ 10 h 30"/>
                <a:gd name="T58" fmla="*/ 419 w 422"/>
                <a:gd name="T59" fmla="*/ 7 h 30"/>
                <a:gd name="T60" fmla="*/ 417 w 422"/>
                <a:gd name="T61" fmla="*/ 5 h 30"/>
                <a:gd name="T62" fmla="*/ 415 w 422"/>
                <a:gd name="T63" fmla="*/ 3 h 30"/>
                <a:gd name="T64" fmla="*/ 413 w 422"/>
                <a:gd name="T65" fmla="*/ 1 h 30"/>
                <a:gd name="T66" fmla="*/ 410 w 422"/>
                <a:gd name="T67" fmla="*/ 0 h 30"/>
                <a:gd name="T68" fmla="*/ 407 w 422"/>
                <a:gd name="T69" fmla="*/ 0 h 30"/>
                <a:gd name="T70" fmla="*/ 407 w 422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2" h="30">
                  <a:moveTo>
                    <a:pt x="40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9"/>
                  </a:lnTo>
                  <a:lnTo>
                    <a:pt x="1" y="22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7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407" y="30"/>
                  </a:lnTo>
                  <a:lnTo>
                    <a:pt x="410" y="30"/>
                  </a:lnTo>
                  <a:lnTo>
                    <a:pt x="413" y="29"/>
                  </a:lnTo>
                  <a:lnTo>
                    <a:pt x="415" y="28"/>
                  </a:lnTo>
                  <a:lnTo>
                    <a:pt x="417" y="26"/>
                  </a:lnTo>
                  <a:lnTo>
                    <a:pt x="419" y="24"/>
                  </a:lnTo>
                  <a:lnTo>
                    <a:pt x="421" y="22"/>
                  </a:lnTo>
                  <a:lnTo>
                    <a:pt x="422" y="19"/>
                  </a:lnTo>
                  <a:lnTo>
                    <a:pt x="422" y="15"/>
                  </a:lnTo>
                  <a:lnTo>
                    <a:pt x="422" y="12"/>
                  </a:lnTo>
                  <a:lnTo>
                    <a:pt x="421" y="10"/>
                  </a:lnTo>
                  <a:lnTo>
                    <a:pt x="419" y="7"/>
                  </a:lnTo>
                  <a:lnTo>
                    <a:pt x="417" y="5"/>
                  </a:lnTo>
                  <a:lnTo>
                    <a:pt x="415" y="3"/>
                  </a:lnTo>
                  <a:lnTo>
                    <a:pt x="413" y="1"/>
                  </a:lnTo>
                  <a:lnTo>
                    <a:pt x="410" y="0"/>
                  </a:lnTo>
                  <a:lnTo>
                    <a:pt x="407" y="0"/>
                  </a:lnTo>
                  <a:lnTo>
                    <a:pt x="4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0" name="TextBox 259">
            <a:extLst>
              <a:ext uri="{FF2B5EF4-FFF2-40B4-BE49-F238E27FC236}">
                <a16:creationId xmlns:a16="http://schemas.microsoft.com/office/drawing/2014/main" id="{67B09019-1D9D-4F99-9B7B-8C222D687D29}"/>
              </a:ext>
            </a:extLst>
          </p:cNvPr>
          <p:cNvSpPr txBox="1"/>
          <p:nvPr/>
        </p:nvSpPr>
        <p:spPr>
          <a:xfrm>
            <a:off x="7000175" y="2677227"/>
            <a:ext cx="1927658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</p:txBody>
      </p:sp>
      <p:sp>
        <p:nvSpPr>
          <p:cNvPr id="261" name="TextBox 260">
            <a:extLst>
              <a:ext uri="{FF2B5EF4-FFF2-40B4-BE49-F238E27FC236}">
                <a16:creationId xmlns:a16="http://schemas.microsoft.com/office/drawing/2014/main" id="{1FE46834-4454-4ADA-AD8F-5F72A278100F}"/>
              </a:ext>
            </a:extLst>
          </p:cNvPr>
          <p:cNvSpPr txBox="1"/>
          <p:nvPr/>
        </p:nvSpPr>
        <p:spPr>
          <a:xfrm>
            <a:off x="7000175" y="2469194"/>
            <a:ext cx="1927658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/>
              <a:t>LOREM IPSUM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C3E3D158-1CBD-47FA-9251-4F8723EA64A9}"/>
              </a:ext>
            </a:extLst>
          </p:cNvPr>
          <p:cNvSpPr txBox="1"/>
          <p:nvPr/>
        </p:nvSpPr>
        <p:spPr>
          <a:xfrm>
            <a:off x="7000175" y="4608050"/>
            <a:ext cx="1927658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E1756E9B-ED31-4845-B34C-0C5C77196F6B}"/>
              </a:ext>
            </a:extLst>
          </p:cNvPr>
          <p:cNvSpPr txBox="1"/>
          <p:nvPr/>
        </p:nvSpPr>
        <p:spPr>
          <a:xfrm>
            <a:off x="7000175" y="4400017"/>
            <a:ext cx="1927658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/>
              <a:t>LOREM IPSUM</a:t>
            </a:r>
          </a:p>
        </p:txBody>
      </p:sp>
      <p:grpSp>
        <p:nvGrpSpPr>
          <p:cNvPr id="255" name="Group 254">
            <a:extLst>
              <a:ext uri="{FF2B5EF4-FFF2-40B4-BE49-F238E27FC236}">
                <a16:creationId xmlns:a16="http://schemas.microsoft.com/office/drawing/2014/main" id="{978BAD6D-BCBD-4096-9900-490B814517C7}"/>
              </a:ext>
            </a:extLst>
          </p:cNvPr>
          <p:cNvGrpSpPr>
            <a:grpSpLocks noChangeAspect="1"/>
          </p:cNvGrpSpPr>
          <p:nvPr/>
        </p:nvGrpSpPr>
        <p:grpSpPr>
          <a:xfrm>
            <a:off x="7816205" y="4030968"/>
            <a:ext cx="295598" cy="296866"/>
            <a:chOff x="8020050" y="4195763"/>
            <a:chExt cx="369888" cy="371475"/>
          </a:xfrm>
          <a:solidFill>
            <a:schemeClr val="accent2"/>
          </a:solidFill>
        </p:grpSpPr>
        <p:sp>
          <p:nvSpPr>
            <p:cNvPr id="256" name="Freeform 28">
              <a:extLst>
                <a:ext uri="{FF2B5EF4-FFF2-40B4-BE49-F238E27FC236}">
                  <a16:creationId xmlns:a16="http://schemas.microsoft.com/office/drawing/2014/main" id="{CE6C2073-6B80-4014-80BB-414C58EB2A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43875" y="4241801"/>
              <a:ext cx="122238" cy="123825"/>
            </a:xfrm>
            <a:custGeom>
              <a:avLst/>
              <a:gdLst>
                <a:gd name="T0" fmla="*/ 16 w 32"/>
                <a:gd name="T1" fmla="*/ 32 h 32"/>
                <a:gd name="T2" fmla="*/ 0 w 32"/>
                <a:gd name="T3" fmla="*/ 16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4 h 32"/>
                <a:gd name="T12" fmla="*/ 4 w 32"/>
                <a:gd name="T13" fmla="*/ 16 h 32"/>
                <a:gd name="T14" fmla="*/ 16 w 32"/>
                <a:gd name="T15" fmla="*/ 28 h 32"/>
                <a:gd name="T16" fmla="*/ 28 w 32"/>
                <a:gd name="T17" fmla="*/ 16 h 32"/>
                <a:gd name="T18" fmla="*/ 16 w 32"/>
                <a:gd name="T19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  <a:moveTo>
                    <a:pt x="16" y="4"/>
                  </a:moveTo>
                  <a:cubicBezTo>
                    <a:pt x="9" y="4"/>
                    <a:pt x="4" y="9"/>
                    <a:pt x="4" y="16"/>
                  </a:cubicBezTo>
                  <a:cubicBezTo>
                    <a:pt x="4" y="23"/>
                    <a:pt x="9" y="28"/>
                    <a:pt x="16" y="28"/>
                  </a:cubicBezTo>
                  <a:cubicBezTo>
                    <a:pt x="23" y="28"/>
                    <a:pt x="28" y="23"/>
                    <a:pt x="28" y="16"/>
                  </a:cubicBezTo>
                  <a:cubicBezTo>
                    <a:pt x="28" y="9"/>
                    <a:pt x="23" y="4"/>
                    <a:pt x="1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29">
              <a:extLst>
                <a:ext uri="{FF2B5EF4-FFF2-40B4-BE49-F238E27FC236}">
                  <a16:creationId xmlns:a16="http://schemas.microsoft.com/office/drawing/2014/main" id="{C1F28435-4158-4DBA-BE0C-1D930E6D8D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93075" y="4195763"/>
              <a:ext cx="223838" cy="341313"/>
            </a:xfrm>
            <a:custGeom>
              <a:avLst/>
              <a:gdLst>
                <a:gd name="T0" fmla="*/ 29 w 58"/>
                <a:gd name="T1" fmla="*/ 88 h 88"/>
                <a:gd name="T2" fmla="*/ 27 w 58"/>
                <a:gd name="T3" fmla="*/ 87 h 88"/>
                <a:gd name="T4" fmla="*/ 0 w 58"/>
                <a:gd name="T5" fmla="*/ 29 h 88"/>
                <a:gd name="T6" fmla="*/ 29 w 58"/>
                <a:gd name="T7" fmla="*/ 0 h 88"/>
                <a:gd name="T8" fmla="*/ 58 w 58"/>
                <a:gd name="T9" fmla="*/ 29 h 88"/>
                <a:gd name="T10" fmla="*/ 31 w 58"/>
                <a:gd name="T11" fmla="*/ 87 h 88"/>
                <a:gd name="T12" fmla="*/ 29 w 58"/>
                <a:gd name="T13" fmla="*/ 88 h 88"/>
                <a:gd name="T14" fmla="*/ 29 w 58"/>
                <a:gd name="T15" fmla="*/ 4 h 88"/>
                <a:gd name="T16" fmla="*/ 4 w 58"/>
                <a:gd name="T17" fmla="*/ 29 h 88"/>
                <a:gd name="T18" fmla="*/ 29 w 58"/>
                <a:gd name="T19" fmla="*/ 82 h 88"/>
                <a:gd name="T20" fmla="*/ 54 w 58"/>
                <a:gd name="T21" fmla="*/ 29 h 88"/>
                <a:gd name="T22" fmla="*/ 29 w 58"/>
                <a:gd name="T23" fmla="*/ 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8" h="88">
                  <a:moveTo>
                    <a:pt x="29" y="88"/>
                  </a:moveTo>
                  <a:cubicBezTo>
                    <a:pt x="28" y="88"/>
                    <a:pt x="28" y="88"/>
                    <a:pt x="27" y="87"/>
                  </a:cubicBezTo>
                  <a:cubicBezTo>
                    <a:pt x="26" y="85"/>
                    <a:pt x="0" y="45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8" y="13"/>
                    <a:pt x="58" y="29"/>
                  </a:cubicBezTo>
                  <a:cubicBezTo>
                    <a:pt x="58" y="45"/>
                    <a:pt x="32" y="85"/>
                    <a:pt x="31" y="87"/>
                  </a:cubicBezTo>
                  <a:cubicBezTo>
                    <a:pt x="30" y="88"/>
                    <a:pt x="30" y="88"/>
                    <a:pt x="29" y="88"/>
                  </a:cubicBezTo>
                  <a:close/>
                  <a:moveTo>
                    <a:pt x="29" y="4"/>
                  </a:moveTo>
                  <a:cubicBezTo>
                    <a:pt x="15" y="4"/>
                    <a:pt x="4" y="15"/>
                    <a:pt x="4" y="29"/>
                  </a:cubicBezTo>
                  <a:cubicBezTo>
                    <a:pt x="4" y="42"/>
                    <a:pt x="23" y="73"/>
                    <a:pt x="29" y="82"/>
                  </a:cubicBezTo>
                  <a:cubicBezTo>
                    <a:pt x="35" y="73"/>
                    <a:pt x="54" y="42"/>
                    <a:pt x="54" y="29"/>
                  </a:cubicBezTo>
                  <a:cubicBezTo>
                    <a:pt x="54" y="15"/>
                    <a:pt x="43" y="4"/>
                    <a:pt x="29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30">
              <a:extLst>
                <a:ext uri="{FF2B5EF4-FFF2-40B4-BE49-F238E27FC236}">
                  <a16:creationId xmlns:a16="http://schemas.microsoft.com/office/drawing/2014/main" id="{3F91E58B-8B74-43C0-A9B3-DFAB1CE62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0050" y="4494213"/>
              <a:ext cx="369888" cy="73025"/>
            </a:xfrm>
            <a:custGeom>
              <a:avLst/>
              <a:gdLst>
                <a:gd name="T0" fmla="*/ 48 w 96"/>
                <a:gd name="T1" fmla="*/ 19 h 19"/>
                <a:gd name="T2" fmla="*/ 0 w 96"/>
                <a:gd name="T3" fmla="*/ 9 h 19"/>
                <a:gd name="T4" fmla="*/ 28 w 96"/>
                <a:gd name="T5" fmla="*/ 0 h 19"/>
                <a:gd name="T6" fmla="*/ 30 w 96"/>
                <a:gd name="T7" fmla="*/ 2 h 19"/>
                <a:gd name="T8" fmla="*/ 28 w 96"/>
                <a:gd name="T9" fmla="*/ 4 h 19"/>
                <a:gd name="T10" fmla="*/ 4 w 96"/>
                <a:gd name="T11" fmla="*/ 9 h 19"/>
                <a:gd name="T12" fmla="*/ 48 w 96"/>
                <a:gd name="T13" fmla="*/ 15 h 19"/>
                <a:gd name="T14" fmla="*/ 92 w 96"/>
                <a:gd name="T15" fmla="*/ 9 h 19"/>
                <a:gd name="T16" fmla="*/ 68 w 96"/>
                <a:gd name="T17" fmla="*/ 4 h 19"/>
                <a:gd name="T18" fmla="*/ 66 w 96"/>
                <a:gd name="T19" fmla="*/ 2 h 19"/>
                <a:gd name="T20" fmla="*/ 68 w 96"/>
                <a:gd name="T21" fmla="*/ 0 h 19"/>
                <a:gd name="T22" fmla="*/ 96 w 96"/>
                <a:gd name="T23" fmla="*/ 9 h 19"/>
                <a:gd name="T24" fmla="*/ 48 w 96"/>
                <a:gd name="T2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9">
                  <a:moveTo>
                    <a:pt x="48" y="19"/>
                  </a:moveTo>
                  <a:cubicBezTo>
                    <a:pt x="43" y="19"/>
                    <a:pt x="0" y="19"/>
                    <a:pt x="0" y="9"/>
                  </a:cubicBezTo>
                  <a:cubicBezTo>
                    <a:pt x="0" y="4"/>
                    <a:pt x="9" y="1"/>
                    <a:pt x="28" y="0"/>
                  </a:cubicBezTo>
                  <a:cubicBezTo>
                    <a:pt x="29" y="0"/>
                    <a:pt x="30" y="1"/>
                    <a:pt x="30" y="2"/>
                  </a:cubicBezTo>
                  <a:cubicBezTo>
                    <a:pt x="30" y="3"/>
                    <a:pt x="29" y="4"/>
                    <a:pt x="28" y="4"/>
                  </a:cubicBezTo>
                  <a:cubicBezTo>
                    <a:pt x="10" y="5"/>
                    <a:pt x="4" y="8"/>
                    <a:pt x="4" y="9"/>
                  </a:cubicBezTo>
                  <a:cubicBezTo>
                    <a:pt x="5" y="11"/>
                    <a:pt x="21" y="15"/>
                    <a:pt x="48" y="15"/>
                  </a:cubicBezTo>
                  <a:cubicBezTo>
                    <a:pt x="75" y="15"/>
                    <a:pt x="91" y="11"/>
                    <a:pt x="92" y="9"/>
                  </a:cubicBezTo>
                  <a:cubicBezTo>
                    <a:pt x="92" y="8"/>
                    <a:pt x="86" y="5"/>
                    <a:pt x="68" y="4"/>
                  </a:cubicBezTo>
                  <a:cubicBezTo>
                    <a:pt x="67" y="4"/>
                    <a:pt x="66" y="3"/>
                    <a:pt x="66" y="2"/>
                  </a:cubicBezTo>
                  <a:cubicBezTo>
                    <a:pt x="66" y="1"/>
                    <a:pt x="67" y="0"/>
                    <a:pt x="68" y="0"/>
                  </a:cubicBezTo>
                  <a:cubicBezTo>
                    <a:pt x="87" y="1"/>
                    <a:pt x="96" y="4"/>
                    <a:pt x="96" y="9"/>
                  </a:cubicBezTo>
                  <a:cubicBezTo>
                    <a:pt x="96" y="19"/>
                    <a:pt x="53" y="19"/>
                    <a:pt x="48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5" name="TextBox 304">
            <a:extLst>
              <a:ext uri="{FF2B5EF4-FFF2-40B4-BE49-F238E27FC236}">
                <a16:creationId xmlns:a16="http://schemas.microsoft.com/office/drawing/2014/main" id="{C325DB01-FBD0-4813-853E-F7D60394D0AD}"/>
              </a:ext>
            </a:extLst>
          </p:cNvPr>
          <p:cNvSpPr txBox="1"/>
          <p:nvPr/>
        </p:nvSpPr>
        <p:spPr>
          <a:xfrm>
            <a:off x="9420951" y="2677227"/>
            <a:ext cx="1927658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AABD60E6-6455-422C-BDCB-76C9D69AB61B}"/>
              </a:ext>
            </a:extLst>
          </p:cNvPr>
          <p:cNvSpPr txBox="1"/>
          <p:nvPr/>
        </p:nvSpPr>
        <p:spPr>
          <a:xfrm>
            <a:off x="9420951" y="2469194"/>
            <a:ext cx="1927658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/>
              <a:t>LOREM IPSUM</a:t>
            </a:r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EB14887E-558E-4CDB-AA29-05CC688BEA0B}"/>
              </a:ext>
            </a:extLst>
          </p:cNvPr>
          <p:cNvSpPr txBox="1"/>
          <p:nvPr/>
        </p:nvSpPr>
        <p:spPr>
          <a:xfrm>
            <a:off x="9420951" y="4608050"/>
            <a:ext cx="1927658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E40721C5-02DD-481E-BEA6-2D9FF8500F64}"/>
              </a:ext>
            </a:extLst>
          </p:cNvPr>
          <p:cNvSpPr txBox="1"/>
          <p:nvPr/>
        </p:nvSpPr>
        <p:spPr>
          <a:xfrm>
            <a:off x="9420951" y="4400017"/>
            <a:ext cx="1927658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/>
              <a:t>LOREM IPSUM</a:t>
            </a:r>
          </a:p>
        </p:txBody>
      </p:sp>
      <p:grpSp>
        <p:nvGrpSpPr>
          <p:cNvPr id="313" name="Group 312">
            <a:extLst>
              <a:ext uri="{FF2B5EF4-FFF2-40B4-BE49-F238E27FC236}">
                <a16:creationId xmlns:a16="http://schemas.microsoft.com/office/drawing/2014/main" id="{E653E347-D949-4CAA-9F8A-56DCFFE21BB2}"/>
              </a:ext>
            </a:extLst>
          </p:cNvPr>
          <p:cNvGrpSpPr>
            <a:grpSpLocks noChangeAspect="1"/>
          </p:cNvGrpSpPr>
          <p:nvPr/>
        </p:nvGrpSpPr>
        <p:grpSpPr>
          <a:xfrm>
            <a:off x="10185844" y="2105012"/>
            <a:ext cx="397869" cy="291999"/>
            <a:chOff x="5446713" y="5327650"/>
            <a:chExt cx="369887" cy="271463"/>
          </a:xfrm>
          <a:solidFill>
            <a:schemeClr val="accent3"/>
          </a:solidFill>
        </p:grpSpPr>
        <p:sp>
          <p:nvSpPr>
            <p:cNvPr id="314" name="Freeform 62">
              <a:extLst>
                <a:ext uri="{FF2B5EF4-FFF2-40B4-BE49-F238E27FC236}">
                  <a16:creationId xmlns:a16="http://schemas.microsoft.com/office/drawing/2014/main" id="{BC77CA4D-39CE-436C-96DD-C6B70DE570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46713" y="5332413"/>
              <a:ext cx="369887" cy="266700"/>
            </a:xfrm>
            <a:custGeom>
              <a:avLst/>
              <a:gdLst>
                <a:gd name="T0" fmla="*/ 38 w 96"/>
                <a:gd name="T1" fmla="*/ 68 h 68"/>
                <a:gd name="T2" fmla="*/ 37 w 96"/>
                <a:gd name="T3" fmla="*/ 67 h 68"/>
                <a:gd name="T4" fmla="*/ 36 w 96"/>
                <a:gd name="T5" fmla="*/ 65 h 68"/>
                <a:gd name="T6" fmla="*/ 47 w 96"/>
                <a:gd name="T7" fmla="*/ 38 h 68"/>
                <a:gd name="T8" fmla="*/ 21 w 96"/>
                <a:gd name="T9" fmla="*/ 48 h 68"/>
                <a:gd name="T10" fmla="*/ 19 w 96"/>
                <a:gd name="T11" fmla="*/ 47 h 68"/>
                <a:gd name="T12" fmla="*/ 1 w 96"/>
                <a:gd name="T13" fmla="*/ 29 h 68"/>
                <a:gd name="T14" fmla="*/ 0 w 96"/>
                <a:gd name="T15" fmla="*/ 28 h 68"/>
                <a:gd name="T16" fmla="*/ 1 w 96"/>
                <a:gd name="T17" fmla="*/ 26 h 68"/>
                <a:gd name="T18" fmla="*/ 15 w 96"/>
                <a:gd name="T19" fmla="*/ 20 h 68"/>
                <a:gd name="T20" fmla="*/ 17 w 96"/>
                <a:gd name="T21" fmla="*/ 20 h 68"/>
                <a:gd name="T22" fmla="*/ 28 w 96"/>
                <a:gd name="T23" fmla="*/ 26 h 68"/>
                <a:gd name="T24" fmla="*/ 82 w 96"/>
                <a:gd name="T25" fmla="*/ 2 h 68"/>
                <a:gd name="T26" fmla="*/ 95 w 96"/>
                <a:gd name="T27" fmla="*/ 8 h 68"/>
                <a:gd name="T28" fmla="*/ 95 w 96"/>
                <a:gd name="T29" fmla="*/ 15 h 68"/>
                <a:gd name="T30" fmla="*/ 90 w 96"/>
                <a:gd name="T31" fmla="*/ 21 h 68"/>
                <a:gd name="T32" fmla="*/ 72 w 96"/>
                <a:gd name="T33" fmla="*/ 28 h 68"/>
                <a:gd name="T34" fmla="*/ 56 w 96"/>
                <a:gd name="T35" fmla="*/ 59 h 68"/>
                <a:gd name="T36" fmla="*/ 55 w 96"/>
                <a:gd name="T37" fmla="*/ 60 h 68"/>
                <a:gd name="T38" fmla="*/ 39 w 96"/>
                <a:gd name="T39" fmla="*/ 68 h 68"/>
                <a:gd name="T40" fmla="*/ 38 w 96"/>
                <a:gd name="T41" fmla="*/ 68 h 68"/>
                <a:gd name="T42" fmla="*/ 50 w 96"/>
                <a:gd name="T43" fmla="*/ 32 h 68"/>
                <a:gd name="T44" fmla="*/ 52 w 96"/>
                <a:gd name="T45" fmla="*/ 33 h 68"/>
                <a:gd name="T46" fmla="*/ 52 w 96"/>
                <a:gd name="T47" fmla="*/ 35 h 68"/>
                <a:gd name="T48" fmla="*/ 42 w 96"/>
                <a:gd name="T49" fmla="*/ 62 h 68"/>
                <a:gd name="T50" fmla="*/ 53 w 96"/>
                <a:gd name="T51" fmla="*/ 57 h 68"/>
                <a:gd name="T52" fmla="*/ 68 w 96"/>
                <a:gd name="T53" fmla="*/ 25 h 68"/>
                <a:gd name="T54" fmla="*/ 70 w 96"/>
                <a:gd name="T55" fmla="*/ 24 h 68"/>
                <a:gd name="T56" fmla="*/ 88 w 96"/>
                <a:gd name="T57" fmla="*/ 17 h 68"/>
                <a:gd name="T58" fmla="*/ 92 w 96"/>
                <a:gd name="T59" fmla="*/ 14 h 68"/>
                <a:gd name="T60" fmla="*/ 92 w 96"/>
                <a:gd name="T61" fmla="*/ 9 h 68"/>
                <a:gd name="T62" fmla="*/ 84 w 96"/>
                <a:gd name="T63" fmla="*/ 6 h 68"/>
                <a:gd name="T64" fmla="*/ 29 w 96"/>
                <a:gd name="T65" fmla="*/ 30 h 68"/>
                <a:gd name="T66" fmla="*/ 27 w 96"/>
                <a:gd name="T67" fmla="*/ 30 h 68"/>
                <a:gd name="T68" fmla="*/ 16 w 96"/>
                <a:gd name="T69" fmla="*/ 24 h 68"/>
                <a:gd name="T70" fmla="*/ 6 w 96"/>
                <a:gd name="T71" fmla="*/ 29 h 68"/>
                <a:gd name="T72" fmla="*/ 21 w 96"/>
                <a:gd name="T73" fmla="*/ 44 h 68"/>
                <a:gd name="T74" fmla="*/ 50 w 96"/>
                <a:gd name="T75" fmla="*/ 32 h 68"/>
                <a:gd name="T76" fmla="*/ 50 w 96"/>
                <a:gd name="T77" fmla="*/ 3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6" h="68">
                  <a:moveTo>
                    <a:pt x="38" y="68"/>
                  </a:moveTo>
                  <a:cubicBezTo>
                    <a:pt x="38" y="68"/>
                    <a:pt x="37" y="68"/>
                    <a:pt x="37" y="67"/>
                  </a:cubicBezTo>
                  <a:cubicBezTo>
                    <a:pt x="36" y="67"/>
                    <a:pt x="36" y="66"/>
                    <a:pt x="36" y="65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0" y="48"/>
                    <a:pt x="19" y="48"/>
                    <a:pt x="19" y="47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0" y="29"/>
                    <a:pt x="0" y="28"/>
                    <a:pt x="0" y="28"/>
                  </a:cubicBezTo>
                  <a:cubicBezTo>
                    <a:pt x="0" y="27"/>
                    <a:pt x="1" y="26"/>
                    <a:pt x="1" y="26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82" y="2"/>
                    <a:pt x="82" y="2"/>
                    <a:pt x="82" y="2"/>
                  </a:cubicBezTo>
                  <a:cubicBezTo>
                    <a:pt x="87" y="0"/>
                    <a:pt x="93" y="3"/>
                    <a:pt x="95" y="8"/>
                  </a:cubicBezTo>
                  <a:cubicBezTo>
                    <a:pt x="96" y="10"/>
                    <a:pt x="96" y="13"/>
                    <a:pt x="95" y="15"/>
                  </a:cubicBezTo>
                  <a:cubicBezTo>
                    <a:pt x="94" y="18"/>
                    <a:pt x="92" y="20"/>
                    <a:pt x="90" y="21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6" y="59"/>
                    <a:pt x="56" y="60"/>
                    <a:pt x="55" y="60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39" y="68"/>
                    <a:pt x="39" y="68"/>
                    <a:pt x="38" y="68"/>
                  </a:cubicBezTo>
                  <a:close/>
                  <a:moveTo>
                    <a:pt x="50" y="32"/>
                  </a:moveTo>
                  <a:cubicBezTo>
                    <a:pt x="51" y="32"/>
                    <a:pt x="51" y="32"/>
                    <a:pt x="52" y="33"/>
                  </a:cubicBezTo>
                  <a:cubicBezTo>
                    <a:pt x="52" y="33"/>
                    <a:pt x="52" y="34"/>
                    <a:pt x="52" y="35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68" y="25"/>
                    <a:pt x="68" y="25"/>
                    <a:pt x="68" y="25"/>
                  </a:cubicBezTo>
                  <a:cubicBezTo>
                    <a:pt x="69" y="25"/>
                    <a:pt x="69" y="24"/>
                    <a:pt x="70" y="24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90" y="17"/>
                    <a:pt x="91" y="15"/>
                    <a:pt x="92" y="14"/>
                  </a:cubicBezTo>
                  <a:cubicBezTo>
                    <a:pt x="92" y="12"/>
                    <a:pt x="92" y="11"/>
                    <a:pt x="92" y="9"/>
                  </a:cubicBezTo>
                  <a:cubicBezTo>
                    <a:pt x="90" y="6"/>
                    <a:pt x="87" y="5"/>
                    <a:pt x="84" y="6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8" y="30"/>
                    <a:pt x="27" y="30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Freeform 63">
              <a:extLst>
                <a:ext uri="{FF2B5EF4-FFF2-40B4-BE49-F238E27FC236}">
                  <a16:creationId xmlns:a16="http://schemas.microsoft.com/office/drawing/2014/main" id="{2C52A139-FCCE-43DE-B5A2-0EDC9A346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0850" y="5327650"/>
              <a:ext cx="174625" cy="82550"/>
            </a:xfrm>
            <a:custGeom>
              <a:avLst/>
              <a:gdLst>
                <a:gd name="T0" fmla="*/ 28 w 45"/>
                <a:gd name="T1" fmla="*/ 21 h 21"/>
                <a:gd name="T2" fmla="*/ 28 w 45"/>
                <a:gd name="T3" fmla="*/ 21 h 21"/>
                <a:gd name="T4" fmla="*/ 1 w 45"/>
                <a:gd name="T5" fmla="*/ 10 h 21"/>
                <a:gd name="T6" fmla="*/ 0 w 45"/>
                <a:gd name="T7" fmla="*/ 8 h 21"/>
                <a:gd name="T8" fmla="*/ 1 w 45"/>
                <a:gd name="T9" fmla="*/ 6 h 21"/>
                <a:gd name="T10" fmla="*/ 16 w 45"/>
                <a:gd name="T11" fmla="*/ 0 h 21"/>
                <a:gd name="T12" fmla="*/ 17 w 45"/>
                <a:gd name="T13" fmla="*/ 0 h 21"/>
                <a:gd name="T14" fmla="*/ 44 w 45"/>
                <a:gd name="T15" fmla="*/ 11 h 21"/>
                <a:gd name="T16" fmla="*/ 45 w 45"/>
                <a:gd name="T17" fmla="*/ 14 h 21"/>
                <a:gd name="T18" fmla="*/ 42 w 45"/>
                <a:gd name="T19" fmla="*/ 15 h 21"/>
                <a:gd name="T20" fmla="*/ 16 w 45"/>
                <a:gd name="T21" fmla="*/ 4 h 21"/>
                <a:gd name="T22" fmla="*/ 7 w 45"/>
                <a:gd name="T23" fmla="*/ 8 h 21"/>
                <a:gd name="T24" fmla="*/ 29 w 45"/>
                <a:gd name="T25" fmla="*/ 17 h 21"/>
                <a:gd name="T26" fmla="*/ 30 w 45"/>
                <a:gd name="T27" fmla="*/ 20 h 21"/>
                <a:gd name="T28" fmla="*/ 28 w 45"/>
                <a:gd name="T2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21">
                  <a:moveTo>
                    <a:pt x="28" y="21"/>
                  </a:moveTo>
                  <a:cubicBezTo>
                    <a:pt x="28" y="21"/>
                    <a:pt x="28" y="21"/>
                    <a:pt x="28" y="2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7"/>
                    <a:pt x="0" y="7"/>
                    <a:pt x="1" y="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5" y="12"/>
                    <a:pt x="45" y="13"/>
                    <a:pt x="45" y="14"/>
                  </a:cubicBezTo>
                  <a:cubicBezTo>
                    <a:pt x="44" y="15"/>
                    <a:pt x="43" y="15"/>
                    <a:pt x="42" y="15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30" y="18"/>
                    <a:pt x="31" y="19"/>
                    <a:pt x="30" y="20"/>
                  </a:cubicBezTo>
                  <a:cubicBezTo>
                    <a:pt x="30" y="21"/>
                    <a:pt x="29" y="21"/>
                    <a:pt x="28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47317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8" name="Group 157">
            <a:extLst>
              <a:ext uri="{FF2B5EF4-FFF2-40B4-BE49-F238E27FC236}">
                <a16:creationId xmlns:a16="http://schemas.microsoft.com/office/drawing/2014/main" id="{1A281424-5338-4DF2-88F2-35AAD57DF86C}"/>
              </a:ext>
            </a:extLst>
          </p:cNvPr>
          <p:cNvGrpSpPr/>
          <p:nvPr/>
        </p:nvGrpSpPr>
        <p:grpSpPr>
          <a:xfrm>
            <a:off x="4914798" y="1275204"/>
            <a:ext cx="5698576" cy="4764792"/>
            <a:chOff x="2616200" y="2406651"/>
            <a:chExt cx="2170113" cy="1814512"/>
          </a:xfrm>
          <a:solidFill>
            <a:srgbClr val="BFBFBF"/>
          </a:solidFill>
        </p:grpSpPr>
        <p:sp>
          <p:nvSpPr>
            <p:cNvPr id="159" name="Freeform 5">
              <a:extLst>
                <a:ext uri="{FF2B5EF4-FFF2-40B4-BE49-F238E27FC236}">
                  <a16:creationId xmlns:a16="http://schemas.microsoft.com/office/drawing/2014/main" id="{196B874C-4FBD-4515-AF0A-846582DB5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438" y="3563938"/>
              <a:ext cx="125413" cy="149225"/>
            </a:xfrm>
            <a:custGeom>
              <a:avLst/>
              <a:gdLst>
                <a:gd name="T0" fmla="*/ 28 w 42"/>
                <a:gd name="T1" fmla="*/ 46 h 50"/>
                <a:gd name="T2" fmla="*/ 31 w 42"/>
                <a:gd name="T3" fmla="*/ 45 h 50"/>
                <a:gd name="T4" fmla="*/ 34 w 42"/>
                <a:gd name="T5" fmla="*/ 40 h 50"/>
                <a:gd name="T6" fmla="*/ 37 w 42"/>
                <a:gd name="T7" fmla="*/ 34 h 50"/>
                <a:gd name="T8" fmla="*/ 39 w 42"/>
                <a:gd name="T9" fmla="*/ 34 h 50"/>
                <a:gd name="T10" fmla="*/ 42 w 42"/>
                <a:gd name="T11" fmla="*/ 29 h 50"/>
                <a:gd name="T12" fmla="*/ 41 w 42"/>
                <a:gd name="T13" fmla="*/ 21 h 50"/>
                <a:gd name="T14" fmla="*/ 37 w 42"/>
                <a:gd name="T15" fmla="*/ 17 h 50"/>
                <a:gd name="T16" fmla="*/ 35 w 42"/>
                <a:gd name="T17" fmla="*/ 17 h 50"/>
                <a:gd name="T18" fmla="*/ 31 w 42"/>
                <a:gd name="T19" fmla="*/ 14 h 50"/>
                <a:gd name="T20" fmla="*/ 27 w 42"/>
                <a:gd name="T21" fmla="*/ 3 h 50"/>
                <a:gd name="T22" fmla="*/ 23 w 42"/>
                <a:gd name="T23" fmla="*/ 0 h 50"/>
                <a:gd name="T24" fmla="*/ 5 w 42"/>
                <a:gd name="T25" fmla="*/ 0 h 50"/>
                <a:gd name="T26" fmla="*/ 0 w 42"/>
                <a:gd name="T27" fmla="*/ 5 h 50"/>
                <a:gd name="T28" fmla="*/ 0 w 42"/>
                <a:gd name="T29" fmla="*/ 8 h 50"/>
                <a:gd name="T30" fmla="*/ 1 w 42"/>
                <a:gd name="T31" fmla="*/ 8 h 50"/>
                <a:gd name="T32" fmla="*/ 8 w 42"/>
                <a:gd name="T33" fmla="*/ 12 h 50"/>
                <a:gd name="T34" fmla="*/ 8 w 42"/>
                <a:gd name="T35" fmla="*/ 14 h 50"/>
                <a:gd name="T36" fmla="*/ 13 w 42"/>
                <a:gd name="T37" fmla="*/ 19 h 50"/>
                <a:gd name="T38" fmla="*/ 16 w 42"/>
                <a:gd name="T39" fmla="*/ 20 h 50"/>
                <a:gd name="T40" fmla="*/ 20 w 42"/>
                <a:gd name="T41" fmla="*/ 23 h 50"/>
                <a:gd name="T42" fmla="*/ 28 w 42"/>
                <a:gd name="T43" fmla="*/ 40 h 50"/>
                <a:gd name="T44" fmla="*/ 28 w 42"/>
                <a:gd name="T45" fmla="*/ 42 h 50"/>
                <a:gd name="T46" fmla="*/ 28 w 42"/>
                <a:gd name="T47" fmla="*/ 50 h 50"/>
                <a:gd name="T48" fmla="*/ 28 w 42"/>
                <a:gd name="T49" fmla="*/ 50 h 50"/>
                <a:gd name="T50" fmla="*/ 28 w 42"/>
                <a:gd name="T51" fmla="*/ 50 h 50"/>
                <a:gd name="T52" fmla="*/ 28 w 42"/>
                <a:gd name="T53" fmla="*/ 4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2" h="50">
                  <a:moveTo>
                    <a:pt x="28" y="46"/>
                  </a:moveTo>
                  <a:cubicBezTo>
                    <a:pt x="31" y="45"/>
                    <a:pt x="31" y="45"/>
                    <a:pt x="31" y="45"/>
                  </a:cubicBezTo>
                  <a:cubicBezTo>
                    <a:pt x="34" y="45"/>
                    <a:pt x="35" y="42"/>
                    <a:pt x="34" y="40"/>
                  </a:cubicBezTo>
                  <a:cubicBezTo>
                    <a:pt x="33" y="38"/>
                    <a:pt x="35" y="35"/>
                    <a:pt x="37" y="34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41" y="33"/>
                    <a:pt x="42" y="31"/>
                    <a:pt x="42" y="29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18"/>
                    <a:pt x="39" y="17"/>
                    <a:pt x="37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3" y="17"/>
                    <a:pt x="32" y="16"/>
                    <a:pt x="31" y="14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1"/>
                    <a:pt x="24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4" y="8"/>
                    <a:pt x="7" y="10"/>
                    <a:pt x="8" y="12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7"/>
                    <a:pt x="10" y="18"/>
                    <a:pt x="13" y="19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8" y="20"/>
                    <a:pt x="19" y="21"/>
                    <a:pt x="20" y="23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1"/>
                    <a:pt x="28" y="41"/>
                    <a:pt x="28" y="4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lnTo>
                    <a:pt x="28" y="4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6">
              <a:extLst>
                <a:ext uri="{FF2B5EF4-FFF2-40B4-BE49-F238E27FC236}">
                  <a16:creationId xmlns:a16="http://schemas.microsoft.com/office/drawing/2014/main" id="{1A5A7294-0C5D-49D3-A54C-097CD90923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3650" y="4048126"/>
              <a:ext cx="96838" cy="61913"/>
            </a:xfrm>
            <a:custGeom>
              <a:avLst/>
              <a:gdLst>
                <a:gd name="T0" fmla="*/ 29 w 32"/>
                <a:gd name="T1" fmla="*/ 1 h 21"/>
                <a:gd name="T2" fmla="*/ 17 w 32"/>
                <a:gd name="T3" fmla="*/ 4 h 21"/>
                <a:gd name="T4" fmla="*/ 3 w 32"/>
                <a:gd name="T5" fmla="*/ 1 h 21"/>
                <a:gd name="T6" fmla="*/ 0 w 32"/>
                <a:gd name="T7" fmla="*/ 5 h 21"/>
                <a:gd name="T8" fmla="*/ 3 w 32"/>
                <a:gd name="T9" fmla="*/ 9 h 21"/>
                <a:gd name="T10" fmla="*/ 15 w 32"/>
                <a:gd name="T11" fmla="*/ 13 h 21"/>
                <a:gd name="T12" fmla="*/ 25 w 32"/>
                <a:gd name="T13" fmla="*/ 20 h 21"/>
                <a:gd name="T14" fmla="*/ 30 w 32"/>
                <a:gd name="T15" fmla="*/ 15 h 21"/>
                <a:gd name="T16" fmla="*/ 29 w 32"/>
                <a:gd name="T17" fmla="*/ 8 h 21"/>
                <a:gd name="T18" fmla="*/ 32 w 32"/>
                <a:gd name="T19" fmla="*/ 5 h 21"/>
                <a:gd name="T20" fmla="*/ 29 w 32"/>
                <a:gd name="T21" fmla="*/ 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21">
                  <a:moveTo>
                    <a:pt x="29" y="1"/>
                  </a:moveTo>
                  <a:cubicBezTo>
                    <a:pt x="26" y="1"/>
                    <a:pt x="23" y="4"/>
                    <a:pt x="17" y="4"/>
                  </a:cubicBezTo>
                  <a:cubicBezTo>
                    <a:pt x="10" y="4"/>
                    <a:pt x="6" y="0"/>
                    <a:pt x="3" y="1"/>
                  </a:cubicBezTo>
                  <a:cubicBezTo>
                    <a:pt x="1" y="2"/>
                    <a:pt x="0" y="2"/>
                    <a:pt x="0" y="5"/>
                  </a:cubicBezTo>
                  <a:cubicBezTo>
                    <a:pt x="0" y="7"/>
                    <a:pt x="0" y="9"/>
                    <a:pt x="3" y="9"/>
                  </a:cubicBezTo>
                  <a:cubicBezTo>
                    <a:pt x="6" y="10"/>
                    <a:pt x="13" y="11"/>
                    <a:pt x="15" y="13"/>
                  </a:cubicBezTo>
                  <a:cubicBezTo>
                    <a:pt x="17" y="15"/>
                    <a:pt x="22" y="20"/>
                    <a:pt x="25" y="20"/>
                  </a:cubicBezTo>
                  <a:cubicBezTo>
                    <a:pt x="29" y="21"/>
                    <a:pt x="30" y="19"/>
                    <a:pt x="30" y="15"/>
                  </a:cubicBezTo>
                  <a:cubicBezTo>
                    <a:pt x="30" y="11"/>
                    <a:pt x="26" y="9"/>
                    <a:pt x="29" y="8"/>
                  </a:cubicBezTo>
                  <a:cubicBezTo>
                    <a:pt x="29" y="8"/>
                    <a:pt x="32" y="7"/>
                    <a:pt x="32" y="5"/>
                  </a:cubicBezTo>
                  <a:cubicBezTo>
                    <a:pt x="32" y="3"/>
                    <a:pt x="32" y="0"/>
                    <a:pt x="29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7">
              <a:extLst>
                <a:ext uri="{FF2B5EF4-FFF2-40B4-BE49-F238E27FC236}">
                  <a16:creationId xmlns:a16="http://schemas.microsoft.com/office/drawing/2014/main" id="{31A4AC0E-823F-45D0-B45C-B2D7F2D51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800" y="4133851"/>
              <a:ext cx="20638" cy="20638"/>
            </a:xfrm>
            <a:custGeom>
              <a:avLst/>
              <a:gdLst>
                <a:gd name="T0" fmla="*/ 6 w 7"/>
                <a:gd name="T1" fmla="*/ 5 h 7"/>
                <a:gd name="T2" fmla="*/ 2 w 7"/>
                <a:gd name="T3" fmla="*/ 1 h 7"/>
                <a:gd name="T4" fmla="*/ 1 w 7"/>
                <a:gd name="T5" fmla="*/ 5 h 7"/>
                <a:gd name="T6" fmla="*/ 5 w 7"/>
                <a:gd name="T7" fmla="*/ 7 h 7"/>
                <a:gd name="T8" fmla="*/ 6 w 7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5"/>
                  </a:moveTo>
                  <a:cubicBezTo>
                    <a:pt x="6" y="5"/>
                    <a:pt x="4" y="0"/>
                    <a:pt x="2" y="1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2" y="6"/>
                    <a:pt x="4" y="7"/>
                    <a:pt x="5" y="7"/>
                  </a:cubicBezTo>
                  <a:cubicBezTo>
                    <a:pt x="6" y="6"/>
                    <a:pt x="7" y="6"/>
                    <a:pt x="6" y="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8">
              <a:extLst>
                <a:ext uri="{FF2B5EF4-FFF2-40B4-BE49-F238E27FC236}">
                  <a16:creationId xmlns:a16="http://schemas.microsoft.com/office/drawing/2014/main" id="{D8B0AB1C-11EB-4E6A-9FB2-EFF10118F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2850" y="2528888"/>
              <a:ext cx="458788" cy="758825"/>
            </a:xfrm>
            <a:custGeom>
              <a:avLst/>
              <a:gdLst>
                <a:gd name="T0" fmla="*/ 81 w 153"/>
                <a:gd name="T1" fmla="*/ 124 h 254"/>
                <a:gd name="T2" fmla="*/ 110 w 153"/>
                <a:gd name="T3" fmla="*/ 106 h 254"/>
                <a:gd name="T4" fmla="*/ 126 w 153"/>
                <a:gd name="T5" fmla="*/ 70 h 254"/>
                <a:gd name="T6" fmla="*/ 150 w 153"/>
                <a:gd name="T7" fmla="*/ 62 h 254"/>
                <a:gd name="T8" fmla="*/ 152 w 153"/>
                <a:gd name="T9" fmla="*/ 53 h 254"/>
                <a:gd name="T10" fmla="*/ 153 w 153"/>
                <a:gd name="T11" fmla="*/ 43 h 254"/>
                <a:gd name="T12" fmla="*/ 148 w 153"/>
                <a:gd name="T13" fmla="*/ 21 h 254"/>
                <a:gd name="T14" fmla="*/ 131 w 153"/>
                <a:gd name="T15" fmla="*/ 12 h 254"/>
                <a:gd name="T16" fmla="*/ 119 w 153"/>
                <a:gd name="T17" fmla="*/ 1 h 254"/>
                <a:gd name="T18" fmla="*/ 115 w 153"/>
                <a:gd name="T19" fmla="*/ 12 h 254"/>
                <a:gd name="T20" fmla="*/ 106 w 153"/>
                <a:gd name="T21" fmla="*/ 8 h 254"/>
                <a:gd name="T22" fmla="*/ 99 w 153"/>
                <a:gd name="T23" fmla="*/ 4 h 254"/>
                <a:gd name="T24" fmla="*/ 95 w 153"/>
                <a:gd name="T25" fmla="*/ 12 h 254"/>
                <a:gd name="T26" fmla="*/ 85 w 153"/>
                <a:gd name="T27" fmla="*/ 16 h 254"/>
                <a:gd name="T28" fmla="*/ 70 w 153"/>
                <a:gd name="T29" fmla="*/ 29 h 254"/>
                <a:gd name="T30" fmla="*/ 69 w 153"/>
                <a:gd name="T31" fmla="*/ 41 h 254"/>
                <a:gd name="T32" fmla="*/ 55 w 153"/>
                <a:gd name="T33" fmla="*/ 56 h 254"/>
                <a:gd name="T34" fmla="*/ 49 w 153"/>
                <a:gd name="T35" fmla="*/ 57 h 254"/>
                <a:gd name="T36" fmla="*/ 48 w 153"/>
                <a:gd name="T37" fmla="*/ 69 h 254"/>
                <a:gd name="T38" fmla="*/ 45 w 153"/>
                <a:gd name="T39" fmla="*/ 89 h 254"/>
                <a:gd name="T40" fmla="*/ 46 w 153"/>
                <a:gd name="T41" fmla="*/ 94 h 254"/>
                <a:gd name="T42" fmla="*/ 29 w 153"/>
                <a:gd name="T43" fmla="*/ 104 h 254"/>
                <a:gd name="T44" fmla="*/ 16 w 153"/>
                <a:gd name="T45" fmla="*/ 139 h 254"/>
                <a:gd name="T46" fmla="*/ 22 w 153"/>
                <a:gd name="T47" fmla="*/ 146 h 254"/>
                <a:gd name="T48" fmla="*/ 23 w 153"/>
                <a:gd name="T49" fmla="*/ 151 h 254"/>
                <a:gd name="T50" fmla="*/ 15 w 153"/>
                <a:gd name="T51" fmla="*/ 155 h 254"/>
                <a:gd name="T52" fmla="*/ 20 w 153"/>
                <a:gd name="T53" fmla="*/ 160 h 254"/>
                <a:gd name="T54" fmla="*/ 24 w 153"/>
                <a:gd name="T55" fmla="*/ 167 h 254"/>
                <a:gd name="T56" fmla="*/ 17 w 153"/>
                <a:gd name="T57" fmla="*/ 175 h 254"/>
                <a:gd name="T58" fmla="*/ 13 w 153"/>
                <a:gd name="T59" fmla="*/ 193 h 254"/>
                <a:gd name="T60" fmla="*/ 0 w 153"/>
                <a:gd name="T61" fmla="*/ 197 h 254"/>
                <a:gd name="T62" fmla="*/ 8 w 153"/>
                <a:gd name="T63" fmla="*/ 219 h 254"/>
                <a:gd name="T64" fmla="*/ 33 w 153"/>
                <a:gd name="T65" fmla="*/ 252 h 254"/>
                <a:gd name="T66" fmla="*/ 40 w 153"/>
                <a:gd name="T67" fmla="*/ 249 h 254"/>
                <a:gd name="T68" fmla="*/ 62 w 153"/>
                <a:gd name="T69" fmla="*/ 231 h 254"/>
                <a:gd name="T70" fmla="*/ 66 w 153"/>
                <a:gd name="T71" fmla="*/ 211 h 254"/>
                <a:gd name="T72" fmla="*/ 81 w 153"/>
                <a:gd name="T73" fmla="*/ 191 h 254"/>
                <a:gd name="T74" fmla="*/ 85 w 153"/>
                <a:gd name="T75" fmla="*/ 170 h 254"/>
                <a:gd name="T76" fmla="*/ 76 w 153"/>
                <a:gd name="T77" fmla="*/ 161 h 254"/>
                <a:gd name="T78" fmla="*/ 77 w 153"/>
                <a:gd name="T79" fmla="*/ 13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" h="254">
                  <a:moveTo>
                    <a:pt x="77" y="131"/>
                  </a:moveTo>
                  <a:cubicBezTo>
                    <a:pt x="78" y="128"/>
                    <a:pt x="79" y="126"/>
                    <a:pt x="81" y="12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110" y="106"/>
                    <a:pt x="110" y="106"/>
                    <a:pt x="110" y="106"/>
                  </a:cubicBezTo>
                  <a:cubicBezTo>
                    <a:pt x="116" y="88"/>
                    <a:pt x="116" y="88"/>
                    <a:pt x="116" y="88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9" y="65"/>
                    <a:pt x="135" y="62"/>
                    <a:pt x="141" y="62"/>
                  </a:cubicBezTo>
                  <a:cubicBezTo>
                    <a:pt x="150" y="62"/>
                    <a:pt x="150" y="62"/>
                    <a:pt x="150" y="62"/>
                  </a:cubicBezTo>
                  <a:cubicBezTo>
                    <a:pt x="151" y="62"/>
                    <a:pt x="152" y="62"/>
                    <a:pt x="152" y="62"/>
                  </a:cubicBezTo>
                  <a:cubicBezTo>
                    <a:pt x="152" y="53"/>
                    <a:pt x="152" y="53"/>
                    <a:pt x="152" y="53"/>
                  </a:cubicBezTo>
                  <a:cubicBezTo>
                    <a:pt x="148" y="49"/>
                    <a:pt x="148" y="49"/>
                    <a:pt x="148" y="49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48" y="38"/>
                    <a:pt x="148" y="38"/>
                    <a:pt x="148" y="38"/>
                  </a:cubicBezTo>
                  <a:cubicBezTo>
                    <a:pt x="148" y="21"/>
                    <a:pt x="148" y="21"/>
                    <a:pt x="148" y="21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119" y="0"/>
                    <a:pt x="119" y="1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19" y="10"/>
                    <a:pt x="117" y="12"/>
                    <a:pt x="115" y="12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108" y="12"/>
                    <a:pt x="106" y="10"/>
                    <a:pt x="106" y="8"/>
                  </a:cubicBezTo>
                  <a:cubicBezTo>
                    <a:pt x="106" y="6"/>
                    <a:pt x="104" y="4"/>
                    <a:pt x="102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7" y="4"/>
                    <a:pt x="95" y="6"/>
                    <a:pt x="95" y="8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14"/>
                    <a:pt x="93" y="16"/>
                    <a:pt x="91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4" y="16"/>
                    <a:pt x="83" y="16"/>
                    <a:pt x="82" y="17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69" y="29"/>
                    <a:pt x="69" y="30"/>
                    <a:pt x="69" y="3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2"/>
                    <a:pt x="69" y="43"/>
                    <a:pt x="68" y="44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7"/>
                    <a:pt x="54" y="57"/>
                    <a:pt x="52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7"/>
                    <a:pt x="49" y="68"/>
                    <a:pt x="48" y="69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1" y="79"/>
                    <a:pt x="41" y="85"/>
                    <a:pt x="45" y="89"/>
                  </a:cubicBezTo>
                  <a:cubicBezTo>
                    <a:pt x="46" y="89"/>
                    <a:pt x="46" y="90"/>
                    <a:pt x="46" y="91"/>
                  </a:cubicBezTo>
                  <a:cubicBezTo>
                    <a:pt x="46" y="94"/>
                    <a:pt x="46" y="94"/>
                    <a:pt x="46" y="94"/>
                  </a:cubicBezTo>
                  <a:cubicBezTo>
                    <a:pt x="46" y="96"/>
                    <a:pt x="45" y="98"/>
                    <a:pt x="44" y="98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1" y="108"/>
                    <a:pt x="16" y="116"/>
                    <a:pt x="16" y="125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40"/>
                    <a:pt x="17" y="141"/>
                    <a:pt x="17" y="141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3" y="147"/>
                    <a:pt x="23" y="148"/>
                  </a:cubicBezTo>
                  <a:cubicBezTo>
                    <a:pt x="23" y="151"/>
                    <a:pt x="23" y="151"/>
                    <a:pt x="23" y="151"/>
                  </a:cubicBezTo>
                  <a:cubicBezTo>
                    <a:pt x="23" y="154"/>
                    <a:pt x="21" y="155"/>
                    <a:pt x="19" y="155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15" y="160"/>
                    <a:pt x="15" y="160"/>
                    <a:pt x="15" y="160"/>
                  </a:cubicBezTo>
                  <a:cubicBezTo>
                    <a:pt x="20" y="160"/>
                    <a:pt x="20" y="160"/>
                    <a:pt x="20" y="160"/>
                  </a:cubicBezTo>
                  <a:cubicBezTo>
                    <a:pt x="22" y="160"/>
                    <a:pt x="24" y="162"/>
                    <a:pt x="24" y="164"/>
                  </a:cubicBezTo>
                  <a:cubicBezTo>
                    <a:pt x="24" y="167"/>
                    <a:pt x="24" y="167"/>
                    <a:pt x="24" y="167"/>
                  </a:cubicBezTo>
                  <a:cubicBezTo>
                    <a:pt x="24" y="168"/>
                    <a:pt x="23" y="169"/>
                    <a:pt x="23" y="169"/>
                  </a:cubicBezTo>
                  <a:cubicBezTo>
                    <a:pt x="17" y="175"/>
                    <a:pt x="17" y="175"/>
                    <a:pt x="17" y="175"/>
                  </a:cubicBezTo>
                  <a:cubicBezTo>
                    <a:pt x="15" y="178"/>
                    <a:pt x="13" y="181"/>
                    <a:pt x="13" y="184"/>
                  </a:cubicBezTo>
                  <a:cubicBezTo>
                    <a:pt x="13" y="193"/>
                    <a:pt x="13" y="193"/>
                    <a:pt x="13" y="193"/>
                  </a:cubicBezTo>
                  <a:cubicBezTo>
                    <a:pt x="13" y="196"/>
                    <a:pt x="11" y="197"/>
                    <a:pt x="9" y="197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2" y="201"/>
                    <a:pt x="3" y="206"/>
                    <a:pt x="3" y="212"/>
                  </a:cubicBezTo>
                  <a:cubicBezTo>
                    <a:pt x="8" y="219"/>
                    <a:pt x="8" y="219"/>
                    <a:pt x="8" y="219"/>
                  </a:cubicBezTo>
                  <a:cubicBezTo>
                    <a:pt x="17" y="239"/>
                    <a:pt x="17" y="239"/>
                    <a:pt x="17" y="239"/>
                  </a:cubicBezTo>
                  <a:cubicBezTo>
                    <a:pt x="16" y="248"/>
                    <a:pt x="24" y="254"/>
                    <a:pt x="33" y="252"/>
                  </a:cubicBezTo>
                  <a:cubicBezTo>
                    <a:pt x="34" y="252"/>
                    <a:pt x="34" y="252"/>
                    <a:pt x="34" y="252"/>
                  </a:cubicBezTo>
                  <a:cubicBezTo>
                    <a:pt x="36" y="251"/>
                    <a:pt x="38" y="250"/>
                    <a:pt x="40" y="249"/>
                  </a:cubicBezTo>
                  <a:cubicBezTo>
                    <a:pt x="47" y="243"/>
                    <a:pt x="47" y="243"/>
                    <a:pt x="47" y="243"/>
                  </a:cubicBezTo>
                  <a:cubicBezTo>
                    <a:pt x="62" y="231"/>
                    <a:pt x="62" y="231"/>
                    <a:pt x="62" y="231"/>
                  </a:cubicBezTo>
                  <a:cubicBezTo>
                    <a:pt x="66" y="227"/>
                    <a:pt x="68" y="222"/>
                    <a:pt x="67" y="217"/>
                  </a:cubicBezTo>
                  <a:cubicBezTo>
                    <a:pt x="66" y="211"/>
                    <a:pt x="66" y="211"/>
                    <a:pt x="66" y="211"/>
                  </a:cubicBezTo>
                  <a:cubicBezTo>
                    <a:pt x="65" y="205"/>
                    <a:pt x="68" y="199"/>
                    <a:pt x="73" y="196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85" y="189"/>
                    <a:pt x="87" y="185"/>
                    <a:pt x="86" y="181"/>
                  </a:cubicBezTo>
                  <a:cubicBezTo>
                    <a:pt x="85" y="170"/>
                    <a:pt x="85" y="170"/>
                    <a:pt x="85" y="170"/>
                  </a:cubicBezTo>
                  <a:cubicBezTo>
                    <a:pt x="85" y="166"/>
                    <a:pt x="82" y="164"/>
                    <a:pt x="79" y="162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73" y="159"/>
                    <a:pt x="71" y="155"/>
                    <a:pt x="72" y="152"/>
                  </a:cubicBezTo>
                  <a:lnTo>
                    <a:pt x="77" y="1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9">
              <a:extLst>
                <a:ext uri="{FF2B5EF4-FFF2-40B4-BE49-F238E27FC236}">
                  <a16:creationId xmlns:a16="http://schemas.microsoft.com/office/drawing/2014/main" id="{BF0B92D5-64DE-42CF-9980-24C63CAAE4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513" y="2471738"/>
              <a:ext cx="374650" cy="565150"/>
            </a:xfrm>
            <a:custGeom>
              <a:avLst/>
              <a:gdLst>
                <a:gd name="T0" fmla="*/ 118 w 125"/>
                <a:gd name="T1" fmla="*/ 130 h 189"/>
                <a:gd name="T2" fmla="*/ 114 w 125"/>
                <a:gd name="T3" fmla="*/ 127 h 189"/>
                <a:gd name="T4" fmla="*/ 114 w 125"/>
                <a:gd name="T5" fmla="*/ 119 h 189"/>
                <a:gd name="T6" fmla="*/ 115 w 125"/>
                <a:gd name="T7" fmla="*/ 112 h 189"/>
                <a:gd name="T8" fmla="*/ 114 w 125"/>
                <a:gd name="T9" fmla="*/ 111 h 189"/>
                <a:gd name="T10" fmla="*/ 106 w 125"/>
                <a:gd name="T11" fmla="*/ 95 h 189"/>
                <a:gd name="T12" fmla="*/ 106 w 125"/>
                <a:gd name="T13" fmla="*/ 91 h 189"/>
                <a:gd name="T14" fmla="*/ 108 w 125"/>
                <a:gd name="T15" fmla="*/ 83 h 189"/>
                <a:gd name="T16" fmla="*/ 108 w 125"/>
                <a:gd name="T17" fmla="*/ 79 h 189"/>
                <a:gd name="T18" fmla="*/ 99 w 125"/>
                <a:gd name="T19" fmla="*/ 61 h 189"/>
                <a:gd name="T20" fmla="*/ 100 w 125"/>
                <a:gd name="T21" fmla="*/ 55 h 189"/>
                <a:gd name="T22" fmla="*/ 103 w 125"/>
                <a:gd name="T23" fmla="*/ 52 h 189"/>
                <a:gd name="T24" fmla="*/ 103 w 125"/>
                <a:gd name="T25" fmla="*/ 45 h 189"/>
                <a:gd name="T26" fmla="*/ 98 w 125"/>
                <a:gd name="T27" fmla="*/ 37 h 189"/>
                <a:gd name="T28" fmla="*/ 98 w 125"/>
                <a:gd name="T29" fmla="*/ 33 h 189"/>
                <a:gd name="T30" fmla="*/ 100 w 125"/>
                <a:gd name="T31" fmla="*/ 15 h 189"/>
                <a:gd name="T32" fmla="*/ 99 w 125"/>
                <a:gd name="T33" fmla="*/ 15 h 189"/>
                <a:gd name="T34" fmla="*/ 86 w 125"/>
                <a:gd name="T35" fmla="*/ 0 h 189"/>
                <a:gd name="T36" fmla="*/ 84 w 125"/>
                <a:gd name="T37" fmla="*/ 0 h 189"/>
                <a:gd name="T38" fmla="*/ 68 w 125"/>
                <a:gd name="T39" fmla="*/ 3 h 189"/>
                <a:gd name="T40" fmla="*/ 65 w 125"/>
                <a:gd name="T41" fmla="*/ 7 h 189"/>
                <a:gd name="T42" fmla="*/ 65 w 125"/>
                <a:gd name="T43" fmla="*/ 11 h 189"/>
                <a:gd name="T44" fmla="*/ 64 w 125"/>
                <a:gd name="T45" fmla="*/ 14 h 189"/>
                <a:gd name="T46" fmla="*/ 58 w 125"/>
                <a:gd name="T47" fmla="*/ 19 h 189"/>
                <a:gd name="T48" fmla="*/ 43 w 125"/>
                <a:gd name="T49" fmla="*/ 25 h 189"/>
                <a:gd name="T50" fmla="*/ 23 w 125"/>
                <a:gd name="T51" fmla="*/ 25 h 189"/>
                <a:gd name="T52" fmla="*/ 20 w 125"/>
                <a:gd name="T53" fmla="*/ 24 h 189"/>
                <a:gd name="T54" fmla="*/ 15 w 125"/>
                <a:gd name="T55" fmla="*/ 19 h 189"/>
                <a:gd name="T56" fmla="*/ 7 w 125"/>
                <a:gd name="T57" fmla="*/ 15 h 189"/>
                <a:gd name="T58" fmla="*/ 3 w 125"/>
                <a:gd name="T59" fmla="*/ 19 h 189"/>
                <a:gd name="T60" fmla="*/ 15 w 125"/>
                <a:gd name="T61" fmla="*/ 31 h 189"/>
                <a:gd name="T62" fmla="*/ 23 w 125"/>
                <a:gd name="T63" fmla="*/ 31 h 189"/>
                <a:gd name="T64" fmla="*/ 32 w 125"/>
                <a:gd name="T65" fmla="*/ 40 h 189"/>
                <a:gd name="T66" fmla="*/ 32 w 125"/>
                <a:gd name="T67" fmla="*/ 57 h 189"/>
                <a:gd name="T68" fmla="*/ 37 w 125"/>
                <a:gd name="T69" fmla="*/ 62 h 189"/>
                <a:gd name="T70" fmla="*/ 32 w 125"/>
                <a:gd name="T71" fmla="*/ 68 h 189"/>
                <a:gd name="T72" fmla="*/ 36 w 125"/>
                <a:gd name="T73" fmla="*/ 72 h 189"/>
                <a:gd name="T74" fmla="*/ 36 w 125"/>
                <a:gd name="T75" fmla="*/ 81 h 189"/>
                <a:gd name="T76" fmla="*/ 44 w 125"/>
                <a:gd name="T77" fmla="*/ 86 h 189"/>
                <a:gd name="T78" fmla="*/ 43 w 125"/>
                <a:gd name="T79" fmla="*/ 97 h 189"/>
                <a:gd name="T80" fmla="*/ 15 w 125"/>
                <a:gd name="T81" fmla="*/ 126 h 189"/>
                <a:gd name="T82" fmla="*/ 10 w 125"/>
                <a:gd name="T83" fmla="*/ 142 h 189"/>
                <a:gd name="T84" fmla="*/ 7 w 125"/>
                <a:gd name="T85" fmla="*/ 145 h 189"/>
                <a:gd name="T86" fmla="*/ 2 w 125"/>
                <a:gd name="T87" fmla="*/ 162 h 189"/>
                <a:gd name="T88" fmla="*/ 7 w 125"/>
                <a:gd name="T89" fmla="*/ 177 h 189"/>
                <a:gd name="T90" fmla="*/ 13 w 125"/>
                <a:gd name="T91" fmla="*/ 184 h 189"/>
                <a:gd name="T92" fmla="*/ 20 w 125"/>
                <a:gd name="T93" fmla="*/ 187 h 189"/>
                <a:gd name="T94" fmla="*/ 29 w 125"/>
                <a:gd name="T95" fmla="*/ 188 h 189"/>
                <a:gd name="T96" fmla="*/ 61 w 125"/>
                <a:gd name="T97" fmla="*/ 179 h 189"/>
                <a:gd name="T98" fmla="*/ 78 w 125"/>
                <a:gd name="T99" fmla="*/ 179 h 189"/>
                <a:gd name="T100" fmla="*/ 86 w 125"/>
                <a:gd name="T101" fmla="*/ 182 h 189"/>
                <a:gd name="T102" fmla="*/ 113 w 125"/>
                <a:gd name="T103" fmla="*/ 163 h 189"/>
                <a:gd name="T104" fmla="*/ 123 w 125"/>
                <a:gd name="T105" fmla="*/ 149 h 189"/>
                <a:gd name="T106" fmla="*/ 123 w 125"/>
                <a:gd name="T107" fmla="*/ 147 h 189"/>
                <a:gd name="T108" fmla="*/ 118 w 125"/>
                <a:gd name="T109" fmla="*/ 13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5" h="189">
                  <a:moveTo>
                    <a:pt x="118" y="130"/>
                  </a:moveTo>
                  <a:cubicBezTo>
                    <a:pt x="114" y="127"/>
                    <a:pt x="114" y="127"/>
                    <a:pt x="114" y="127"/>
                  </a:cubicBezTo>
                  <a:cubicBezTo>
                    <a:pt x="111" y="125"/>
                    <a:pt x="111" y="121"/>
                    <a:pt x="114" y="119"/>
                  </a:cubicBezTo>
                  <a:cubicBezTo>
                    <a:pt x="115" y="117"/>
                    <a:pt x="116" y="115"/>
                    <a:pt x="115" y="112"/>
                  </a:cubicBezTo>
                  <a:cubicBezTo>
                    <a:pt x="114" y="111"/>
                    <a:pt x="114" y="111"/>
                    <a:pt x="114" y="111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106" y="93"/>
                    <a:pt x="106" y="92"/>
                    <a:pt x="106" y="91"/>
                  </a:cubicBezTo>
                  <a:cubicBezTo>
                    <a:pt x="108" y="83"/>
                    <a:pt x="108" y="83"/>
                    <a:pt x="108" y="83"/>
                  </a:cubicBezTo>
                  <a:cubicBezTo>
                    <a:pt x="108" y="81"/>
                    <a:pt x="108" y="80"/>
                    <a:pt x="108" y="79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8" y="59"/>
                    <a:pt x="99" y="56"/>
                    <a:pt x="100" y="55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4" y="50"/>
                    <a:pt x="105" y="47"/>
                    <a:pt x="103" y="45"/>
                  </a:cubicBezTo>
                  <a:cubicBezTo>
                    <a:pt x="98" y="37"/>
                    <a:pt x="98" y="37"/>
                    <a:pt x="98" y="37"/>
                  </a:cubicBezTo>
                  <a:cubicBezTo>
                    <a:pt x="98" y="36"/>
                    <a:pt x="98" y="34"/>
                    <a:pt x="98" y="33"/>
                  </a:cubicBezTo>
                  <a:cubicBezTo>
                    <a:pt x="100" y="15"/>
                    <a:pt x="100" y="15"/>
                    <a:pt x="100" y="15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5" y="0"/>
                    <a:pt x="85" y="0"/>
                    <a:pt x="84" y="0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6" y="4"/>
                    <a:pt x="65" y="5"/>
                    <a:pt x="65" y="7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2"/>
                    <a:pt x="65" y="13"/>
                    <a:pt x="64" y="14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4" y="23"/>
                    <a:pt x="49" y="25"/>
                    <a:pt x="43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2" y="25"/>
                    <a:pt x="21" y="25"/>
                    <a:pt x="20" y="24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3" y="17"/>
                    <a:pt x="10" y="15"/>
                    <a:pt x="7" y="15"/>
                  </a:cubicBezTo>
                  <a:cubicBezTo>
                    <a:pt x="5" y="15"/>
                    <a:pt x="3" y="17"/>
                    <a:pt x="3" y="19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40" y="81"/>
                    <a:pt x="43" y="83"/>
                    <a:pt x="44" y="86"/>
                  </a:cubicBezTo>
                  <a:cubicBezTo>
                    <a:pt x="46" y="90"/>
                    <a:pt x="45" y="94"/>
                    <a:pt x="43" y="97"/>
                  </a:cubicBezTo>
                  <a:cubicBezTo>
                    <a:pt x="15" y="126"/>
                    <a:pt x="15" y="126"/>
                    <a:pt x="15" y="126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2" y="149"/>
                    <a:pt x="0" y="156"/>
                    <a:pt x="2" y="162"/>
                  </a:cubicBezTo>
                  <a:cubicBezTo>
                    <a:pt x="7" y="177"/>
                    <a:pt x="7" y="177"/>
                    <a:pt x="7" y="177"/>
                  </a:cubicBezTo>
                  <a:cubicBezTo>
                    <a:pt x="8" y="180"/>
                    <a:pt x="10" y="182"/>
                    <a:pt x="13" y="184"/>
                  </a:cubicBezTo>
                  <a:cubicBezTo>
                    <a:pt x="20" y="187"/>
                    <a:pt x="20" y="187"/>
                    <a:pt x="20" y="187"/>
                  </a:cubicBezTo>
                  <a:cubicBezTo>
                    <a:pt x="23" y="189"/>
                    <a:pt x="26" y="189"/>
                    <a:pt x="29" y="188"/>
                  </a:cubicBezTo>
                  <a:cubicBezTo>
                    <a:pt x="61" y="179"/>
                    <a:pt x="61" y="179"/>
                    <a:pt x="61" y="179"/>
                  </a:cubicBezTo>
                  <a:cubicBezTo>
                    <a:pt x="78" y="179"/>
                    <a:pt x="78" y="179"/>
                    <a:pt x="78" y="179"/>
                  </a:cubicBezTo>
                  <a:cubicBezTo>
                    <a:pt x="81" y="179"/>
                    <a:pt x="84" y="180"/>
                    <a:pt x="86" y="182"/>
                  </a:cubicBezTo>
                  <a:cubicBezTo>
                    <a:pt x="113" y="163"/>
                    <a:pt x="113" y="163"/>
                    <a:pt x="113" y="163"/>
                  </a:cubicBezTo>
                  <a:cubicBezTo>
                    <a:pt x="117" y="160"/>
                    <a:pt x="121" y="155"/>
                    <a:pt x="123" y="149"/>
                  </a:cubicBezTo>
                  <a:cubicBezTo>
                    <a:pt x="123" y="147"/>
                    <a:pt x="123" y="147"/>
                    <a:pt x="123" y="147"/>
                  </a:cubicBezTo>
                  <a:cubicBezTo>
                    <a:pt x="125" y="141"/>
                    <a:pt x="123" y="134"/>
                    <a:pt x="118" y="1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10">
              <a:extLst>
                <a:ext uri="{FF2B5EF4-FFF2-40B4-BE49-F238E27FC236}">
                  <a16:creationId xmlns:a16="http://schemas.microsoft.com/office/drawing/2014/main" id="{F81D1544-80F0-49A5-8466-541C6AF0D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188" y="2406651"/>
              <a:ext cx="892175" cy="750888"/>
            </a:xfrm>
            <a:custGeom>
              <a:avLst/>
              <a:gdLst>
                <a:gd name="T0" fmla="*/ 277 w 298"/>
                <a:gd name="T1" fmla="*/ 6 h 251"/>
                <a:gd name="T2" fmla="*/ 256 w 298"/>
                <a:gd name="T3" fmla="*/ 13 h 251"/>
                <a:gd name="T4" fmla="*/ 247 w 298"/>
                <a:gd name="T5" fmla="*/ 16 h 251"/>
                <a:gd name="T6" fmla="*/ 241 w 298"/>
                <a:gd name="T7" fmla="*/ 1 h 251"/>
                <a:gd name="T8" fmla="*/ 226 w 298"/>
                <a:gd name="T9" fmla="*/ 6 h 251"/>
                <a:gd name="T10" fmla="*/ 217 w 298"/>
                <a:gd name="T11" fmla="*/ 23 h 251"/>
                <a:gd name="T12" fmla="*/ 209 w 298"/>
                <a:gd name="T13" fmla="*/ 15 h 251"/>
                <a:gd name="T14" fmla="*/ 198 w 298"/>
                <a:gd name="T15" fmla="*/ 13 h 251"/>
                <a:gd name="T16" fmla="*/ 189 w 298"/>
                <a:gd name="T17" fmla="*/ 23 h 251"/>
                <a:gd name="T18" fmla="*/ 178 w 298"/>
                <a:gd name="T19" fmla="*/ 18 h 251"/>
                <a:gd name="T20" fmla="*/ 168 w 298"/>
                <a:gd name="T21" fmla="*/ 24 h 251"/>
                <a:gd name="T22" fmla="*/ 154 w 298"/>
                <a:gd name="T23" fmla="*/ 34 h 251"/>
                <a:gd name="T24" fmla="*/ 144 w 298"/>
                <a:gd name="T25" fmla="*/ 35 h 251"/>
                <a:gd name="T26" fmla="*/ 148 w 298"/>
                <a:gd name="T27" fmla="*/ 43 h 251"/>
                <a:gd name="T28" fmla="*/ 143 w 298"/>
                <a:gd name="T29" fmla="*/ 49 h 251"/>
                <a:gd name="T30" fmla="*/ 118 w 298"/>
                <a:gd name="T31" fmla="*/ 50 h 251"/>
                <a:gd name="T32" fmla="*/ 120 w 298"/>
                <a:gd name="T33" fmla="*/ 60 h 251"/>
                <a:gd name="T34" fmla="*/ 126 w 298"/>
                <a:gd name="T35" fmla="*/ 66 h 251"/>
                <a:gd name="T36" fmla="*/ 84 w 298"/>
                <a:gd name="T37" fmla="*/ 118 h 251"/>
                <a:gd name="T38" fmla="*/ 69 w 298"/>
                <a:gd name="T39" fmla="*/ 125 h 251"/>
                <a:gd name="T40" fmla="*/ 53 w 298"/>
                <a:gd name="T41" fmla="*/ 139 h 251"/>
                <a:gd name="T42" fmla="*/ 60 w 298"/>
                <a:gd name="T43" fmla="*/ 143 h 251"/>
                <a:gd name="T44" fmla="*/ 75 w 298"/>
                <a:gd name="T45" fmla="*/ 149 h 251"/>
                <a:gd name="T46" fmla="*/ 44 w 298"/>
                <a:gd name="T47" fmla="*/ 155 h 251"/>
                <a:gd name="T48" fmla="*/ 3 w 298"/>
                <a:gd name="T49" fmla="*/ 208 h 251"/>
                <a:gd name="T50" fmla="*/ 14 w 298"/>
                <a:gd name="T51" fmla="*/ 211 h 251"/>
                <a:gd name="T52" fmla="*/ 6 w 298"/>
                <a:gd name="T53" fmla="*/ 223 h 251"/>
                <a:gd name="T54" fmla="*/ 13 w 298"/>
                <a:gd name="T55" fmla="*/ 242 h 251"/>
                <a:gd name="T56" fmla="*/ 35 w 298"/>
                <a:gd name="T57" fmla="*/ 249 h 251"/>
                <a:gd name="T58" fmla="*/ 74 w 298"/>
                <a:gd name="T59" fmla="*/ 238 h 251"/>
                <a:gd name="T60" fmla="*/ 87 w 298"/>
                <a:gd name="T61" fmla="*/ 234 h 251"/>
                <a:gd name="T62" fmla="*/ 91 w 298"/>
                <a:gd name="T63" fmla="*/ 216 h 251"/>
                <a:gd name="T64" fmla="*/ 98 w 298"/>
                <a:gd name="T65" fmla="*/ 208 h 251"/>
                <a:gd name="T66" fmla="*/ 94 w 298"/>
                <a:gd name="T67" fmla="*/ 201 h 251"/>
                <a:gd name="T68" fmla="*/ 89 w 298"/>
                <a:gd name="T69" fmla="*/ 196 h 251"/>
                <a:gd name="T70" fmla="*/ 97 w 298"/>
                <a:gd name="T71" fmla="*/ 192 h 251"/>
                <a:gd name="T72" fmla="*/ 96 w 298"/>
                <a:gd name="T73" fmla="*/ 187 h 251"/>
                <a:gd name="T74" fmla="*/ 90 w 298"/>
                <a:gd name="T75" fmla="*/ 180 h 251"/>
                <a:gd name="T76" fmla="*/ 103 w 298"/>
                <a:gd name="T77" fmla="*/ 145 h 251"/>
                <a:gd name="T78" fmla="*/ 120 w 298"/>
                <a:gd name="T79" fmla="*/ 135 h 251"/>
                <a:gd name="T80" fmla="*/ 119 w 298"/>
                <a:gd name="T81" fmla="*/ 130 h 251"/>
                <a:gd name="T82" fmla="*/ 122 w 298"/>
                <a:gd name="T83" fmla="*/ 110 h 251"/>
                <a:gd name="T84" fmla="*/ 123 w 298"/>
                <a:gd name="T85" fmla="*/ 98 h 251"/>
                <a:gd name="T86" fmla="*/ 129 w 298"/>
                <a:gd name="T87" fmla="*/ 97 h 251"/>
                <a:gd name="T88" fmla="*/ 143 w 298"/>
                <a:gd name="T89" fmla="*/ 82 h 251"/>
                <a:gd name="T90" fmla="*/ 144 w 298"/>
                <a:gd name="T91" fmla="*/ 70 h 251"/>
                <a:gd name="T92" fmla="*/ 159 w 298"/>
                <a:gd name="T93" fmla="*/ 57 h 251"/>
                <a:gd name="T94" fmla="*/ 169 w 298"/>
                <a:gd name="T95" fmla="*/ 53 h 251"/>
                <a:gd name="T96" fmla="*/ 173 w 298"/>
                <a:gd name="T97" fmla="*/ 45 h 251"/>
                <a:gd name="T98" fmla="*/ 180 w 298"/>
                <a:gd name="T99" fmla="*/ 49 h 251"/>
                <a:gd name="T100" fmla="*/ 189 w 298"/>
                <a:gd name="T101" fmla="*/ 53 h 251"/>
                <a:gd name="T102" fmla="*/ 193 w 298"/>
                <a:gd name="T103" fmla="*/ 42 h 251"/>
                <a:gd name="T104" fmla="*/ 205 w 298"/>
                <a:gd name="T105" fmla="*/ 41 h 251"/>
                <a:gd name="T106" fmla="*/ 213 w 298"/>
                <a:gd name="T107" fmla="*/ 47 h 251"/>
                <a:gd name="T108" fmla="*/ 248 w 298"/>
                <a:gd name="T109" fmla="*/ 41 h 251"/>
                <a:gd name="T110" fmla="*/ 255 w 298"/>
                <a:gd name="T111" fmla="*/ 33 h 251"/>
                <a:gd name="T112" fmla="*/ 258 w 298"/>
                <a:gd name="T113" fmla="*/ 25 h 251"/>
                <a:gd name="T114" fmla="*/ 276 w 298"/>
                <a:gd name="T115" fmla="*/ 22 h 251"/>
                <a:gd name="T116" fmla="*/ 290 w 298"/>
                <a:gd name="T117" fmla="*/ 21 h 251"/>
                <a:gd name="T118" fmla="*/ 297 w 298"/>
                <a:gd name="T119" fmla="*/ 16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8" h="251">
                  <a:moveTo>
                    <a:pt x="289" y="8"/>
                  </a:moveTo>
                  <a:cubicBezTo>
                    <a:pt x="285" y="8"/>
                    <a:pt x="281" y="8"/>
                    <a:pt x="277" y="6"/>
                  </a:cubicBezTo>
                  <a:cubicBezTo>
                    <a:pt x="272" y="2"/>
                    <a:pt x="265" y="3"/>
                    <a:pt x="261" y="7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4" y="15"/>
                    <a:pt x="252" y="16"/>
                    <a:pt x="250" y="16"/>
                  </a:cubicBezTo>
                  <a:cubicBezTo>
                    <a:pt x="247" y="16"/>
                    <a:pt x="247" y="16"/>
                    <a:pt x="247" y="16"/>
                  </a:cubicBezTo>
                  <a:cubicBezTo>
                    <a:pt x="243" y="16"/>
                    <a:pt x="241" y="11"/>
                    <a:pt x="243" y="8"/>
                  </a:cubicBezTo>
                  <a:cubicBezTo>
                    <a:pt x="246" y="5"/>
                    <a:pt x="244" y="1"/>
                    <a:pt x="241" y="1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2" y="0"/>
                    <a:pt x="227" y="2"/>
                    <a:pt x="226" y="6"/>
                  </a:cubicBezTo>
                  <a:cubicBezTo>
                    <a:pt x="222" y="17"/>
                    <a:pt x="222" y="17"/>
                    <a:pt x="222" y="17"/>
                  </a:cubicBezTo>
                  <a:cubicBezTo>
                    <a:pt x="222" y="20"/>
                    <a:pt x="220" y="22"/>
                    <a:pt x="217" y="23"/>
                  </a:cubicBezTo>
                  <a:cubicBezTo>
                    <a:pt x="213" y="24"/>
                    <a:pt x="210" y="21"/>
                    <a:pt x="209" y="17"/>
                  </a:cubicBezTo>
                  <a:cubicBezTo>
                    <a:pt x="209" y="15"/>
                    <a:pt x="209" y="15"/>
                    <a:pt x="209" y="15"/>
                  </a:cubicBezTo>
                  <a:cubicBezTo>
                    <a:pt x="208" y="12"/>
                    <a:pt x="205" y="9"/>
                    <a:pt x="202" y="9"/>
                  </a:cubicBezTo>
                  <a:cubicBezTo>
                    <a:pt x="200" y="9"/>
                    <a:pt x="198" y="11"/>
                    <a:pt x="198" y="13"/>
                  </a:cubicBezTo>
                  <a:cubicBezTo>
                    <a:pt x="197" y="19"/>
                    <a:pt x="197" y="19"/>
                    <a:pt x="197" y="19"/>
                  </a:cubicBezTo>
                  <a:cubicBezTo>
                    <a:pt x="197" y="23"/>
                    <a:pt x="193" y="25"/>
                    <a:pt x="189" y="23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5" y="17"/>
                    <a:pt x="181" y="16"/>
                    <a:pt x="178" y="18"/>
                  </a:cubicBezTo>
                  <a:cubicBezTo>
                    <a:pt x="173" y="20"/>
                    <a:pt x="173" y="20"/>
                    <a:pt x="173" y="20"/>
                  </a:cubicBezTo>
                  <a:cubicBezTo>
                    <a:pt x="171" y="21"/>
                    <a:pt x="169" y="22"/>
                    <a:pt x="168" y="24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1" y="33"/>
                    <a:pt x="157" y="35"/>
                    <a:pt x="154" y="34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47" y="32"/>
                    <a:pt x="145" y="33"/>
                    <a:pt x="144" y="35"/>
                  </a:cubicBezTo>
                  <a:cubicBezTo>
                    <a:pt x="143" y="38"/>
                    <a:pt x="143" y="41"/>
                    <a:pt x="146" y="42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8" y="44"/>
                    <a:pt x="149" y="45"/>
                    <a:pt x="149" y="45"/>
                  </a:cubicBezTo>
                  <a:cubicBezTo>
                    <a:pt x="148" y="48"/>
                    <a:pt x="145" y="50"/>
                    <a:pt x="143" y="49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2" y="46"/>
                    <a:pt x="120" y="47"/>
                    <a:pt x="118" y="50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6" y="55"/>
                    <a:pt x="117" y="58"/>
                    <a:pt x="120" y="60"/>
                  </a:cubicBezTo>
                  <a:cubicBezTo>
                    <a:pt x="125" y="62"/>
                    <a:pt x="125" y="62"/>
                    <a:pt x="125" y="62"/>
                  </a:cubicBezTo>
                  <a:cubicBezTo>
                    <a:pt x="126" y="63"/>
                    <a:pt x="127" y="65"/>
                    <a:pt x="126" y="66"/>
                  </a:cubicBezTo>
                  <a:cubicBezTo>
                    <a:pt x="98" y="95"/>
                    <a:pt x="98" y="95"/>
                    <a:pt x="98" y="95"/>
                  </a:cubicBezTo>
                  <a:cubicBezTo>
                    <a:pt x="84" y="118"/>
                    <a:pt x="84" y="118"/>
                    <a:pt x="84" y="118"/>
                  </a:cubicBezTo>
                  <a:cubicBezTo>
                    <a:pt x="82" y="120"/>
                    <a:pt x="80" y="122"/>
                    <a:pt x="78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7" y="125"/>
                    <a:pt x="65" y="126"/>
                    <a:pt x="64" y="127"/>
                  </a:cubicBezTo>
                  <a:cubicBezTo>
                    <a:pt x="53" y="139"/>
                    <a:pt x="53" y="139"/>
                    <a:pt x="53" y="139"/>
                  </a:cubicBezTo>
                  <a:cubicBezTo>
                    <a:pt x="52" y="140"/>
                    <a:pt x="52" y="142"/>
                    <a:pt x="53" y="143"/>
                  </a:cubicBezTo>
                  <a:cubicBezTo>
                    <a:pt x="55" y="145"/>
                    <a:pt x="58" y="145"/>
                    <a:pt x="60" y="143"/>
                  </a:cubicBezTo>
                  <a:cubicBezTo>
                    <a:pt x="74" y="132"/>
                    <a:pt x="74" y="132"/>
                    <a:pt x="74" y="132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60" y="156"/>
                    <a:pt x="60" y="156"/>
                    <a:pt x="60" y="156"/>
                  </a:cubicBezTo>
                  <a:cubicBezTo>
                    <a:pt x="44" y="155"/>
                    <a:pt x="44" y="155"/>
                    <a:pt x="44" y="155"/>
                  </a:cubicBezTo>
                  <a:cubicBezTo>
                    <a:pt x="16" y="173"/>
                    <a:pt x="16" y="173"/>
                    <a:pt x="16" y="173"/>
                  </a:cubicBezTo>
                  <a:cubicBezTo>
                    <a:pt x="5" y="181"/>
                    <a:pt x="0" y="195"/>
                    <a:pt x="3" y="208"/>
                  </a:cubicBezTo>
                  <a:cubicBezTo>
                    <a:pt x="12" y="209"/>
                    <a:pt x="12" y="209"/>
                    <a:pt x="12" y="209"/>
                  </a:cubicBezTo>
                  <a:cubicBezTo>
                    <a:pt x="13" y="209"/>
                    <a:pt x="14" y="210"/>
                    <a:pt x="14" y="211"/>
                  </a:cubicBezTo>
                  <a:cubicBezTo>
                    <a:pt x="16" y="214"/>
                    <a:pt x="13" y="217"/>
                    <a:pt x="10" y="217"/>
                  </a:cubicBezTo>
                  <a:cubicBezTo>
                    <a:pt x="7" y="217"/>
                    <a:pt x="5" y="220"/>
                    <a:pt x="6" y="223"/>
                  </a:cubicBezTo>
                  <a:cubicBezTo>
                    <a:pt x="9" y="236"/>
                    <a:pt x="9" y="236"/>
                    <a:pt x="9" y="236"/>
                  </a:cubicBezTo>
                  <a:cubicBezTo>
                    <a:pt x="9" y="238"/>
                    <a:pt x="11" y="240"/>
                    <a:pt x="13" y="242"/>
                  </a:cubicBezTo>
                  <a:cubicBezTo>
                    <a:pt x="23" y="248"/>
                    <a:pt x="23" y="248"/>
                    <a:pt x="23" y="248"/>
                  </a:cubicBezTo>
                  <a:cubicBezTo>
                    <a:pt x="26" y="250"/>
                    <a:pt x="31" y="251"/>
                    <a:pt x="35" y="249"/>
                  </a:cubicBezTo>
                  <a:cubicBezTo>
                    <a:pt x="44" y="244"/>
                    <a:pt x="44" y="244"/>
                    <a:pt x="44" y="244"/>
                  </a:cubicBezTo>
                  <a:cubicBezTo>
                    <a:pt x="55" y="236"/>
                    <a:pt x="68" y="224"/>
                    <a:pt x="74" y="238"/>
                  </a:cubicBezTo>
                  <a:cubicBezTo>
                    <a:pt x="83" y="238"/>
                    <a:pt x="83" y="238"/>
                    <a:pt x="83" y="238"/>
                  </a:cubicBezTo>
                  <a:cubicBezTo>
                    <a:pt x="85" y="238"/>
                    <a:pt x="87" y="237"/>
                    <a:pt x="87" y="234"/>
                  </a:cubicBezTo>
                  <a:cubicBezTo>
                    <a:pt x="87" y="225"/>
                    <a:pt x="87" y="225"/>
                    <a:pt x="87" y="225"/>
                  </a:cubicBezTo>
                  <a:cubicBezTo>
                    <a:pt x="87" y="222"/>
                    <a:pt x="89" y="219"/>
                    <a:pt x="91" y="216"/>
                  </a:cubicBezTo>
                  <a:cubicBezTo>
                    <a:pt x="97" y="210"/>
                    <a:pt x="97" y="210"/>
                    <a:pt x="97" y="210"/>
                  </a:cubicBezTo>
                  <a:cubicBezTo>
                    <a:pt x="97" y="210"/>
                    <a:pt x="98" y="209"/>
                    <a:pt x="98" y="208"/>
                  </a:cubicBezTo>
                  <a:cubicBezTo>
                    <a:pt x="98" y="205"/>
                    <a:pt x="98" y="205"/>
                    <a:pt x="98" y="205"/>
                  </a:cubicBezTo>
                  <a:cubicBezTo>
                    <a:pt x="98" y="203"/>
                    <a:pt x="96" y="201"/>
                    <a:pt x="94" y="201"/>
                  </a:cubicBezTo>
                  <a:cubicBezTo>
                    <a:pt x="89" y="201"/>
                    <a:pt x="89" y="201"/>
                    <a:pt x="89" y="201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93" y="196"/>
                    <a:pt x="93" y="196"/>
                    <a:pt x="93" y="196"/>
                  </a:cubicBezTo>
                  <a:cubicBezTo>
                    <a:pt x="95" y="196"/>
                    <a:pt x="97" y="195"/>
                    <a:pt x="97" y="192"/>
                  </a:cubicBezTo>
                  <a:cubicBezTo>
                    <a:pt x="97" y="189"/>
                    <a:pt x="97" y="189"/>
                    <a:pt x="97" y="189"/>
                  </a:cubicBezTo>
                  <a:cubicBezTo>
                    <a:pt x="97" y="188"/>
                    <a:pt x="96" y="187"/>
                    <a:pt x="96" y="187"/>
                  </a:cubicBezTo>
                  <a:cubicBezTo>
                    <a:pt x="91" y="182"/>
                    <a:pt x="91" y="182"/>
                    <a:pt x="91" y="182"/>
                  </a:cubicBezTo>
                  <a:cubicBezTo>
                    <a:pt x="91" y="182"/>
                    <a:pt x="90" y="181"/>
                    <a:pt x="90" y="180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7"/>
                    <a:pt x="95" y="149"/>
                    <a:pt x="103" y="145"/>
                  </a:cubicBezTo>
                  <a:cubicBezTo>
                    <a:pt x="118" y="139"/>
                    <a:pt x="118" y="139"/>
                    <a:pt x="118" y="139"/>
                  </a:cubicBezTo>
                  <a:cubicBezTo>
                    <a:pt x="119" y="139"/>
                    <a:pt x="120" y="137"/>
                    <a:pt x="120" y="135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0" y="131"/>
                    <a:pt x="120" y="130"/>
                    <a:pt x="119" y="130"/>
                  </a:cubicBezTo>
                  <a:cubicBezTo>
                    <a:pt x="115" y="126"/>
                    <a:pt x="115" y="120"/>
                    <a:pt x="118" y="115"/>
                  </a:cubicBezTo>
                  <a:cubicBezTo>
                    <a:pt x="122" y="110"/>
                    <a:pt x="122" y="110"/>
                    <a:pt x="122" y="110"/>
                  </a:cubicBezTo>
                  <a:cubicBezTo>
                    <a:pt x="123" y="109"/>
                    <a:pt x="123" y="108"/>
                    <a:pt x="123" y="107"/>
                  </a:cubicBezTo>
                  <a:cubicBezTo>
                    <a:pt x="123" y="98"/>
                    <a:pt x="123" y="98"/>
                    <a:pt x="123" y="98"/>
                  </a:cubicBezTo>
                  <a:cubicBezTo>
                    <a:pt x="126" y="98"/>
                    <a:pt x="126" y="98"/>
                    <a:pt x="126" y="98"/>
                  </a:cubicBezTo>
                  <a:cubicBezTo>
                    <a:pt x="128" y="98"/>
                    <a:pt x="129" y="98"/>
                    <a:pt x="129" y="97"/>
                  </a:cubicBezTo>
                  <a:cubicBezTo>
                    <a:pt x="142" y="85"/>
                    <a:pt x="142" y="85"/>
                    <a:pt x="142" y="85"/>
                  </a:cubicBezTo>
                  <a:cubicBezTo>
                    <a:pt x="143" y="84"/>
                    <a:pt x="143" y="83"/>
                    <a:pt x="143" y="82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43" y="71"/>
                    <a:pt x="143" y="70"/>
                    <a:pt x="144" y="70"/>
                  </a:cubicBezTo>
                  <a:cubicBezTo>
                    <a:pt x="156" y="58"/>
                    <a:pt x="156" y="58"/>
                    <a:pt x="156" y="58"/>
                  </a:cubicBezTo>
                  <a:cubicBezTo>
                    <a:pt x="157" y="57"/>
                    <a:pt x="158" y="57"/>
                    <a:pt x="159" y="57"/>
                  </a:cubicBezTo>
                  <a:cubicBezTo>
                    <a:pt x="165" y="57"/>
                    <a:pt x="165" y="57"/>
                    <a:pt x="165" y="57"/>
                  </a:cubicBezTo>
                  <a:cubicBezTo>
                    <a:pt x="167" y="57"/>
                    <a:pt x="169" y="55"/>
                    <a:pt x="169" y="53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9" y="47"/>
                    <a:pt x="171" y="45"/>
                    <a:pt x="173" y="45"/>
                  </a:cubicBezTo>
                  <a:cubicBezTo>
                    <a:pt x="176" y="45"/>
                    <a:pt x="176" y="45"/>
                    <a:pt x="176" y="45"/>
                  </a:cubicBezTo>
                  <a:cubicBezTo>
                    <a:pt x="178" y="45"/>
                    <a:pt x="180" y="47"/>
                    <a:pt x="180" y="49"/>
                  </a:cubicBezTo>
                  <a:cubicBezTo>
                    <a:pt x="180" y="51"/>
                    <a:pt x="182" y="53"/>
                    <a:pt x="184" y="53"/>
                  </a:cubicBezTo>
                  <a:cubicBezTo>
                    <a:pt x="189" y="53"/>
                    <a:pt x="189" y="53"/>
                    <a:pt x="189" y="53"/>
                  </a:cubicBezTo>
                  <a:cubicBezTo>
                    <a:pt x="191" y="53"/>
                    <a:pt x="193" y="51"/>
                    <a:pt x="193" y="49"/>
                  </a:cubicBezTo>
                  <a:cubicBezTo>
                    <a:pt x="193" y="42"/>
                    <a:pt x="193" y="42"/>
                    <a:pt x="193" y="42"/>
                  </a:cubicBezTo>
                  <a:cubicBezTo>
                    <a:pt x="193" y="39"/>
                    <a:pt x="195" y="37"/>
                    <a:pt x="197" y="37"/>
                  </a:cubicBezTo>
                  <a:cubicBezTo>
                    <a:pt x="200" y="37"/>
                    <a:pt x="203" y="39"/>
                    <a:pt x="205" y="41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1" y="47"/>
                    <a:pt x="212" y="47"/>
                    <a:pt x="213" y="47"/>
                  </a:cubicBezTo>
                  <a:cubicBezTo>
                    <a:pt x="233" y="47"/>
                    <a:pt x="233" y="47"/>
                    <a:pt x="233" y="47"/>
                  </a:cubicBezTo>
                  <a:cubicBezTo>
                    <a:pt x="239" y="47"/>
                    <a:pt x="244" y="45"/>
                    <a:pt x="248" y="41"/>
                  </a:cubicBezTo>
                  <a:cubicBezTo>
                    <a:pt x="254" y="36"/>
                    <a:pt x="254" y="36"/>
                    <a:pt x="254" y="36"/>
                  </a:cubicBezTo>
                  <a:cubicBezTo>
                    <a:pt x="255" y="35"/>
                    <a:pt x="255" y="34"/>
                    <a:pt x="255" y="33"/>
                  </a:cubicBezTo>
                  <a:cubicBezTo>
                    <a:pt x="255" y="29"/>
                    <a:pt x="255" y="29"/>
                    <a:pt x="255" y="29"/>
                  </a:cubicBezTo>
                  <a:cubicBezTo>
                    <a:pt x="255" y="27"/>
                    <a:pt x="256" y="26"/>
                    <a:pt x="258" y="25"/>
                  </a:cubicBezTo>
                  <a:cubicBezTo>
                    <a:pt x="274" y="22"/>
                    <a:pt x="274" y="22"/>
                    <a:pt x="274" y="22"/>
                  </a:cubicBezTo>
                  <a:cubicBezTo>
                    <a:pt x="275" y="22"/>
                    <a:pt x="275" y="22"/>
                    <a:pt x="276" y="22"/>
                  </a:cubicBezTo>
                  <a:cubicBezTo>
                    <a:pt x="276" y="21"/>
                    <a:pt x="276" y="21"/>
                    <a:pt x="276" y="21"/>
                  </a:cubicBezTo>
                  <a:cubicBezTo>
                    <a:pt x="290" y="21"/>
                    <a:pt x="290" y="21"/>
                    <a:pt x="290" y="21"/>
                  </a:cubicBezTo>
                  <a:cubicBezTo>
                    <a:pt x="293" y="22"/>
                    <a:pt x="296" y="19"/>
                    <a:pt x="297" y="16"/>
                  </a:cubicBezTo>
                  <a:cubicBezTo>
                    <a:pt x="297" y="16"/>
                    <a:pt x="297" y="16"/>
                    <a:pt x="297" y="16"/>
                  </a:cubicBezTo>
                  <a:cubicBezTo>
                    <a:pt x="298" y="11"/>
                    <a:pt x="294" y="7"/>
                    <a:pt x="289" y="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11">
              <a:extLst>
                <a:ext uri="{FF2B5EF4-FFF2-40B4-BE49-F238E27FC236}">
                  <a16:creationId xmlns:a16="http://schemas.microsoft.com/office/drawing/2014/main" id="{56F781D9-F7C3-4D88-9A63-082765106C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3933826"/>
              <a:ext cx="50800" cy="84138"/>
            </a:xfrm>
            <a:custGeom>
              <a:avLst/>
              <a:gdLst>
                <a:gd name="T0" fmla="*/ 14 w 17"/>
                <a:gd name="T1" fmla="*/ 1 h 28"/>
                <a:gd name="T2" fmla="*/ 10 w 17"/>
                <a:gd name="T3" fmla="*/ 0 h 28"/>
                <a:gd name="T4" fmla="*/ 9 w 17"/>
                <a:gd name="T5" fmla="*/ 0 h 28"/>
                <a:gd name="T6" fmla="*/ 6 w 17"/>
                <a:gd name="T7" fmla="*/ 2 h 28"/>
                <a:gd name="T8" fmla="*/ 2 w 17"/>
                <a:gd name="T9" fmla="*/ 2 h 28"/>
                <a:gd name="T10" fmla="*/ 1 w 17"/>
                <a:gd name="T11" fmla="*/ 9 h 28"/>
                <a:gd name="T12" fmla="*/ 3 w 17"/>
                <a:gd name="T13" fmla="*/ 12 h 28"/>
                <a:gd name="T14" fmla="*/ 3 w 17"/>
                <a:gd name="T15" fmla="*/ 28 h 28"/>
                <a:gd name="T16" fmla="*/ 5 w 17"/>
                <a:gd name="T17" fmla="*/ 28 h 28"/>
                <a:gd name="T18" fmla="*/ 11 w 17"/>
                <a:gd name="T19" fmla="*/ 25 h 28"/>
                <a:gd name="T20" fmla="*/ 13 w 17"/>
                <a:gd name="T21" fmla="*/ 22 h 28"/>
                <a:gd name="T22" fmla="*/ 16 w 17"/>
                <a:gd name="T23" fmla="*/ 17 h 28"/>
                <a:gd name="T24" fmla="*/ 16 w 17"/>
                <a:gd name="T25" fmla="*/ 10 h 28"/>
                <a:gd name="T26" fmla="*/ 16 w 17"/>
                <a:gd name="T27" fmla="*/ 8 h 28"/>
                <a:gd name="T28" fmla="*/ 14 w 17"/>
                <a:gd name="T29" fmla="*/ 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28">
                  <a:moveTo>
                    <a:pt x="14" y="1"/>
                  </a:moveTo>
                  <a:cubicBezTo>
                    <a:pt x="13" y="0"/>
                    <a:pt x="12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3" y="1"/>
                    <a:pt x="2" y="2"/>
                  </a:cubicBezTo>
                  <a:cubicBezTo>
                    <a:pt x="0" y="3"/>
                    <a:pt x="1" y="9"/>
                    <a:pt x="1" y="9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7" y="28"/>
                    <a:pt x="9" y="27"/>
                    <a:pt x="11" y="25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5" y="21"/>
                    <a:pt x="16" y="19"/>
                    <a:pt x="16" y="17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5"/>
                    <a:pt x="16" y="2"/>
                    <a:pt x="14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2">
              <a:extLst>
                <a:ext uri="{FF2B5EF4-FFF2-40B4-BE49-F238E27FC236}">
                  <a16:creationId xmlns:a16="http://schemas.microsoft.com/office/drawing/2014/main" id="{51409BB9-5231-46E2-A1AF-051074F6E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063" y="3862388"/>
              <a:ext cx="30163" cy="47625"/>
            </a:xfrm>
            <a:custGeom>
              <a:avLst/>
              <a:gdLst>
                <a:gd name="T0" fmla="*/ 4 w 10"/>
                <a:gd name="T1" fmla="*/ 0 h 16"/>
                <a:gd name="T2" fmla="*/ 0 w 10"/>
                <a:gd name="T3" fmla="*/ 4 h 16"/>
                <a:gd name="T4" fmla="*/ 0 w 10"/>
                <a:gd name="T5" fmla="*/ 11 h 16"/>
                <a:gd name="T6" fmla="*/ 2 w 10"/>
                <a:gd name="T7" fmla="*/ 15 h 16"/>
                <a:gd name="T8" fmla="*/ 4 w 10"/>
                <a:gd name="T9" fmla="*/ 15 h 16"/>
                <a:gd name="T10" fmla="*/ 4 w 10"/>
                <a:gd name="T11" fmla="*/ 9 h 16"/>
                <a:gd name="T12" fmla="*/ 9 w 10"/>
                <a:gd name="T13" fmla="*/ 9 h 16"/>
                <a:gd name="T14" fmla="*/ 9 w 10"/>
                <a:gd name="T15" fmla="*/ 4 h 16"/>
                <a:gd name="T16" fmla="*/ 4 w 10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6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"/>
                    <a:pt x="0" y="14"/>
                    <a:pt x="2" y="15"/>
                  </a:cubicBezTo>
                  <a:cubicBezTo>
                    <a:pt x="2" y="15"/>
                    <a:pt x="3" y="16"/>
                    <a:pt x="4" y="15"/>
                  </a:cubicBezTo>
                  <a:cubicBezTo>
                    <a:pt x="5" y="14"/>
                    <a:pt x="4" y="9"/>
                    <a:pt x="4" y="9"/>
                  </a:cubicBezTo>
                  <a:cubicBezTo>
                    <a:pt x="4" y="9"/>
                    <a:pt x="8" y="10"/>
                    <a:pt x="9" y="9"/>
                  </a:cubicBezTo>
                  <a:cubicBezTo>
                    <a:pt x="10" y="8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13">
              <a:extLst>
                <a:ext uri="{FF2B5EF4-FFF2-40B4-BE49-F238E27FC236}">
                  <a16:creationId xmlns:a16="http://schemas.microsoft.com/office/drawing/2014/main" id="{F02D511F-3E0C-4EBF-AAF4-511DFDA92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300" y="3814763"/>
              <a:ext cx="442913" cy="315913"/>
            </a:xfrm>
            <a:custGeom>
              <a:avLst/>
              <a:gdLst>
                <a:gd name="T0" fmla="*/ 120 w 148"/>
                <a:gd name="T1" fmla="*/ 13 h 106"/>
                <a:gd name="T2" fmla="*/ 113 w 148"/>
                <a:gd name="T3" fmla="*/ 14 h 106"/>
                <a:gd name="T4" fmla="*/ 88 w 148"/>
                <a:gd name="T5" fmla="*/ 5 h 106"/>
                <a:gd name="T6" fmla="*/ 85 w 148"/>
                <a:gd name="T7" fmla="*/ 6 h 106"/>
                <a:gd name="T8" fmla="*/ 68 w 148"/>
                <a:gd name="T9" fmla="*/ 5 h 106"/>
                <a:gd name="T10" fmla="*/ 68 w 148"/>
                <a:gd name="T11" fmla="*/ 5 h 106"/>
                <a:gd name="T12" fmla="*/ 56 w 148"/>
                <a:gd name="T13" fmla="*/ 5 h 106"/>
                <a:gd name="T14" fmla="*/ 54 w 148"/>
                <a:gd name="T15" fmla="*/ 5 h 106"/>
                <a:gd name="T16" fmla="*/ 49 w 148"/>
                <a:gd name="T17" fmla="*/ 2 h 106"/>
                <a:gd name="T18" fmla="*/ 47 w 148"/>
                <a:gd name="T19" fmla="*/ 2 h 106"/>
                <a:gd name="T20" fmla="*/ 22 w 148"/>
                <a:gd name="T21" fmla="*/ 0 h 106"/>
                <a:gd name="T22" fmla="*/ 22 w 148"/>
                <a:gd name="T23" fmla="*/ 0 h 106"/>
                <a:gd name="T24" fmla="*/ 12 w 148"/>
                <a:gd name="T25" fmla="*/ 0 h 106"/>
                <a:gd name="T26" fmla="*/ 9 w 148"/>
                <a:gd name="T27" fmla="*/ 1 h 106"/>
                <a:gd name="T28" fmla="*/ 2 w 148"/>
                <a:gd name="T29" fmla="*/ 7 h 106"/>
                <a:gd name="T30" fmla="*/ 0 w 148"/>
                <a:gd name="T31" fmla="*/ 12 h 106"/>
                <a:gd name="T32" fmla="*/ 2 w 148"/>
                <a:gd name="T33" fmla="*/ 20 h 106"/>
                <a:gd name="T34" fmla="*/ 3 w 148"/>
                <a:gd name="T35" fmla="*/ 22 h 106"/>
                <a:gd name="T36" fmla="*/ 5 w 148"/>
                <a:gd name="T37" fmla="*/ 25 h 106"/>
                <a:gd name="T38" fmla="*/ 6 w 148"/>
                <a:gd name="T39" fmla="*/ 27 h 106"/>
                <a:gd name="T40" fmla="*/ 13 w 148"/>
                <a:gd name="T41" fmla="*/ 29 h 106"/>
                <a:gd name="T42" fmla="*/ 29 w 148"/>
                <a:gd name="T43" fmla="*/ 26 h 106"/>
                <a:gd name="T44" fmla="*/ 34 w 148"/>
                <a:gd name="T45" fmla="*/ 28 h 106"/>
                <a:gd name="T46" fmla="*/ 35 w 148"/>
                <a:gd name="T47" fmla="*/ 35 h 106"/>
                <a:gd name="T48" fmla="*/ 34 w 148"/>
                <a:gd name="T49" fmla="*/ 36 h 106"/>
                <a:gd name="T50" fmla="*/ 32 w 148"/>
                <a:gd name="T51" fmla="*/ 38 h 106"/>
                <a:gd name="T52" fmla="*/ 31 w 148"/>
                <a:gd name="T53" fmla="*/ 38 h 106"/>
                <a:gd name="T54" fmla="*/ 28 w 148"/>
                <a:gd name="T55" fmla="*/ 43 h 106"/>
                <a:gd name="T56" fmla="*/ 25 w 148"/>
                <a:gd name="T57" fmla="*/ 62 h 106"/>
                <a:gd name="T58" fmla="*/ 24 w 148"/>
                <a:gd name="T59" fmla="*/ 65 h 106"/>
                <a:gd name="T60" fmla="*/ 22 w 148"/>
                <a:gd name="T61" fmla="*/ 67 h 106"/>
                <a:gd name="T62" fmla="*/ 24 w 148"/>
                <a:gd name="T63" fmla="*/ 70 h 106"/>
                <a:gd name="T64" fmla="*/ 25 w 148"/>
                <a:gd name="T65" fmla="*/ 73 h 106"/>
                <a:gd name="T66" fmla="*/ 23 w 148"/>
                <a:gd name="T67" fmla="*/ 91 h 106"/>
                <a:gd name="T68" fmla="*/ 27 w 148"/>
                <a:gd name="T69" fmla="*/ 92 h 106"/>
                <a:gd name="T70" fmla="*/ 28 w 148"/>
                <a:gd name="T71" fmla="*/ 94 h 106"/>
                <a:gd name="T72" fmla="*/ 30 w 148"/>
                <a:gd name="T73" fmla="*/ 98 h 106"/>
                <a:gd name="T74" fmla="*/ 33 w 148"/>
                <a:gd name="T75" fmla="*/ 102 h 106"/>
                <a:gd name="T76" fmla="*/ 37 w 148"/>
                <a:gd name="T77" fmla="*/ 105 h 106"/>
                <a:gd name="T78" fmla="*/ 41 w 148"/>
                <a:gd name="T79" fmla="*/ 106 h 106"/>
                <a:gd name="T80" fmla="*/ 50 w 148"/>
                <a:gd name="T81" fmla="*/ 103 h 106"/>
                <a:gd name="T82" fmla="*/ 51 w 148"/>
                <a:gd name="T83" fmla="*/ 102 h 106"/>
                <a:gd name="T84" fmla="*/ 65 w 148"/>
                <a:gd name="T85" fmla="*/ 99 h 106"/>
                <a:gd name="T86" fmla="*/ 66 w 148"/>
                <a:gd name="T87" fmla="*/ 99 h 106"/>
                <a:gd name="T88" fmla="*/ 75 w 148"/>
                <a:gd name="T89" fmla="*/ 99 h 106"/>
                <a:gd name="T90" fmla="*/ 78 w 148"/>
                <a:gd name="T91" fmla="*/ 98 h 106"/>
                <a:gd name="T92" fmla="*/ 89 w 148"/>
                <a:gd name="T93" fmla="*/ 90 h 106"/>
                <a:gd name="T94" fmla="*/ 89 w 148"/>
                <a:gd name="T95" fmla="*/ 90 h 106"/>
                <a:gd name="T96" fmla="*/ 99 w 148"/>
                <a:gd name="T97" fmla="*/ 81 h 106"/>
                <a:gd name="T98" fmla="*/ 109 w 148"/>
                <a:gd name="T99" fmla="*/ 72 h 106"/>
                <a:gd name="T100" fmla="*/ 104 w 148"/>
                <a:gd name="T101" fmla="*/ 64 h 106"/>
                <a:gd name="T102" fmla="*/ 108 w 148"/>
                <a:gd name="T103" fmla="*/ 52 h 106"/>
                <a:gd name="T104" fmla="*/ 121 w 148"/>
                <a:gd name="T105" fmla="*/ 39 h 106"/>
                <a:gd name="T106" fmla="*/ 125 w 148"/>
                <a:gd name="T107" fmla="*/ 37 h 106"/>
                <a:gd name="T108" fmla="*/ 131 w 148"/>
                <a:gd name="T109" fmla="*/ 36 h 106"/>
                <a:gd name="T110" fmla="*/ 134 w 148"/>
                <a:gd name="T111" fmla="*/ 35 h 106"/>
                <a:gd name="T112" fmla="*/ 144 w 148"/>
                <a:gd name="T113" fmla="*/ 30 h 106"/>
                <a:gd name="T114" fmla="*/ 147 w 148"/>
                <a:gd name="T115" fmla="*/ 25 h 106"/>
                <a:gd name="T116" fmla="*/ 148 w 148"/>
                <a:gd name="T117" fmla="*/ 20 h 106"/>
                <a:gd name="T118" fmla="*/ 127 w 148"/>
                <a:gd name="T119" fmla="*/ 11 h 106"/>
                <a:gd name="T120" fmla="*/ 120 w 148"/>
                <a:gd name="T121" fmla="*/ 1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06">
                  <a:moveTo>
                    <a:pt x="120" y="13"/>
                  </a:moveTo>
                  <a:cubicBezTo>
                    <a:pt x="118" y="15"/>
                    <a:pt x="115" y="15"/>
                    <a:pt x="113" y="14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7" y="6"/>
                    <a:pt x="86" y="6"/>
                    <a:pt x="85" y="6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5" y="5"/>
                    <a:pt x="54" y="5"/>
                    <a:pt x="54" y="5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8" y="2"/>
                    <a:pt x="48" y="2"/>
                    <a:pt x="47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9" y="1"/>
                    <a:pt x="9" y="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8"/>
                    <a:pt x="0" y="10"/>
                    <a:pt x="0" y="1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1"/>
                    <a:pt x="2" y="21"/>
                    <a:pt x="3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6" y="26"/>
                    <a:pt x="6" y="26"/>
                    <a:pt x="6" y="27"/>
                  </a:cubicBezTo>
                  <a:cubicBezTo>
                    <a:pt x="9" y="28"/>
                    <a:pt x="12" y="29"/>
                    <a:pt x="13" y="29"/>
                  </a:cubicBezTo>
                  <a:cubicBezTo>
                    <a:pt x="14" y="29"/>
                    <a:pt x="23" y="27"/>
                    <a:pt x="29" y="26"/>
                  </a:cubicBezTo>
                  <a:cubicBezTo>
                    <a:pt x="31" y="26"/>
                    <a:pt x="33" y="27"/>
                    <a:pt x="34" y="28"/>
                  </a:cubicBezTo>
                  <a:cubicBezTo>
                    <a:pt x="36" y="30"/>
                    <a:pt x="36" y="33"/>
                    <a:pt x="35" y="35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3" y="37"/>
                    <a:pt x="33" y="38"/>
                    <a:pt x="32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8" y="41"/>
                    <a:pt x="28" y="43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5" y="63"/>
                    <a:pt x="25" y="64"/>
                    <a:pt x="24" y="65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5" y="71"/>
                    <a:pt x="25" y="72"/>
                    <a:pt x="25" y="73"/>
                  </a:cubicBezTo>
                  <a:cubicBezTo>
                    <a:pt x="23" y="91"/>
                    <a:pt x="23" y="91"/>
                    <a:pt x="23" y="91"/>
                  </a:cubicBezTo>
                  <a:cubicBezTo>
                    <a:pt x="24" y="91"/>
                    <a:pt x="26" y="92"/>
                    <a:pt x="27" y="92"/>
                  </a:cubicBezTo>
                  <a:cubicBezTo>
                    <a:pt x="28" y="94"/>
                    <a:pt x="28" y="94"/>
                    <a:pt x="28" y="94"/>
                  </a:cubicBezTo>
                  <a:cubicBezTo>
                    <a:pt x="30" y="95"/>
                    <a:pt x="30" y="96"/>
                    <a:pt x="30" y="98"/>
                  </a:cubicBezTo>
                  <a:cubicBezTo>
                    <a:pt x="30" y="100"/>
                    <a:pt x="31" y="101"/>
                    <a:pt x="33" y="102"/>
                  </a:cubicBezTo>
                  <a:cubicBezTo>
                    <a:pt x="37" y="105"/>
                    <a:pt x="37" y="105"/>
                    <a:pt x="37" y="105"/>
                  </a:cubicBezTo>
                  <a:cubicBezTo>
                    <a:pt x="38" y="106"/>
                    <a:pt x="40" y="106"/>
                    <a:pt x="41" y="106"/>
                  </a:cubicBezTo>
                  <a:cubicBezTo>
                    <a:pt x="50" y="103"/>
                    <a:pt x="50" y="103"/>
                    <a:pt x="50" y="103"/>
                  </a:cubicBezTo>
                  <a:cubicBezTo>
                    <a:pt x="50" y="103"/>
                    <a:pt x="50" y="102"/>
                    <a:pt x="51" y="102"/>
                  </a:cubicBezTo>
                  <a:cubicBezTo>
                    <a:pt x="65" y="99"/>
                    <a:pt x="65" y="99"/>
                    <a:pt x="65" y="99"/>
                  </a:cubicBezTo>
                  <a:cubicBezTo>
                    <a:pt x="65" y="99"/>
                    <a:pt x="66" y="99"/>
                    <a:pt x="66" y="99"/>
                  </a:cubicBezTo>
                  <a:cubicBezTo>
                    <a:pt x="75" y="99"/>
                    <a:pt x="75" y="99"/>
                    <a:pt x="75" y="99"/>
                  </a:cubicBezTo>
                  <a:cubicBezTo>
                    <a:pt x="76" y="99"/>
                    <a:pt x="77" y="99"/>
                    <a:pt x="78" y="98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8" y="52"/>
                    <a:pt x="108" y="52"/>
                    <a:pt x="108" y="52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2" y="38"/>
                    <a:pt x="124" y="37"/>
                    <a:pt x="125" y="37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2" y="36"/>
                    <a:pt x="133" y="36"/>
                    <a:pt x="134" y="35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29"/>
                    <a:pt x="147" y="27"/>
                    <a:pt x="147" y="25"/>
                  </a:cubicBezTo>
                  <a:cubicBezTo>
                    <a:pt x="148" y="20"/>
                    <a:pt x="148" y="20"/>
                    <a:pt x="148" y="20"/>
                  </a:cubicBezTo>
                  <a:cubicBezTo>
                    <a:pt x="127" y="11"/>
                    <a:pt x="127" y="11"/>
                    <a:pt x="127" y="11"/>
                  </a:cubicBezTo>
                  <a:cubicBezTo>
                    <a:pt x="124" y="10"/>
                    <a:pt x="121" y="11"/>
                    <a:pt x="120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4">
              <a:extLst>
                <a:ext uri="{FF2B5EF4-FFF2-40B4-BE49-F238E27FC236}">
                  <a16:creationId xmlns:a16="http://schemas.microsoft.com/office/drawing/2014/main" id="{56110072-A07D-47C2-BA24-E81FFC6DE3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250" y="3178176"/>
              <a:ext cx="90488" cy="136525"/>
            </a:xfrm>
            <a:custGeom>
              <a:avLst/>
              <a:gdLst>
                <a:gd name="T0" fmla="*/ 1 w 30"/>
                <a:gd name="T1" fmla="*/ 28 h 46"/>
                <a:gd name="T2" fmla="*/ 8 w 30"/>
                <a:gd name="T3" fmla="*/ 46 h 46"/>
                <a:gd name="T4" fmla="*/ 19 w 30"/>
                <a:gd name="T5" fmla="*/ 46 h 46"/>
                <a:gd name="T6" fmla="*/ 17 w 30"/>
                <a:gd name="T7" fmla="*/ 41 h 46"/>
                <a:gd name="T8" fmla="*/ 16 w 30"/>
                <a:gd name="T9" fmla="*/ 32 h 46"/>
                <a:gd name="T10" fmla="*/ 17 w 30"/>
                <a:gd name="T11" fmla="*/ 27 h 46"/>
                <a:gd name="T12" fmla="*/ 20 w 30"/>
                <a:gd name="T13" fmla="*/ 24 h 46"/>
                <a:gd name="T14" fmla="*/ 27 w 30"/>
                <a:gd name="T15" fmla="*/ 22 h 46"/>
                <a:gd name="T16" fmla="*/ 30 w 30"/>
                <a:gd name="T17" fmla="*/ 18 h 46"/>
                <a:gd name="T18" fmla="*/ 30 w 30"/>
                <a:gd name="T19" fmla="*/ 17 h 46"/>
                <a:gd name="T20" fmla="*/ 28 w 30"/>
                <a:gd name="T21" fmla="*/ 14 h 46"/>
                <a:gd name="T22" fmla="*/ 27 w 30"/>
                <a:gd name="T23" fmla="*/ 13 h 46"/>
                <a:gd name="T24" fmla="*/ 26 w 30"/>
                <a:gd name="T25" fmla="*/ 9 h 46"/>
                <a:gd name="T26" fmla="*/ 28 w 30"/>
                <a:gd name="T27" fmla="*/ 2 h 46"/>
                <a:gd name="T28" fmla="*/ 17 w 30"/>
                <a:gd name="T29" fmla="*/ 3 h 46"/>
                <a:gd name="T30" fmla="*/ 13 w 30"/>
                <a:gd name="T31" fmla="*/ 7 h 46"/>
                <a:gd name="T32" fmla="*/ 8 w 30"/>
                <a:gd name="T33" fmla="*/ 7 h 46"/>
                <a:gd name="T34" fmla="*/ 4 w 30"/>
                <a:gd name="T35" fmla="*/ 7 h 46"/>
                <a:gd name="T36" fmla="*/ 1 w 30"/>
                <a:gd name="T37" fmla="*/ 10 h 46"/>
                <a:gd name="T38" fmla="*/ 0 w 30"/>
                <a:gd name="T39" fmla="*/ 13 h 46"/>
                <a:gd name="T40" fmla="*/ 1 w 30"/>
                <a:gd name="T41" fmla="*/ 26 h 46"/>
                <a:gd name="T42" fmla="*/ 1 w 30"/>
                <a:gd name="T43" fmla="*/ 2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" h="46">
                  <a:moveTo>
                    <a:pt x="1" y="28"/>
                  </a:moveTo>
                  <a:cubicBezTo>
                    <a:pt x="8" y="46"/>
                    <a:pt x="8" y="46"/>
                    <a:pt x="8" y="46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5" y="38"/>
                    <a:pt x="15" y="35"/>
                    <a:pt x="16" y="32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8" y="22"/>
                    <a:pt x="30" y="20"/>
                    <a:pt x="30" y="18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6"/>
                    <a:pt x="29" y="15"/>
                    <a:pt x="28" y="14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6" y="12"/>
                    <a:pt x="25" y="10"/>
                    <a:pt x="26" y="9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0"/>
                    <a:pt x="20" y="0"/>
                    <a:pt x="17" y="3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9"/>
                    <a:pt x="9" y="9"/>
                    <a:pt x="8" y="7"/>
                  </a:cubicBezTo>
                  <a:cubicBezTo>
                    <a:pt x="7" y="6"/>
                    <a:pt x="5" y="6"/>
                    <a:pt x="4" y="7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1"/>
                    <a:pt x="0" y="12"/>
                    <a:pt x="0" y="13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7"/>
                    <a:pt x="1" y="27"/>
                    <a:pt x="1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15">
              <a:extLst>
                <a:ext uri="{FF2B5EF4-FFF2-40B4-BE49-F238E27FC236}">
                  <a16:creationId xmlns:a16="http://schemas.microsoft.com/office/drawing/2014/main" id="{8CD5EF19-EA6E-4491-A333-2B0130A04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3314701"/>
              <a:ext cx="317500" cy="303213"/>
            </a:xfrm>
            <a:custGeom>
              <a:avLst/>
              <a:gdLst>
                <a:gd name="T0" fmla="*/ 42 w 106"/>
                <a:gd name="T1" fmla="*/ 95 h 101"/>
                <a:gd name="T2" fmla="*/ 52 w 106"/>
                <a:gd name="T3" fmla="*/ 100 h 101"/>
                <a:gd name="T4" fmla="*/ 56 w 106"/>
                <a:gd name="T5" fmla="*/ 101 h 101"/>
                <a:gd name="T6" fmla="*/ 71 w 106"/>
                <a:gd name="T7" fmla="*/ 101 h 101"/>
                <a:gd name="T8" fmla="*/ 86 w 106"/>
                <a:gd name="T9" fmla="*/ 94 h 101"/>
                <a:gd name="T10" fmla="*/ 92 w 106"/>
                <a:gd name="T11" fmla="*/ 89 h 101"/>
                <a:gd name="T12" fmla="*/ 92 w 106"/>
                <a:gd name="T13" fmla="*/ 76 h 101"/>
                <a:gd name="T14" fmla="*/ 86 w 106"/>
                <a:gd name="T15" fmla="*/ 69 h 101"/>
                <a:gd name="T16" fmla="*/ 83 w 106"/>
                <a:gd name="T17" fmla="*/ 63 h 101"/>
                <a:gd name="T18" fmla="*/ 83 w 106"/>
                <a:gd name="T19" fmla="*/ 60 h 101"/>
                <a:gd name="T20" fmla="*/ 89 w 106"/>
                <a:gd name="T21" fmla="*/ 51 h 101"/>
                <a:gd name="T22" fmla="*/ 99 w 106"/>
                <a:gd name="T23" fmla="*/ 48 h 101"/>
                <a:gd name="T24" fmla="*/ 104 w 106"/>
                <a:gd name="T25" fmla="*/ 37 h 101"/>
                <a:gd name="T26" fmla="*/ 101 w 106"/>
                <a:gd name="T27" fmla="*/ 25 h 101"/>
                <a:gd name="T28" fmla="*/ 104 w 106"/>
                <a:gd name="T29" fmla="*/ 16 h 101"/>
                <a:gd name="T30" fmla="*/ 106 w 106"/>
                <a:gd name="T31" fmla="*/ 13 h 101"/>
                <a:gd name="T32" fmla="*/ 103 w 106"/>
                <a:gd name="T33" fmla="*/ 10 h 101"/>
                <a:gd name="T34" fmla="*/ 88 w 106"/>
                <a:gd name="T35" fmla="*/ 5 h 101"/>
                <a:gd name="T36" fmla="*/ 85 w 106"/>
                <a:gd name="T37" fmla="*/ 5 h 101"/>
                <a:gd name="T38" fmla="*/ 77 w 106"/>
                <a:gd name="T39" fmla="*/ 13 h 101"/>
                <a:gd name="T40" fmla="*/ 59 w 106"/>
                <a:gd name="T41" fmla="*/ 6 h 101"/>
                <a:gd name="T42" fmla="*/ 53 w 106"/>
                <a:gd name="T43" fmla="*/ 1 h 101"/>
                <a:gd name="T44" fmla="*/ 52 w 106"/>
                <a:gd name="T45" fmla="*/ 0 h 101"/>
                <a:gd name="T46" fmla="*/ 41 w 106"/>
                <a:gd name="T47" fmla="*/ 0 h 101"/>
                <a:gd name="T48" fmla="*/ 42 w 106"/>
                <a:gd name="T49" fmla="*/ 3 h 101"/>
                <a:gd name="T50" fmla="*/ 45 w 106"/>
                <a:gd name="T51" fmla="*/ 8 h 101"/>
                <a:gd name="T52" fmla="*/ 44 w 106"/>
                <a:gd name="T53" fmla="*/ 12 h 101"/>
                <a:gd name="T54" fmla="*/ 39 w 106"/>
                <a:gd name="T55" fmla="*/ 16 h 101"/>
                <a:gd name="T56" fmla="*/ 38 w 106"/>
                <a:gd name="T57" fmla="*/ 17 h 101"/>
                <a:gd name="T58" fmla="*/ 36 w 106"/>
                <a:gd name="T59" fmla="*/ 22 h 101"/>
                <a:gd name="T60" fmla="*/ 30 w 106"/>
                <a:gd name="T61" fmla="*/ 17 h 101"/>
                <a:gd name="T62" fmla="*/ 27 w 106"/>
                <a:gd name="T63" fmla="*/ 17 h 101"/>
                <a:gd name="T64" fmla="*/ 25 w 106"/>
                <a:gd name="T65" fmla="*/ 17 h 101"/>
                <a:gd name="T66" fmla="*/ 26 w 106"/>
                <a:gd name="T67" fmla="*/ 19 h 101"/>
                <a:gd name="T68" fmla="*/ 26 w 106"/>
                <a:gd name="T69" fmla="*/ 21 h 101"/>
                <a:gd name="T70" fmla="*/ 18 w 106"/>
                <a:gd name="T71" fmla="*/ 34 h 101"/>
                <a:gd name="T72" fmla="*/ 10 w 106"/>
                <a:gd name="T73" fmla="*/ 48 h 101"/>
                <a:gd name="T74" fmla="*/ 10 w 106"/>
                <a:gd name="T75" fmla="*/ 55 h 101"/>
                <a:gd name="T76" fmla="*/ 10 w 106"/>
                <a:gd name="T77" fmla="*/ 55 h 101"/>
                <a:gd name="T78" fmla="*/ 10 w 106"/>
                <a:gd name="T79" fmla="*/ 65 h 101"/>
                <a:gd name="T80" fmla="*/ 7 w 106"/>
                <a:gd name="T81" fmla="*/ 71 h 101"/>
                <a:gd name="T82" fmla="*/ 0 w 106"/>
                <a:gd name="T83" fmla="*/ 79 h 101"/>
                <a:gd name="T84" fmla="*/ 10 w 106"/>
                <a:gd name="T85" fmla="*/ 79 h 101"/>
                <a:gd name="T86" fmla="*/ 12 w 106"/>
                <a:gd name="T87" fmla="*/ 80 h 101"/>
                <a:gd name="T88" fmla="*/ 16 w 106"/>
                <a:gd name="T89" fmla="*/ 84 h 101"/>
                <a:gd name="T90" fmla="*/ 19 w 106"/>
                <a:gd name="T91" fmla="*/ 85 h 101"/>
                <a:gd name="T92" fmla="*/ 28 w 106"/>
                <a:gd name="T93" fmla="*/ 85 h 101"/>
                <a:gd name="T94" fmla="*/ 32 w 106"/>
                <a:gd name="T95" fmla="*/ 88 h 101"/>
                <a:gd name="T96" fmla="*/ 32 w 106"/>
                <a:gd name="T97" fmla="*/ 91 h 101"/>
                <a:gd name="T98" fmla="*/ 31 w 106"/>
                <a:gd name="T99" fmla="*/ 93 h 101"/>
                <a:gd name="T100" fmla="*/ 30 w 106"/>
                <a:gd name="T101" fmla="*/ 94 h 101"/>
                <a:gd name="T102" fmla="*/ 38 w 106"/>
                <a:gd name="T103" fmla="*/ 94 h 101"/>
                <a:gd name="T104" fmla="*/ 42 w 106"/>
                <a:gd name="T105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6" h="101">
                  <a:moveTo>
                    <a:pt x="42" y="95"/>
                  </a:moveTo>
                  <a:cubicBezTo>
                    <a:pt x="52" y="100"/>
                    <a:pt x="52" y="100"/>
                    <a:pt x="52" y="100"/>
                  </a:cubicBezTo>
                  <a:cubicBezTo>
                    <a:pt x="53" y="100"/>
                    <a:pt x="54" y="101"/>
                    <a:pt x="56" y="101"/>
                  </a:cubicBezTo>
                  <a:cubicBezTo>
                    <a:pt x="71" y="101"/>
                    <a:pt x="71" y="101"/>
                    <a:pt x="71" y="101"/>
                  </a:cubicBezTo>
                  <a:cubicBezTo>
                    <a:pt x="77" y="101"/>
                    <a:pt x="82" y="98"/>
                    <a:pt x="86" y="94"/>
                  </a:cubicBezTo>
                  <a:cubicBezTo>
                    <a:pt x="92" y="89"/>
                    <a:pt x="92" y="89"/>
                    <a:pt x="92" y="89"/>
                  </a:cubicBezTo>
                  <a:cubicBezTo>
                    <a:pt x="96" y="85"/>
                    <a:pt x="96" y="79"/>
                    <a:pt x="92" y="76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4" y="68"/>
                    <a:pt x="83" y="65"/>
                    <a:pt x="83" y="63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3" y="56"/>
                    <a:pt x="86" y="53"/>
                    <a:pt x="89" y="51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103" y="46"/>
                    <a:pt x="105" y="42"/>
                    <a:pt x="104" y="3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0" y="22"/>
                    <a:pt x="101" y="18"/>
                    <a:pt x="104" y="16"/>
                  </a:cubicBezTo>
                  <a:cubicBezTo>
                    <a:pt x="105" y="15"/>
                    <a:pt x="106" y="14"/>
                    <a:pt x="106" y="13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99" y="5"/>
                    <a:pt x="93" y="4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1" y="6"/>
                    <a:pt x="78" y="9"/>
                    <a:pt x="77" y="13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6" y="5"/>
                    <a:pt x="54" y="3"/>
                    <a:pt x="53" y="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9"/>
                    <a:pt x="45" y="11"/>
                    <a:pt x="44" y="12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7"/>
                    <a:pt x="38" y="17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29" y="17"/>
                    <a:pt x="28" y="16"/>
                    <a:pt x="27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8"/>
                    <a:pt x="26" y="19"/>
                    <a:pt x="26" y="19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6"/>
                    <a:pt x="23" y="31"/>
                    <a:pt x="18" y="34"/>
                  </a:cubicBezTo>
                  <a:cubicBezTo>
                    <a:pt x="13" y="37"/>
                    <a:pt x="10" y="42"/>
                    <a:pt x="10" y="48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1" y="59"/>
                    <a:pt x="11" y="62"/>
                    <a:pt x="10" y="65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6" y="74"/>
                    <a:pt x="3" y="77"/>
                    <a:pt x="0" y="79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1" y="79"/>
                    <a:pt x="11" y="79"/>
                    <a:pt x="12" y="80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7" y="85"/>
                    <a:pt x="18" y="85"/>
                    <a:pt x="19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0" y="85"/>
                    <a:pt x="32" y="86"/>
                    <a:pt x="32" y="88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32" y="92"/>
                    <a:pt x="31" y="92"/>
                    <a:pt x="31" y="93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9" y="94"/>
                    <a:pt x="41" y="94"/>
                    <a:pt x="42" y="9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6">
              <a:extLst>
                <a:ext uri="{FF2B5EF4-FFF2-40B4-BE49-F238E27FC236}">
                  <a16:creationId xmlns:a16="http://schemas.microsoft.com/office/drawing/2014/main" id="{95E8DFBC-676F-4FFF-B1CE-599D1D772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5" y="3541713"/>
              <a:ext cx="220663" cy="150813"/>
            </a:xfrm>
            <a:custGeom>
              <a:avLst/>
              <a:gdLst>
                <a:gd name="T0" fmla="*/ 68 w 74"/>
                <a:gd name="T1" fmla="*/ 29 h 50"/>
                <a:gd name="T2" fmla="*/ 73 w 74"/>
                <a:gd name="T3" fmla="*/ 21 h 50"/>
                <a:gd name="T4" fmla="*/ 73 w 74"/>
                <a:gd name="T5" fmla="*/ 15 h 50"/>
                <a:gd name="T6" fmla="*/ 71 w 74"/>
                <a:gd name="T7" fmla="*/ 7 h 50"/>
                <a:gd name="T8" fmla="*/ 65 w 74"/>
                <a:gd name="T9" fmla="*/ 2 h 50"/>
                <a:gd name="T10" fmla="*/ 61 w 74"/>
                <a:gd name="T11" fmla="*/ 1 h 50"/>
                <a:gd name="T12" fmla="*/ 53 w 74"/>
                <a:gd name="T13" fmla="*/ 4 h 50"/>
                <a:gd name="T14" fmla="*/ 46 w 74"/>
                <a:gd name="T15" fmla="*/ 7 h 50"/>
                <a:gd name="T16" fmla="*/ 40 w 74"/>
                <a:gd name="T17" fmla="*/ 7 h 50"/>
                <a:gd name="T18" fmla="*/ 37 w 74"/>
                <a:gd name="T19" fmla="*/ 13 h 50"/>
                <a:gd name="T20" fmla="*/ 31 w 74"/>
                <a:gd name="T21" fmla="*/ 18 h 50"/>
                <a:gd name="T22" fmla="*/ 16 w 74"/>
                <a:gd name="T23" fmla="*/ 25 h 50"/>
                <a:gd name="T24" fmla="*/ 1 w 74"/>
                <a:gd name="T25" fmla="*/ 25 h 50"/>
                <a:gd name="T26" fmla="*/ 1 w 74"/>
                <a:gd name="T27" fmla="*/ 26 h 50"/>
                <a:gd name="T28" fmla="*/ 5 w 74"/>
                <a:gd name="T29" fmla="*/ 31 h 50"/>
                <a:gd name="T30" fmla="*/ 7 w 74"/>
                <a:gd name="T31" fmla="*/ 31 h 50"/>
                <a:gd name="T32" fmla="*/ 10 w 74"/>
                <a:gd name="T33" fmla="*/ 35 h 50"/>
                <a:gd name="T34" fmla="*/ 8 w 74"/>
                <a:gd name="T35" fmla="*/ 39 h 50"/>
                <a:gd name="T36" fmla="*/ 3 w 74"/>
                <a:gd name="T37" fmla="*/ 42 h 50"/>
                <a:gd name="T38" fmla="*/ 0 w 74"/>
                <a:gd name="T39" fmla="*/ 47 h 50"/>
                <a:gd name="T40" fmla="*/ 0 w 74"/>
                <a:gd name="T41" fmla="*/ 50 h 50"/>
                <a:gd name="T42" fmla="*/ 2 w 74"/>
                <a:gd name="T43" fmla="*/ 48 h 50"/>
                <a:gd name="T44" fmla="*/ 8 w 74"/>
                <a:gd name="T45" fmla="*/ 46 h 50"/>
                <a:gd name="T46" fmla="*/ 14 w 74"/>
                <a:gd name="T47" fmla="*/ 46 h 50"/>
                <a:gd name="T48" fmla="*/ 15 w 74"/>
                <a:gd name="T49" fmla="*/ 42 h 50"/>
                <a:gd name="T50" fmla="*/ 23 w 74"/>
                <a:gd name="T51" fmla="*/ 42 h 50"/>
                <a:gd name="T52" fmla="*/ 28 w 74"/>
                <a:gd name="T53" fmla="*/ 45 h 50"/>
                <a:gd name="T54" fmla="*/ 30 w 74"/>
                <a:gd name="T55" fmla="*/ 48 h 50"/>
                <a:gd name="T56" fmla="*/ 34 w 74"/>
                <a:gd name="T57" fmla="*/ 49 h 50"/>
                <a:gd name="T58" fmla="*/ 35 w 74"/>
                <a:gd name="T59" fmla="*/ 49 h 50"/>
                <a:gd name="T60" fmla="*/ 62 w 74"/>
                <a:gd name="T61" fmla="*/ 36 h 50"/>
                <a:gd name="T62" fmla="*/ 68 w 74"/>
                <a:gd name="T63" fmla="*/ 29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4" h="50">
                  <a:moveTo>
                    <a:pt x="68" y="29"/>
                  </a:moveTo>
                  <a:cubicBezTo>
                    <a:pt x="73" y="21"/>
                    <a:pt x="73" y="21"/>
                    <a:pt x="73" y="21"/>
                  </a:cubicBezTo>
                  <a:cubicBezTo>
                    <a:pt x="74" y="19"/>
                    <a:pt x="74" y="17"/>
                    <a:pt x="73" y="15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0" y="5"/>
                    <a:pt x="68" y="2"/>
                    <a:pt x="65" y="2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58" y="0"/>
                    <a:pt x="55" y="1"/>
                    <a:pt x="53" y="4"/>
                  </a:cubicBezTo>
                  <a:cubicBezTo>
                    <a:pt x="51" y="6"/>
                    <a:pt x="49" y="7"/>
                    <a:pt x="46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9"/>
                    <a:pt x="39" y="11"/>
                    <a:pt x="37" y="13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27" y="22"/>
                    <a:pt x="22" y="25"/>
                    <a:pt x="16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9"/>
                    <a:pt x="3" y="31"/>
                    <a:pt x="5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9" y="31"/>
                    <a:pt x="10" y="33"/>
                    <a:pt x="10" y="35"/>
                  </a:cubicBezTo>
                  <a:cubicBezTo>
                    <a:pt x="10" y="36"/>
                    <a:pt x="10" y="38"/>
                    <a:pt x="8" y="39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1" y="43"/>
                    <a:pt x="0" y="45"/>
                    <a:pt x="0" y="4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3" y="47"/>
                    <a:pt x="6" y="46"/>
                    <a:pt x="8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3"/>
                    <a:pt x="15" y="42"/>
                  </a:cubicBezTo>
                  <a:cubicBezTo>
                    <a:pt x="16" y="40"/>
                    <a:pt x="23" y="42"/>
                    <a:pt x="23" y="42"/>
                  </a:cubicBezTo>
                  <a:cubicBezTo>
                    <a:pt x="25" y="42"/>
                    <a:pt x="27" y="43"/>
                    <a:pt x="28" y="45"/>
                  </a:cubicBezTo>
                  <a:cubicBezTo>
                    <a:pt x="28" y="46"/>
                    <a:pt x="29" y="47"/>
                    <a:pt x="30" y="48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5" y="49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5" y="34"/>
                    <a:pt x="67" y="32"/>
                    <a:pt x="68" y="2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17">
              <a:extLst>
                <a:ext uri="{FF2B5EF4-FFF2-40B4-BE49-F238E27FC236}">
                  <a16:creationId xmlns:a16="http://schemas.microsoft.com/office/drawing/2014/main" id="{A67568F5-4787-4BC6-B323-F47322628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3443288"/>
              <a:ext cx="193675" cy="120650"/>
            </a:xfrm>
            <a:custGeom>
              <a:avLst/>
              <a:gdLst>
                <a:gd name="T0" fmla="*/ 52 w 65"/>
                <a:gd name="T1" fmla="*/ 34 h 40"/>
                <a:gd name="T2" fmla="*/ 55 w 65"/>
                <a:gd name="T3" fmla="*/ 33 h 40"/>
                <a:gd name="T4" fmla="*/ 62 w 65"/>
                <a:gd name="T5" fmla="*/ 26 h 40"/>
                <a:gd name="T6" fmla="*/ 61 w 65"/>
                <a:gd name="T7" fmla="*/ 18 h 40"/>
                <a:gd name="T8" fmla="*/ 21 w 65"/>
                <a:gd name="T9" fmla="*/ 0 h 40"/>
                <a:gd name="T10" fmla="*/ 16 w 65"/>
                <a:gd name="T11" fmla="*/ 5 h 40"/>
                <a:gd name="T12" fmla="*/ 6 w 65"/>
                <a:gd name="T13" fmla="*/ 8 h 40"/>
                <a:gd name="T14" fmla="*/ 0 w 65"/>
                <a:gd name="T15" fmla="*/ 17 h 40"/>
                <a:gd name="T16" fmla="*/ 0 w 65"/>
                <a:gd name="T17" fmla="*/ 20 h 40"/>
                <a:gd name="T18" fmla="*/ 3 w 65"/>
                <a:gd name="T19" fmla="*/ 26 h 40"/>
                <a:gd name="T20" fmla="*/ 9 w 65"/>
                <a:gd name="T21" fmla="*/ 33 h 40"/>
                <a:gd name="T22" fmla="*/ 12 w 65"/>
                <a:gd name="T23" fmla="*/ 40 h 40"/>
                <a:gd name="T24" fmla="*/ 18 w 65"/>
                <a:gd name="T25" fmla="*/ 40 h 40"/>
                <a:gd name="T26" fmla="*/ 25 w 65"/>
                <a:gd name="T27" fmla="*/ 37 h 40"/>
                <a:gd name="T28" fmla="*/ 33 w 65"/>
                <a:gd name="T29" fmla="*/ 34 h 40"/>
                <a:gd name="T30" fmla="*/ 37 w 65"/>
                <a:gd name="T31" fmla="*/ 35 h 40"/>
                <a:gd name="T32" fmla="*/ 38 w 65"/>
                <a:gd name="T33" fmla="*/ 34 h 40"/>
                <a:gd name="T34" fmla="*/ 52 w 65"/>
                <a:gd name="T35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" h="40">
                  <a:moveTo>
                    <a:pt x="52" y="34"/>
                  </a:moveTo>
                  <a:cubicBezTo>
                    <a:pt x="53" y="34"/>
                    <a:pt x="54" y="34"/>
                    <a:pt x="55" y="33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5" y="24"/>
                    <a:pt x="64" y="20"/>
                    <a:pt x="61" y="18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2"/>
                    <a:pt x="18" y="4"/>
                    <a:pt x="16" y="5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3" y="10"/>
                    <a:pt x="0" y="13"/>
                    <a:pt x="0" y="1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1" y="25"/>
                    <a:pt x="3" y="26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1" y="35"/>
                    <a:pt x="12" y="37"/>
                    <a:pt x="12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21" y="40"/>
                    <a:pt x="23" y="39"/>
                    <a:pt x="25" y="37"/>
                  </a:cubicBezTo>
                  <a:cubicBezTo>
                    <a:pt x="27" y="34"/>
                    <a:pt x="30" y="33"/>
                    <a:pt x="33" y="34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4"/>
                    <a:pt x="38" y="34"/>
                    <a:pt x="38" y="34"/>
                  </a:cubicBezTo>
                  <a:lnTo>
                    <a:pt x="52" y="3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8">
              <a:extLst>
                <a:ext uri="{FF2B5EF4-FFF2-40B4-BE49-F238E27FC236}">
                  <a16:creationId xmlns:a16="http://schemas.microsoft.com/office/drawing/2014/main" id="{E5BADCD3-F9FE-4EE2-9F74-60732A5C0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700" y="3638551"/>
              <a:ext cx="125413" cy="85725"/>
            </a:xfrm>
            <a:custGeom>
              <a:avLst/>
              <a:gdLst>
                <a:gd name="T0" fmla="*/ 23 w 42"/>
                <a:gd name="T1" fmla="*/ 22 h 29"/>
                <a:gd name="T2" fmla="*/ 29 w 42"/>
                <a:gd name="T3" fmla="*/ 11 h 29"/>
                <a:gd name="T4" fmla="*/ 36 w 42"/>
                <a:gd name="T5" fmla="*/ 14 h 29"/>
                <a:gd name="T6" fmla="*/ 39 w 42"/>
                <a:gd name="T7" fmla="*/ 13 h 29"/>
                <a:gd name="T8" fmla="*/ 42 w 42"/>
                <a:gd name="T9" fmla="*/ 11 h 29"/>
                <a:gd name="T10" fmla="*/ 39 w 42"/>
                <a:gd name="T11" fmla="*/ 8 h 29"/>
                <a:gd name="T12" fmla="*/ 32 w 42"/>
                <a:gd name="T13" fmla="*/ 0 h 29"/>
                <a:gd name="T14" fmla="*/ 27 w 42"/>
                <a:gd name="T15" fmla="*/ 4 h 29"/>
                <a:gd name="T16" fmla="*/ 0 w 42"/>
                <a:gd name="T17" fmla="*/ 17 h 29"/>
                <a:gd name="T18" fmla="*/ 5 w 42"/>
                <a:gd name="T19" fmla="*/ 28 h 29"/>
                <a:gd name="T20" fmla="*/ 5 w 42"/>
                <a:gd name="T21" fmla="*/ 29 h 29"/>
                <a:gd name="T22" fmla="*/ 21 w 42"/>
                <a:gd name="T23" fmla="*/ 23 h 29"/>
                <a:gd name="T24" fmla="*/ 23 w 42"/>
                <a:gd name="T25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29">
                  <a:moveTo>
                    <a:pt x="23" y="22"/>
                  </a:moveTo>
                  <a:cubicBezTo>
                    <a:pt x="25" y="19"/>
                    <a:pt x="29" y="12"/>
                    <a:pt x="29" y="11"/>
                  </a:cubicBezTo>
                  <a:cubicBezTo>
                    <a:pt x="29" y="11"/>
                    <a:pt x="33" y="12"/>
                    <a:pt x="36" y="14"/>
                  </a:cubicBezTo>
                  <a:cubicBezTo>
                    <a:pt x="37" y="14"/>
                    <a:pt x="38" y="14"/>
                    <a:pt x="39" y="13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1" y="10"/>
                    <a:pt x="40" y="9"/>
                    <a:pt x="39" y="8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0" y="1"/>
                    <a:pt x="29" y="3"/>
                    <a:pt x="27" y="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4" y="19"/>
                    <a:pt x="7" y="23"/>
                    <a:pt x="5" y="2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2" y="23"/>
                    <a:pt x="23" y="22"/>
                    <a:pt x="23" y="2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19">
              <a:extLst>
                <a:ext uri="{FF2B5EF4-FFF2-40B4-BE49-F238E27FC236}">
                  <a16:creationId xmlns:a16="http://schemas.microsoft.com/office/drawing/2014/main" id="{EC181247-8460-4565-B16B-EA8F4D5F7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738" y="3808413"/>
              <a:ext cx="44450" cy="68263"/>
            </a:xfrm>
            <a:custGeom>
              <a:avLst/>
              <a:gdLst>
                <a:gd name="T0" fmla="*/ 15 w 15"/>
                <a:gd name="T1" fmla="*/ 12 h 23"/>
                <a:gd name="T2" fmla="*/ 11 w 15"/>
                <a:gd name="T3" fmla="*/ 3 h 23"/>
                <a:gd name="T4" fmla="*/ 10 w 15"/>
                <a:gd name="T5" fmla="*/ 2 h 23"/>
                <a:gd name="T6" fmla="*/ 8 w 15"/>
                <a:gd name="T7" fmla="*/ 0 h 23"/>
                <a:gd name="T8" fmla="*/ 2 w 15"/>
                <a:gd name="T9" fmla="*/ 11 h 23"/>
                <a:gd name="T10" fmla="*/ 2 w 15"/>
                <a:gd name="T11" fmla="*/ 12 h 23"/>
                <a:gd name="T12" fmla="*/ 0 w 15"/>
                <a:gd name="T13" fmla="*/ 21 h 23"/>
                <a:gd name="T14" fmla="*/ 1 w 15"/>
                <a:gd name="T15" fmla="*/ 21 h 23"/>
                <a:gd name="T16" fmla="*/ 8 w 15"/>
                <a:gd name="T17" fmla="*/ 23 h 23"/>
                <a:gd name="T18" fmla="*/ 11 w 15"/>
                <a:gd name="T19" fmla="*/ 20 h 23"/>
                <a:gd name="T20" fmla="*/ 15 w 15"/>
                <a:gd name="T21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23">
                  <a:moveTo>
                    <a:pt x="15" y="12"/>
                  </a:moveTo>
                  <a:cubicBezTo>
                    <a:pt x="15" y="8"/>
                    <a:pt x="13" y="5"/>
                    <a:pt x="11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9" y="1"/>
                    <a:pt x="8" y="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0"/>
                    <a:pt x="6" y="21"/>
                    <a:pt x="8" y="23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3" y="18"/>
                    <a:pt x="15" y="15"/>
                    <a:pt x="15" y="1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20">
              <a:extLst>
                <a:ext uri="{FF2B5EF4-FFF2-40B4-BE49-F238E27FC236}">
                  <a16:creationId xmlns:a16="http://schemas.microsoft.com/office/drawing/2014/main" id="{1C757326-1B5A-4D98-823B-C4FCE95C5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9550" y="3852863"/>
              <a:ext cx="69850" cy="120650"/>
            </a:xfrm>
            <a:custGeom>
              <a:avLst/>
              <a:gdLst>
                <a:gd name="T0" fmla="*/ 17 w 23"/>
                <a:gd name="T1" fmla="*/ 13 h 40"/>
                <a:gd name="T2" fmla="*/ 17 w 23"/>
                <a:gd name="T3" fmla="*/ 11 h 40"/>
                <a:gd name="T4" fmla="*/ 12 w 23"/>
                <a:gd name="T5" fmla="*/ 3 h 40"/>
                <a:gd name="T6" fmla="*/ 6 w 23"/>
                <a:gd name="T7" fmla="*/ 0 h 40"/>
                <a:gd name="T8" fmla="*/ 3 w 23"/>
                <a:gd name="T9" fmla="*/ 5 h 40"/>
                <a:gd name="T10" fmla="*/ 0 w 23"/>
                <a:gd name="T11" fmla="*/ 8 h 40"/>
                <a:gd name="T12" fmla="*/ 1 w 23"/>
                <a:gd name="T13" fmla="*/ 9 h 40"/>
                <a:gd name="T14" fmla="*/ 9 w 23"/>
                <a:gd name="T15" fmla="*/ 20 h 40"/>
                <a:gd name="T16" fmla="*/ 10 w 23"/>
                <a:gd name="T17" fmla="*/ 24 h 40"/>
                <a:gd name="T18" fmla="*/ 10 w 23"/>
                <a:gd name="T19" fmla="*/ 29 h 40"/>
                <a:gd name="T20" fmla="*/ 13 w 23"/>
                <a:gd name="T21" fmla="*/ 38 h 40"/>
                <a:gd name="T22" fmla="*/ 14 w 23"/>
                <a:gd name="T23" fmla="*/ 40 h 40"/>
                <a:gd name="T24" fmla="*/ 18 w 23"/>
                <a:gd name="T25" fmla="*/ 28 h 40"/>
                <a:gd name="T26" fmla="*/ 23 w 23"/>
                <a:gd name="T27" fmla="*/ 24 h 40"/>
                <a:gd name="T28" fmla="*/ 19 w 23"/>
                <a:gd name="T29" fmla="*/ 20 h 40"/>
                <a:gd name="T30" fmla="*/ 17 w 23"/>
                <a:gd name="T31" fmla="*/ 1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" h="40">
                  <a:moveTo>
                    <a:pt x="17" y="13"/>
                  </a:moveTo>
                  <a:cubicBezTo>
                    <a:pt x="17" y="11"/>
                    <a:pt x="17" y="11"/>
                    <a:pt x="17" y="11"/>
                  </a:cubicBezTo>
                  <a:cubicBezTo>
                    <a:pt x="17" y="7"/>
                    <a:pt x="15" y="4"/>
                    <a:pt x="12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4"/>
                    <a:pt x="3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1" y="9"/>
                    <a:pt x="1" y="9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1"/>
                    <a:pt x="10" y="22"/>
                    <a:pt x="10" y="24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32"/>
                    <a:pt x="11" y="35"/>
                    <a:pt x="13" y="38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6"/>
                    <a:pt x="21" y="24"/>
                    <a:pt x="23" y="24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7" y="18"/>
                    <a:pt x="17" y="16"/>
                    <a:pt x="17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21">
              <a:extLst>
                <a:ext uri="{FF2B5EF4-FFF2-40B4-BE49-F238E27FC236}">
                  <a16:creationId xmlns:a16="http://schemas.microsoft.com/office/drawing/2014/main" id="{8984D8D2-0A3C-49EF-AB26-A41E09C57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1613" y="3673476"/>
              <a:ext cx="146050" cy="203200"/>
            </a:xfrm>
            <a:custGeom>
              <a:avLst/>
              <a:gdLst>
                <a:gd name="T0" fmla="*/ 31 w 49"/>
                <a:gd name="T1" fmla="*/ 60 h 68"/>
                <a:gd name="T2" fmla="*/ 32 w 49"/>
                <a:gd name="T3" fmla="*/ 60 h 68"/>
                <a:gd name="T4" fmla="*/ 43 w 49"/>
                <a:gd name="T5" fmla="*/ 61 h 68"/>
                <a:gd name="T6" fmla="*/ 42 w 49"/>
                <a:gd name="T7" fmla="*/ 57 h 68"/>
                <a:gd name="T8" fmla="*/ 47 w 49"/>
                <a:gd name="T9" fmla="*/ 53 h 68"/>
                <a:gd name="T10" fmla="*/ 49 w 49"/>
                <a:gd name="T11" fmla="*/ 53 h 68"/>
                <a:gd name="T12" fmla="*/ 49 w 49"/>
                <a:gd name="T13" fmla="*/ 49 h 68"/>
                <a:gd name="T14" fmla="*/ 47 w 49"/>
                <a:gd name="T15" fmla="*/ 46 h 68"/>
                <a:gd name="T16" fmla="*/ 45 w 49"/>
                <a:gd name="T17" fmla="*/ 43 h 68"/>
                <a:gd name="T18" fmla="*/ 43 w 49"/>
                <a:gd name="T19" fmla="*/ 40 h 68"/>
                <a:gd name="T20" fmla="*/ 43 w 49"/>
                <a:gd name="T21" fmla="*/ 30 h 68"/>
                <a:gd name="T22" fmla="*/ 44 w 49"/>
                <a:gd name="T23" fmla="*/ 29 h 68"/>
                <a:gd name="T24" fmla="*/ 39 w 49"/>
                <a:gd name="T25" fmla="*/ 22 h 68"/>
                <a:gd name="T26" fmla="*/ 35 w 49"/>
                <a:gd name="T27" fmla="*/ 22 h 68"/>
                <a:gd name="T28" fmla="*/ 35 w 49"/>
                <a:gd name="T29" fmla="*/ 26 h 68"/>
                <a:gd name="T30" fmla="*/ 33 w 49"/>
                <a:gd name="T31" fmla="*/ 26 h 68"/>
                <a:gd name="T32" fmla="*/ 28 w 49"/>
                <a:gd name="T33" fmla="*/ 24 h 68"/>
                <a:gd name="T34" fmla="*/ 21 w 49"/>
                <a:gd name="T35" fmla="*/ 14 h 68"/>
                <a:gd name="T36" fmla="*/ 20 w 49"/>
                <a:gd name="T37" fmla="*/ 11 h 68"/>
                <a:gd name="T38" fmla="*/ 19 w 49"/>
                <a:gd name="T39" fmla="*/ 1 h 68"/>
                <a:gd name="T40" fmla="*/ 15 w 49"/>
                <a:gd name="T41" fmla="*/ 1 h 68"/>
                <a:gd name="T42" fmla="*/ 8 w 49"/>
                <a:gd name="T43" fmla="*/ 1 h 68"/>
                <a:gd name="T44" fmla="*/ 1 w 49"/>
                <a:gd name="T45" fmla="*/ 5 h 68"/>
                <a:gd name="T46" fmla="*/ 0 w 49"/>
                <a:gd name="T47" fmla="*/ 5 h 68"/>
                <a:gd name="T48" fmla="*/ 1 w 49"/>
                <a:gd name="T49" fmla="*/ 8 h 68"/>
                <a:gd name="T50" fmla="*/ 4 w 49"/>
                <a:gd name="T51" fmla="*/ 11 h 68"/>
                <a:gd name="T52" fmla="*/ 7 w 49"/>
                <a:gd name="T53" fmla="*/ 13 h 68"/>
                <a:gd name="T54" fmla="*/ 7 w 49"/>
                <a:gd name="T55" fmla="*/ 16 h 68"/>
                <a:gd name="T56" fmla="*/ 7 w 49"/>
                <a:gd name="T57" fmla="*/ 18 h 68"/>
                <a:gd name="T58" fmla="*/ 3 w 49"/>
                <a:gd name="T59" fmla="*/ 23 h 68"/>
                <a:gd name="T60" fmla="*/ 3 w 49"/>
                <a:gd name="T61" fmla="*/ 27 h 68"/>
                <a:gd name="T62" fmla="*/ 7 w 49"/>
                <a:gd name="T63" fmla="*/ 36 h 68"/>
                <a:gd name="T64" fmla="*/ 7 w 49"/>
                <a:gd name="T65" fmla="*/ 38 h 68"/>
                <a:gd name="T66" fmla="*/ 3 w 49"/>
                <a:gd name="T67" fmla="*/ 45 h 68"/>
                <a:gd name="T68" fmla="*/ 5 w 49"/>
                <a:gd name="T69" fmla="*/ 47 h 68"/>
                <a:gd name="T70" fmla="*/ 6 w 49"/>
                <a:gd name="T71" fmla="*/ 48 h 68"/>
                <a:gd name="T72" fmla="*/ 10 w 49"/>
                <a:gd name="T73" fmla="*/ 57 h 68"/>
                <a:gd name="T74" fmla="*/ 9 w 49"/>
                <a:gd name="T75" fmla="*/ 60 h 68"/>
                <a:gd name="T76" fmla="*/ 15 w 49"/>
                <a:gd name="T77" fmla="*/ 63 h 68"/>
                <a:gd name="T78" fmla="*/ 20 w 49"/>
                <a:gd name="T79" fmla="*/ 68 h 68"/>
                <a:gd name="T80" fmla="*/ 22 w 49"/>
                <a:gd name="T81" fmla="*/ 65 h 68"/>
                <a:gd name="T82" fmla="*/ 31 w 49"/>
                <a:gd name="T83" fmla="*/ 6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68">
                  <a:moveTo>
                    <a:pt x="31" y="60"/>
                  </a:moveTo>
                  <a:cubicBezTo>
                    <a:pt x="32" y="60"/>
                    <a:pt x="32" y="60"/>
                    <a:pt x="32" y="60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60"/>
                    <a:pt x="42" y="59"/>
                    <a:pt x="42" y="57"/>
                  </a:cubicBezTo>
                  <a:cubicBezTo>
                    <a:pt x="42" y="55"/>
                    <a:pt x="44" y="53"/>
                    <a:pt x="47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49" y="48"/>
                    <a:pt x="48" y="46"/>
                    <a:pt x="47" y="46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4" y="42"/>
                    <a:pt x="43" y="41"/>
                    <a:pt x="43" y="4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29"/>
                    <a:pt x="44" y="29"/>
                    <a:pt x="44" y="29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1" y="26"/>
                    <a:pt x="29" y="25"/>
                    <a:pt x="28" y="2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0" y="13"/>
                    <a:pt x="20" y="12"/>
                    <a:pt x="20" y="1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7" y="1"/>
                    <a:pt x="16" y="1"/>
                    <a:pt x="15" y="1"/>
                  </a:cubicBezTo>
                  <a:cubicBezTo>
                    <a:pt x="13" y="0"/>
                    <a:pt x="10" y="0"/>
                    <a:pt x="8" y="1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10"/>
                    <a:pt x="2" y="11"/>
                    <a:pt x="4" y="11"/>
                  </a:cubicBezTo>
                  <a:cubicBezTo>
                    <a:pt x="5" y="11"/>
                    <a:pt x="7" y="12"/>
                    <a:pt x="7" y="13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8" y="16"/>
                    <a:pt x="7" y="17"/>
                    <a:pt x="7" y="18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2" y="24"/>
                    <a:pt x="2" y="26"/>
                    <a:pt x="3" y="27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7"/>
                    <a:pt x="7" y="38"/>
                    <a:pt x="7" y="38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4" y="46"/>
                    <a:pt x="5" y="46"/>
                    <a:pt x="5" y="47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8" y="50"/>
                    <a:pt x="10" y="53"/>
                    <a:pt x="10" y="57"/>
                  </a:cubicBezTo>
                  <a:cubicBezTo>
                    <a:pt x="10" y="58"/>
                    <a:pt x="9" y="59"/>
                    <a:pt x="9" y="60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7" y="64"/>
                    <a:pt x="19" y="66"/>
                    <a:pt x="20" y="68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4" y="62"/>
                    <a:pt x="28" y="60"/>
                    <a:pt x="31" y="6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22">
              <a:extLst>
                <a:ext uri="{FF2B5EF4-FFF2-40B4-BE49-F238E27FC236}">
                  <a16:creationId xmlns:a16="http://schemas.microsoft.com/office/drawing/2014/main" id="{76DB754E-8FD4-4C3F-96AE-543EAB8D2E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0350" y="3852863"/>
              <a:ext cx="90488" cy="71438"/>
            </a:xfrm>
            <a:custGeom>
              <a:avLst/>
              <a:gdLst>
                <a:gd name="T0" fmla="*/ 28 w 30"/>
                <a:gd name="T1" fmla="*/ 8 h 24"/>
                <a:gd name="T2" fmla="*/ 27 w 30"/>
                <a:gd name="T3" fmla="*/ 4 h 24"/>
                <a:gd name="T4" fmla="*/ 23 w 30"/>
                <a:gd name="T5" fmla="*/ 1 h 24"/>
                <a:gd name="T6" fmla="*/ 23 w 30"/>
                <a:gd name="T7" fmla="*/ 1 h 24"/>
                <a:gd name="T8" fmla="*/ 12 w 30"/>
                <a:gd name="T9" fmla="*/ 0 h 24"/>
                <a:gd name="T10" fmla="*/ 11 w 30"/>
                <a:gd name="T11" fmla="*/ 0 h 24"/>
                <a:gd name="T12" fmla="*/ 2 w 30"/>
                <a:gd name="T13" fmla="*/ 5 h 24"/>
                <a:gd name="T14" fmla="*/ 0 w 30"/>
                <a:gd name="T15" fmla="*/ 8 h 24"/>
                <a:gd name="T16" fmla="*/ 0 w 30"/>
                <a:gd name="T17" fmla="*/ 11 h 24"/>
                <a:gd name="T18" fmla="*/ 0 w 30"/>
                <a:gd name="T19" fmla="*/ 13 h 24"/>
                <a:gd name="T20" fmla="*/ 2 w 30"/>
                <a:gd name="T21" fmla="*/ 20 h 24"/>
                <a:gd name="T22" fmla="*/ 6 w 30"/>
                <a:gd name="T23" fmla="*/ 24 h 24"/>
                <a:gd name="T24" fmla="*/ 8 w 30"/>
                <a:gd name="T25" fmla="*/ 23 h 24"/>
                <a:gd name="T26" fmla="*/ 9 w 30"/>
                <a:gd name="T27" fmla="*/ 23 h 24"/>
                <a:gd name="T28" fmla="*/ 14 w 30"/>
                <a:gd name="T29" fmla="*/ 21 h 24"/>
                <a:gd name="T30" fmla="*/ 14 w 30"/>
                <a:gd name="T31" fmla="*/ 21 h 24"/>
                <a:gd name="T32" fmla="*/ 20 w 30"/>
                <a:gd name="T33" fmla="*/ 19 h 24"/>
                <a:gd name="T34" fmla="*/ 26 w 30"/>
                <a:gd name="T35" fmla="*/ 17 h 24"/>
                <a:gd name="T36" fmla="*/ 30 w 30"/>
                <a:gd name="T37" fmla="*/ 12 h 24"/>
                <a:gd name="T38" fmla="*/ 28 w 30"/>
                <a:gd name="T39" fmla="*/ 9 h 24"/>
                <a:gd name="T40" fmla="*/ 28 w 30"/>
                <a:gd name="T41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24">
                  <a:moveTo>
                    <a:pt x="28" y="8"/>
                  </a:moveTo>
                  <a:cubicBezTo>
                    <a:pt x="28" y="7"/>
                    <a:pt x="28" y="5"/>
                    <a:pt x="27" y="4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4" y="2"/>
                    <a:pt x="2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10"/>
                    <a:pt x="0" y="1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6"/>
                    <a:pt x="0" y="18"/>
                    <a:pt x="2" y="20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1" y="23"/>
                    <a:pt x="13" y="23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6" y="20"/>
                    <a:pt x="18" y="19"/>
                    <a:pt x="20" y="19"/>
                  </a:cubicBezTo>
                  <a:cubicBezTo>
                    <a:pt x="22" y="19"/>
                    <a:pt x="24" y="18"/>
                    <a:pt x="26" y="17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9" y="11"/>
                    <a:pt x="28" y="10"/>
                    <a:pt x="28" y="9"/>
                  </a:cubicBezTo>
                  <a:lnTo>
                    <a:pt x="28" y="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23">
              <a:extLst>
                <a:ext uri="{FF2B5EF4-FFF2-40B4-BE49-F238E27FC236}">
                  <a16:creationId xmlns:a16="http://schemas.microsoft.com/office/drawing/2014/main" id="{9E991298-29CE-4330-913A-08042A38CE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2413" y="3865563"/>
              <a:ext cx="314325" cy="250825"/>
            </a:xfrm>
            <a:custGeom>
              <a:avLst/>
              <a:gdLst>
                <a:gd name="T0" fmla="*/ 99 w 105"/>
                <a:gd name="T1" fmla="*/ 6 h 84"/>
                <a:gd name="T2" fmla="*/ 93 w 105"/>
                <a:gd name="T3" fmla="*/ 0 h 84"/>
                <a:gd name="T4" fmla="*/ 75 w 105"/>
                <a:gd name="T5" fmla="*/ 1 h 84"/>
                <a:gd name="T6" fmla="*/ 67 w 105"/>
                <a:gd name="T7" fmla="*/ 8 h 84"/>
                <a:gd name="T8" fmla="*/ 55 w 105"/>
                <a:gd name="T9" fmla="*/ 7 h 84"/>
                <a:gd name="T10" fmla="*/ 50 w 105"/>
                <a:gd name="T11" fmla="*/ 4 h 84"/>
                <a:gd name="T12" fmla="*/ 42 w 105"/>
                <a:gd name="T13" fmla="*/ 10 h 84"/>
                <a:gd name="T14" fmla="*/ 33 w 105"/>
                <a:gd name="T15" fmla="*/ 8 h 84"/>
                <a:gd name="T16" fmla="*/ 23 w 105"/>
                <a:gd name="T17" fmla="*/ 15 h 84"/>
                <a:gd name="T18" fmla="*/ 17 w 105"/>
                <a:gd name="T19" fmla="*/ 17 h 84"/>
                <a:gd name="T20" fmla="*/ 11 w 105"/>
                <a:gd name="T21" fmla="*/ 19 h 84"/>
                <a:gd name="T22" fmla="*/ 0 w 105"/>
                <a:gd name="T23" fmla="*/ 36 h 84"/>
                <a:gd name="T24" fmla="*/ 13 w 105"/>
                <a:gd name="T25" fmla="*/ 48 h 84"/>
                <a:gd name="T26" fmla="*/ 16 w 105"/>
                <a:gd name="T27" fmla="*/ 52 h 84"/>
                <a:gd name="T28" fmla="*/ 15 w 105"/>
                <a:gd name="T29" fmla="*/ 57 h 84"/>
                <a:gd name="T30" fmla="*/ 29 w 105"/>
                <a:gd name="T31" fmla="*/ 58 h 84"/>
                <a:gd name="T32" fmla="*/ 39 w 105"/>
                <a:gd name="T33" fmla="*/ 63 h 84"/>
                <a:gd name="T34" fmla="*/ 26 w 105"/>
                <a:gd name="T35" fmla="*/ 63 h 84"/>
                <a:gd name="T36" fmla="*/ 21 w 105"/>
                <a:gd name="T37" fmla="*/ 67 h 84"/>
                <a:gd name="T38" fmla="*/ 26 w 105"/>
                <a:gd name="T39" fmla="*/ 78 h 84"/>
                <a:gd name="T40" fmla="*/ 33 w 105"/>
                <a:gd name="T41" fmla="*/ 83 h 84"/>
                <a:gd name="T42" fmla="*/ 36 w 105"/>
                <a:gd name="T43" fmla="*/ 84 h 84"/>
                <a:gd name="T44" fmla="*/ 38 w 105"/>
                <a:gd name="T45" fmla="*/ 77 h 84"/>
                <a:gd name="T46" fmla="*/ 43 w 105"/>
                <a:gd name="T47" fmla="*/ 68 h 84"/>
                <a:gd name="T48" fmla="*/ 49 w 105"/>
                <a:gd name="T49" fmla="*/ 66 h 84"/>
                <a:gd name="T50" fmla="*/ 52 w 105"/>
                <a:gd name="T51" fmla="*/ 60 h 84"/>
                <a:gd name="T52" fmla="*/ 49 w 105"/>
                <a:gd name="T53" fmla="*/ 52 h 84"/>
                <a:gd name="T54" fmla="*/ 36 w 105"/>
                <a:gd name="T55" fmla="*/ 39 h 84"/>
                <a:gd name="T56" fmla="*/ 34 w 105"/>
                <a:gd name="T57" fmla="*/ 34 h 84"/>
                <a:gd name="T58" fmla="*/ 39 w 105"/>
                <a:gd name="T59" fmla="*/ 32 h 84"/>
                <a:gd name="T60" fmla="*/ 49 w 105"/>
                <a:gd name="T61" fmla="*/ 31 h 84"/>
                <a:gd name="T62" fmla="*/ 71 w 105"/>
                <a:gd name="T63" fmla="*/ 25 h 84"/>
                <a:gd name="T64" fmla="*/ 83 w 105"/>
                <a:gd name="T65" fmla="*/ 29 h 84"/>
                <a:gd name="T66" fmla="*/ 98 w 105"/>
                <a:gd name="T67" fmla="*/ 24 h 84"/>
                <a:gd name="T68" fmla="*/ 103 w 105"/>
                <a:gd name="T69" fmla="*/ 1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5" h="84">
                  <a:moveTo>
                    <a:pt x="103" y="14"/>
                  </a:moveTo>
                  <a:cubicBezTo>
                    <a:pt x="99" y="6"/>
                    <a:pt x="99" y="6"/>
                    <a:pt x="99" y="6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8" y="0"/>
                    <a:pt x="76" y="0"/>
                    <a:pt x="75" y="1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9" y="8"/>
                    <a:pt x="68" y="8"/>
                    <a:pt x="67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8" y="8"/>
                    <a:pt x="56" y="8"/>
                    <a:pt x="55" y="7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4" y="9"/>
                    <a:pt x="43" y="10"/>
                    <a:pt x="42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5" y="10"/>
                    <a:pt x="33" y="9"/>
                    <a:pt x="33" y="8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7" y="14"/>
                    <a:pt x="25" y="15"/>
                    <a:pt x="23" y="15"/>
                  </a:cubicBezTo>
                  <a:cubicBezTo>
                    <a:pt x="21" y="15"/>
                    <a:pt x="19" y="16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6" y="19"/>
                    <a:pt x="14" y="19"/>
                    <a:pt x="12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8" y="19"/>
                    <a:pt x="5" y="21"/>
                    <a:pt x="4" y="2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5" y="44"/>
                    <a:pt x="9" y="47"/>
                    <a:pt x="13" y="48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4" y="53"/>
                    <a:pt x="13" y="55"/>
                    <a:pt x="14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7" y="59"/>
                    <a:pt x="18" y="59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29" y="58"/>
                    <a:pt x="30" y="58"/>
                    <a:pt x="31" y="5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5" y="63"/>
                    <a:pt x="23" y="63"/>
                    <a:pt x="22" y="65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0" y="69"/>
                    <a:pt x="20" y="70"/>
                    <a:pt x="21" y="72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7" y="79"/>
                    <a:pt x="27" y="79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3" y="84"/>
                    <a:pt x="34" y="84"/>
                    <a:pt x="35" y="84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8" y="84"/>
                    <a:pt x="40" y="81"/>
                    <a:pt x="39" y="78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7" y="75"/>
                    <a:pt x="38" y="73"/>
                    <a:pt x="41" y="72"/>
                  </a:cubicBezTo>
                  <a:cubicBezTo>
                    <a:pt x="43" y="72"/>
                    <a:pt x="44" y="70"/>
                    <a:pt x="43" y="68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51" y="62"/>
                    <a:pt x="51" y="62"/>
                    <a:pt x="51" y="62"/>
                  </a:cubicBezTo>
                  <a:cubicBezTo>
                    <a:pt x="51" y="62"/>
                    <a:pt x="52" y="61"/>
                    <a:pt x="52" y="60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52" y="54"/>
                    <a:pt x="51" y="53"/>
                    <a:pt x="49" y="52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4" y="33"/>
                    <a:pt x="34" y="31"/>
                    <a:pt x="35" y="29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40" y="34"/>
                    <a:pt x="43" y="36"/>
                    <a:pt x="46" y="35"/>
                  </a:cubicBezTo>
                  <a:cubicBezTo>
                    <a:pt x="48" y="35"/>
                    <a:pt x="49" y="33"/>
                    <a:pt x="49" y="31"/>
                  </a:cubicBezTo>
                  <a:cubicBezTo>
                    <a:pt x="49" y="28"/>
                    <a:pt x="51" y="26"/>
                    <a:pt x="54" y="26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3" y="25"/>
                    <a:pt x="75" y="25"/>
                    <a:pt x="76" y="27"/>
                  </a:cubicBezTo>
                  <a:cubicBezTo>
                    <a:pt x="78" y="29"/>
                    <a:pt x="80" y="29"/>
                    <a:pt x="83" y="29"/>
                  </a:cubicBezTo>
                  <a:cubicBezTo>
                    <a:pt x="96" y="25"/>
                    <a:pt x="96" y="25"/>
                    <a:pt x="96" y="25"/>
                  </a:cubicBezTo>
                  <a:cubicBezTo>
                    <a:pt x="97" y="25"/>
                    <a:pt x="97" y="24"/>
                    <a:pt x="98" y="24"/>
                  </a:cubicBezTo>
                  <a:cubicBezTo>
                    <a:pt x="101" y="22"/>
                    <a:pt x="101" y="22"/>
                    <a:pt x="101" y="22"/>
                  </a:cubicBezTo>
                  <a:cubicBezTo>
                    <a:pt x="104" y="20"/>
                    <a:pt x="105" y="17"/>
                    <a:pt x="103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24">
              <a:extLst>
                <a:ext uri="{FF2B5EF4-FFF2-40B4-BE49-F238E27FC236}">
                  <a16:creationId xmlns:a16="http://schemas.microsoft.com/office/drawing/2014/main" id="{35247775-8283-4CC8-A8EE-FFE8FC401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7025" y="3760788"/>
              <a:ext cx="250825" cy="134938"/>
            </a:xfrm>
            <a:custGeom>
              <a:avLst/>
              <a:gdLst>
                <a:gd name="T0" fmla="*/ 74 w 84"/>
                <a:gd name="T1" fmla="*/ 27 h 45"/>
                <a:gd name="T2" fmla="*/ 75 w 84"/>
                <a:gd name="T3" fmla="*/ 15 h 45"/>
                <a:gd name="T4" fmla="*/ 77 w 84"/>
                <a:gd name="T5" fmla="*/ 11 h 45"/>
                <a:gd name="T6" fmla="*/ 84 w 84"/>
                <a:gd name="T7" fmla="*/ 6 h 45"/>
                <a:gd name="T8" fmla="*/ 53 w 84"/>
                <a:gd name="T9" fmla="*/ 6 h 45"/>
                <a:gd name="T10" fmla="*/ 51 w 84"/>
                <a:gd name="T11" fmla="*/ 6 h 45"/>
                <a:gd name="T12" fmla="*/ 38 w 84"/>
                <a:gd name="T13" fmla="*/ 13 h 45"/>
                <a:gd name="T14" fmla="*/ 35 w 84"/>
                <a:gd name="T15" fmla="*/ 13 h 45"/>
                <a:gd name="T16" fmla="*/ 14 w 84"/>
                <a:gd name="T17" fmla="*/ 13 h 45"/>
                <a:gd name="T18" fmla="*/ 9 w 84"/>
                <a:gd name="T19" fmla="*/ 11 h 45"/>
                <a:gd name="T20" fmla="*/ 2 w 84"/>
                <a:gd name="T21" fmla="*/ 0 h 45"/>
                <a:gd name="T22" fmla="*/ 1 w 84"/>
                <a:gd name="T23" fmla="*/ 1 h 45"/>
                <a:gd name="T24" fmla="*/ 1 w 84"/>
                <a:gd name="T25" fmla="*/ 11 h 45"/>
                <a:gd name="T26" fmla="*/ 3 w 84"/>
                <a:gd name="T27" fmla="*/ 14 h 45"/>
                <a:gd name="T28" fmla="*/ 5 w 84"/>
                <a:gd name="T29" fmla="*/ 17 h 45"/>
                <a:gd name="T30" fmla="*/ 7 w 84"/>
                <a:gd name="T31" fmla="*/ 20 h 45"/>
                <a:gd name="T32" fmla="*/ 7 w 84"/>
                <a:gd name="T33" fmla="*/ 24 h 45"/>
                <a:gd name="T34" fmla="*/ 5 w 84"/>
                <a:gd name="T35" fmla="*/ 24 h 45"/>
                <a:gd name="T36" fmla="*/ 0 w 84"/>
                <a:gd name="T37" fmla="*/ 28 h 45"/>
                <a:gd name="T38" fmla="*/ 1 w 84"/>
                <a:gd name="T39" fmla="*/ 32 h 45"/>
                <a:gd name="T40" fmla="*/ 5 w 84"/>
                <a:gd name="T41" fmla="*/ 35 h 45"/>
                <a:gd name="T42" fmla="*/ 6 w 84"/>
                <a:gd name="T43" fmla="*/ 39 h 45"/>
                <a:gd name="T44" fmla="*/ 6 w 84"/>
                <a:gd name="T45" fmla="*/ 40 h 45"/>
                <a:gd name="T46" fmla="*/ 11 w 84"/>
                <a:gd name="T47" fmla="*/ 45 h 45"/>
                <a:gd name="T48" fmla="*/ 17 w 84"/>
                <a:gd name="T49" fmla="*/ 45 h 45"/>
                <a:gd name="T50" fmla="*/ 20 w 84"/>
                <a:gd name="T51" fmla="*/ 44 h 45"/>
                <a:gd name="T52" fmla="*/ 25 w 84"/>
                <a:gd name="T53" fmla="*/ 39 h 45"/>
                <a:gd name="T54" fmla="*/ 28 w 84"/>
                <a:gd name="T55" fmla="*/ 39 h 45"/>
                <a:gd name="T56" fmla="*/ 30 w 84"/>
                <a:gd name="T57" fmla="*/ 42 h 45"/>
                <a:gd name="T58" fmla="*/ 34 w 84"/>
                <a:gd name="T59" fmla="*/ 43 h 45"/>
                <a:gd name="T60" fmla="*/ 42 w 84"/>
                <a:gd name="T61" fmla="*/ 43 h 45"/>
                <a:gd name="T62" fmla="*/ 45 w 84"/>
                <a:gd name="T63" fmla="*/ 42 h 45"/>
                <a:gd name="T64" fmla="*/ 50 w 84"/>
                <a:gd name="T65" fmla="*/ 36 h 45"/>
                <a:gd name="T66" fmla="*/ 54 w 84"/>
                <a:gd name="T67" fmla="*/ 35 h 45"/>
                <a:gd name="T68" fmla="*/ 68 w 84"/>
                <a:gd name="T69" fmla="*/ 35 h 45"/>
                <a:gd name="T70" fmla="*/ 73 w 84"/>
                <a:gd name="T71" fmla="*/ 30 h 45"/>
                <a:gd name="T72" fmla="*/ 74 w 84"/>
                <a:gd name="T73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45">
                  <a:moveTo>
                    <a:pt x="74" y="27"/>
                  </a:moveTo>
                  <a:cubicBezTo>
                    <a:pt x="75" y="15"/>
                    <a:pt x="75" y="15"/>
                    <a:pt x="75" y="15"/>
                  </a:cubicBezTo>
                  <a:cubicBezTo>
                    <a:pt x="75" y="13"/>
                    <a:pt x="76" y="12"/>
                    <a:pt x="77" y="11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2" y="6"/>
                    <a:pt x="51" y="6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7" y="13"/>
                    <a:pt x="36" y="13"/>
                    <a:pt x="35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3"/>
                    <a:pt x="10" y="12"/>
                    <a:pt x="9" y="1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2"/>
                    <a:pt x="2" y="13"/>
                    <a:pt x="3" y="14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6" y="17"/>
                    <a:pt x="7" y="19"/>
                    <a:pt x="7" y="20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2" y="24"/>
                    <a:pt x="0" y="26"/>
                    <a:pt x="0" y="28"/>
                  </a:cubicBezTo>
                  <a:cubicBezTo>
                    <a:pt x="0" y="30"/>
                    <a:pt x="0" y="31"/>
                    <a:pt x="1" y="32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6" y="36"/>
                    <a:pt x="6" y="38"/>
                    <a:pt x="6" y="39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6" y="43"/>
                    <a:pt x="8" y="45"/>
                    <a:pt x="11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8" y="45"/>
                    <a:pt x="19" y="44"/>
                    <a:pt x="20" y="44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1" y="43"/>
                    <a:pt x="33" y="43"/>
                    <a:pt x="34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3" y="43"/>
                    <a:pt x="44" y="43"/>
                    <a:pt x="45" y="42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1" y="35"/>
                    <a:pt x="53" y="35"/>
                    <a:pt x="54" y="35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4" y="29"/>
                    <a:pt x="74" y="28"/>
                    <a:pt x="74" y="2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25">
              <a:extLst>
                <a:ext uri="{FF2B5EF4-FFF2-40B4-BE49-F238E27FC236}">
                  <a16:creationId xmlns:a16="http://schemas.microsoft.com/office/drawing/2014/main" id="{61929548-3647-4351-8586-ACB44824A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8938" y="3055938"/>
              <a:ext cx="155575" cy="109538"/>
            </a:xfrm>
            <a:custGeom>
              <a:avLst/>
              <a:gdLst>
                <a:gd name="T0" fmla="*/ 30 w 52"/>
                <a:gd name="T1" fmla="*/ 34 h 37"/>
                <a:gd name="T2" fmla="*/ 38 w 52"/>
                <a:gd name="T3" fmla="*/ 37 h 37"/>
                <a:gd name="T4" fmla="*/ 48 w 52"/>
                <a:gd name="T5" fmla="*/ 37 h 37"/>
                <a:gd name="T6" fmla="*/ 49 w 52"/>
                <a:gd name="T7" fmla="*/ 33 h 37"/>
                <a:gd name="T8" fmla="*/ 50 w 52"/>
                <a:gd name="T9" fmla="*/ 20 h 37"/>
                <a:gd name="T10" fmla="*/ 38 w 52"/>
                <a:gd name="T11" fmla="*/ 6 h 37"/>
                <a:gd name="T12" fmla="*/ 32 w 52"/>
                <a:gd name="T13" fmla="*/ 0 h 37"/>
                <a:gd name="T14" fmla="*/ 0 w 52"/>
                <a:gd name="T15" fmla="*/ 9 h 37"/>
                <a:gd name="T16" fmla="*/ 0 w 52"/>
                <a:gd name="T17" fmla="*/ 19 h 37"/>
                <a:gd name="T18" fmla="*/ 8 w 52"/>
                <a:gd name="T19" fmla="*/ 25 h 37"/>
                <a:gd name="T20" fmla="*/ 10 w 52"/>
                <a:gd name="T21" fmla="*/ 25 h 37"/>
                <a:gd name="T22" fmla="*/ 10 w 52"/>
                <a:gd name="T23" fmla="*/ 30 h 37"/>
                <a:gd name="T24" fmla="*/ 21 w 52"/>
                <a:gd name="T25" fmla="*/ 30 h 37"/>
                <a:gd name="T26" fmla="*/ 30 w 52"/>
                <a:gd name="T27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37">
                  <a:moveTo>
                    <a:pt x="30" y="34"/>
                  </a:moveTo>
                  <a:cubicBezTo>
                    <a:pt x="32" y="36"/>
                    <a:pt x="35" y="37"/>
                    <a:pt x="3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6"/>
                    <a:pt x="48" y="34"/>
                    <a:pt x="49" y="33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2" y="13"/>
                    <a:pt x="46" y="6"/>
                    <a:pt x="38" y="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4" y="30"/>
                    <a:pt x="27" y="31"/>
                    <a:pt x="30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26">
              <a:extLst>
                <a:ext uri="{FF2B5EF4-FFF2-40B4-BE49-F238E27FC236}">
                  <a16:creationId xmlns:a16="http://schemas.microsoft.com/office/drawing/2014/main" id="{C40D5895-0BFA-4105-8DD8-C49745C5B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144838"/>
              <a:ext cx="344488" cy="155575"/>
            </a:xfrm>
            <a:custGeom>
              <a:avLst/>
              <a:gdLst>
                <a:gd name="T0" fmla="*/ 36 w 115"/>
                <a:gd name="T1" fmla="*/ 34 h 52"/>
                <a:gd name="T2" fmla="*/ 57 w 115"/>
                <a:gd name="T3" fmla="*/ 41 h 52"/>
                <a:gd name="T4" fmla="*/ 61 w 115"/>
                <a:gd name="T5" fmla="*/ 42 h 52"/>
                <a:gd name="T6" fmla="*/ 74 w 115"/>
                <a:gd name="T7" fmla="*/ 48 h 52"/>
                <a:gd name="T8" fmla="*/ 104 w 115"/>
                <a:gd name="T9" fmla="*/ 48 h 52"/>
                <a:gd name="T10" fmla="*/ 115 w 115"/>
                <a:gd name="T11" fmla="*/ 43 h 52"/>
                <a:gd name="T12" fmla="*/ 104 w 115"/>
                <a:gd name="T13" fmla="*/ 35 h 52"/>
                <a:gd name="T14" fmla="*/ 96 w 115"/>
                <a:gd name="T15" fmla="*/ 33 h 52"/>
                <a:gd name="T16" fmla="*/ 85 w 115"/>
                <a:gd name="T17" fmla="*/ 24 h 52"/>
                <a:gd name="T18" fmla="*/ 81 w 115"/>
                <a:gd name="T19" fmla="*/ 15 h 52"/>
                <a:gd name="T20" fmla="*/ 79 w 115"/>
                <a:gd name="T21" fmla="*/ 7 h 52"/>
                <a:gd name="T22" fmla="*/ 69 w 115"/>
                <a:gd name="T23" fmla="*/ 7 h 52"/>
                <a:gd name="T24" fmla="*/ 61 w 115"/>
                <a:gd name="T25" fmla="*/ 4 h 52"/>
                <a:gd name="T26" fmla="*/ 52 w 115"/>
                <a:gd name="T27" fmla="*/ 0 h 52"/>
                <a:gd name="T28" fmla="*/ 41 w 115"/>
                <a:gd name="T29" fmla="*/ 0 h 52"/>
                <a:gd name="T30" fmla="*/ 41 w 115"/>
                <a:gd name="T31" fmla="*/ 13 h 52"/>
                <a:gd name="T32" fmla="*/ 33 w 115"/>
                <a:gd name="T33" fmla="*/ 21 h 52"/>
                <a:gd name="T34" fmla="*/ 24 w 115"/>
                <a:gd name="T35" fmla="*/ 11 h 52"/>
                <a:gd name="T36" fmla="*/ 10 w 115"/>
                <a:gd name="T37" fmla="*/ 11 h 52"/>
                <a:gd name="T38" fmla="*/ 0 w 115"/>
                <a:gd name="T39" fmla="*/ 22 h 52"/>
                <a:gd name="T40" fmla="*/ 0 w 115"/>
                <a:gd name="T41" fmla="*/ 32 h 52"/>
                <a:gd name="T42" fmla="*/ 25 w 115"/>
                <a:gd name="T43" fmla="*/ 32 h 52"/>
                <a:gd name="T44" fmla="*/ 36 w 115"/>
                <a:gd name="T45" fmla="*/ 3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2">
                  <a:moveTo>
                    <a:pt x="36" y="34"/>
                  </a:moveTo>
                  <a:cubicBezTo>
                    <a:pt x="57" y="41"/>
                    <a:pt x="57" y="41"/>
                    <a:pt x="57" y="41"/>
                  </a:cubicBezTo>
                  <a:cubicBezTo>
                    <a:pt x="58" y="41"/>
                    <a:pt x="60" y="42"/>
                    <a:pt x="61" y="42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84" y="52"/>
                    <a:pt x="94" y="52"/>
                    <a:pt x="104" y="48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2" y="39"/>
                    <a:pt x="108" y="36"/>
                    <a:pt x="104" y="35"/>
                  </a:cubicBezTo>
                  <a:cubicBezTo>
                    <a:pt x="96" y="33"/>
                    <a:pt x="96" y="33"/>
                    <a:pt x="96" y="33"/>
                  </a:cubicBezTo>
                  <a:cubicBezTo>
                    <a:pt x="91" y="32"/>
                    <a:pt x="87" y="29"/>
                    <a:pt x="85" y="2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0" y="13"/>
                    <a:pt x="80" y="10"/>
                    <a:pt x="79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6" y="7"/>
                    <a:pt x="63" y="6"/>
                    <a:pt x="61" y="4"/>
                  </a:cubicBezTo>
                  <a:cubicBezTo>
                    <a:pt x="58" y="1"/>
                    <a:pt x="55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9" y="32"/>
                    <a:pt x="33" y="33"/>
                    <a:pt x="36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27">
              <a:extLst>
                <a:ext uri="{FF2B5EF4-FFF2-40B4-BE49-F238E27FC236}">
                  <a16:creationId xmlns:a16="http://schemas.microsoft.com/office/drawing/2014/main" id="{55DAECC9-861E-47C5-B276-79805A459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240088"/>
              <a:ext cx="146050" cy="120650"/>
            </a:xfrm>
            <a:custGeom>
              <a:avLst/>
              <a:gdLst>
                <a:gd name="T0" fmla="*/ 49 w 49"/>
                <a:gd name="T1" fmla="*/ 21 h 40"/>
                <a:gd name="T2" fmla="*/ 49 w 49"/>
                <a:gd name="T3" fmla="*/ 16 h 40"/>
                <a:gd name="T4" fmla="*/ 45 w 49"/>
                <a:gd name="T5" fmla="*/ 5 h 40"/>
                <a:gd name="T6" fmla="*/ 36 w 49"/>
                <a:gd name="T7" fmla="*/ 2 h 40"/>
                <a:gd name="T8" fmla="*/ 25 w 49"/>
                <a:gd name="T9" fmla="*/ 0 h 40"/>
                <a:gd name="T10" fmla="*/ 0 w 49"/>
                <a:gd name="T11" fmla="*/ 0 h 40"/>
                <a:gd name="T12" fmla="*/ 0 w 49"/>
                <a:gd name="T13" fmla="*/ 9 h 40"/>
                <a:gd name="T14" fmla="*/ 5 w 49"/>
                <a:gd name="T15" fmla="*/ 14 h 40"/>
                <a:gd name="T16" fmla="*/ 4 w 49"/>
                <a:gd name="T17" fmla="*/ 15 h 40"/>
                <a:gd name="T18" fmla="*/ 6 w 49"/>
                <a:gd name="T19" fmla="*/ 16 h 40"/>
                <a:gd name="T20" fmla="*/ 15 w 49"/>
                <a:gd name="T21" fmla="*/ 37 h 40"/>
                <a:gd name="T22" fmla="*/ 15 w 49"/>
                <a:gd name="T23" fmla="*/ 40 h 40"/>
                <a:gd name="T24" fmla="*/ 41 w 49"/>
                <a:gd name="T25" fmla="*/ 32 h 40"/>
                <a:gd name="T26" fmla="*/ 49 w 49"/>
                <a:gd name="T27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" h="40">
                  <a:moveTo>
                    <a:pt x="49" y="21"/>
                  </a:moveTo>
                  <a:cubicBezTo>
                    <a:pt x="49" y="19"/>
                    <a:pt x="49" y="18"/>
                    <a:pt x="49" y="16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3" y="1"/>
                    <a:pt x="29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5" y="16"/>
                    <a:pt x="6" y="16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8"/>
                    <a:pt x="15" y="39"/>
                    <a:pt x="15" y="40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6" y="30"/>
                    <a:pt x="49" y="26"/>
                    <a:pt x="49" y="2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28">
              <a:extLst>
                <a:ext uri="{FF2B5EF4-FFF2-40B4-BE49-F238E27FC236}">
                  <a16:creationId xmlns:a16="http://schemas.microsoft.com/office/drawing/2014/main" id="{C99C02D6-BC02-44C8-8C8A-A9D394BE1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0675" y="3255963"/>
              <a:ext cx="379413" cy="200025"/>
            </a:xfrm>
            <a:custGeom>
              <a:avLst/>
              <a:gdLst>
                <a:gd name="T0" fmla="*/ 122 w 127"/>
                <a:gd name="T1" fmla="*/ 46 h 67"/>
                <a:gd name="T2" fmla="*/ 125 w 127"/>
                <a:gd name="T3" fmla="*/ 38 h 67"/>
                <a:gd name="T4" fmla="*/ 112 w 127"/>
                <a:gd name="T5" fmla="*/ 20 h 67"/>
                <a:gd name="T6" fmla="*/ 110 w 127"/>
                <a:gd name="T7" fmla="*/ 13 h 67"/>
                <a:gd name="T8" fmla="*/ 107 w 127"/>
                <a:gd name="T9" fmla="*/ 6 h 67"/>
                <a:gd name="T10" fmla="*/ 96 w 127"/>
                <a:gd name="T11" fmla="*/ 11 h 67"/>
                <a:gd name="T12" fmla="*/ 66 w 127"/>
                <a:gd name="T13" fmla="*/ 11 h 67"/>
                <a:gd name="T14" fmla="*/ 53 w 127"/>
                <a:gd name="T15" fmla="*/ 5 h 67"/>
                <a:gd name="T16" fmla="*/ 49 w 127"/>
                <a:gd name="T17" fmla="*/ 4 h 67"/>
                <a:gd name="T18" fmla="*/ 37 w 127"/>
                <a:gd name="T19" fmla="*/ 0 h 67"/>
                <a:gd name="T20" fmla="*/ 41 w 127"/>
                <a:gd name="T21" fmla="*/ 11 h 67"/>
                <a:gd name="T22" fmla="*/ 41 w 127"/>
                <a:gd name="T23" fmla="*/ 16 h 67"/>
                <a:gd name="T24" fmla="*/ 33 w 127"/>
                <a:gd name="T25" fmla="*/ 27 h 67"/>
                <a:gd name="T26" fmla="*/ 7 w 127"/>
                <a:gd name="T27" fmla="*/ 35 h 67"/>
                <a:gd name="T28" fmla="*/ 5 w 127"/>
                <a:gd name="T29" fmla="*/ 37 h 67"/>
                <a:gd name="T30" fmla="*/ 2 w 127"/>
                <a:gd name="T31" fmla="*/ 39 h 67"/>
                <a:gd name="T32" fmla="*/ 0 w 127"/>
                <a:gd name="T33" fmla="*/ 42 h 67"/>
                <a:gd name="T34" fmla="*/ 2 w 127"/>
                <a:gd name="T35" fmla="*/ 46 h 67"/>
                <a:gd name="T36" fmla="*/ 5 w 127"/>
                <a:gd name="T37" fmla="*/ 47 h 67"/>
                <a:gd name="T38" fmla="*/ 7 w 127"/>
                <a:gd name="T39" fmla="*/ 51 h 67"/>
                <a:gd name="T40" fmla="*/ 7 w 127"/>
                <a:gd name="T41" fmla="*/ 63 h 67"/>
                <a:gd name="T42" fmla="*/ 24 w 127"/>
                <a:gd name="T43" fmla="*/ 59 h 67"/>
                <a:gd name="T44" fmla="*/ 31 w 127"/>
                <a:gd name="T45" fmla="*/ 59 h 67"/>
                <a:gd name="T46" fmla="*/ 36 w 127"/>
                <a:gd name="T47" fmla="*/ 59 h 67"/>
                <a:gd name="T48" fmla="*/ 47 w 127"/>
                <a:gd name="T49" fmla="*/ 61 h 67"/>
                <a:gd name="T50" fmla="*/ 59 w 127"/>
                <a:gd name="T51" fmla="*/ 65 h 67"/>
                <a:gd name="T52" fmla="*/ 70 w 127"/>
                <a:gd name="T53" fmla="*/ 67 h 67"/>
                <a:gd name="T54" fmla="*/ 79 w 127"/>
                <a:gd name="T55" fmla="*/ 67 h 67"/>
                <a:gd name="T56" fmla="*/ 90 w 127"/>
                <a:gd name="T57" fmla="*/ 65 h 67"/>
                <a:gd name="T58" fmla="*/ 97 w 127"/>
                <a:gd name="T59" fmla="*/ 62 h 67"/>
                <a:gd name="T60" fmla="*/ 105 w 127"/>
                <a:gd name="T61" fmla="*/ 60 h 67"/>
                <a:gd name="T62" fmla="*/ 123 w 127"/>
                <a:gd name="T63" fmla="*/ 58 h 67"/>
                <a:gd name="T64" fmla="*/ 117 w 127"/>
                <a:gd name="T65" fmla="*/ 50 h 67"/>
                <a:gd name="T66" fmla="*/ 122 w 127"/>
                <a:gd name="T67" fmla="*/ 4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7" h="67">
                  <a:moveTo>
                    <a:pt x="122" y="46"/>
                  </a:moveTo>
                  <a:cubicBezTo>
                    <a:pt x="125" y="45"/>
                    <a:pt x="127" y="41"/>
                    <a:pt x="125" y="38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0" y="13"/>
                    <a:pt x="110" y="13"/>
                    <a:pt x="110" y="13"/>
                  </a:cubicBezTo>
                  <a:cubicBezTo>
                    <a:pt x="110" y="10"/>
                    <a:pt x="108" y="8"/>
                    <a:pt x="107" y="6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86" y="15"/>
                    <a:pt x="76" y="15"/>
                    <a:pt x="66" y="11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2" y="5"/>
                    <a:pt x="50" y="4"/>
                    <a:pt x="49" y="4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3"/>
                    <a:pt x="41" y="14"/>
                    <a:pt x="41" y="16"/>
                  </a:cubicBezTo>
                  <a:cubicBezTo>
                    <a:pt x="41" y="21"/>
                    <a:pt x="38" y="25"/>
                    <a:pt x="33" y="27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6"/>
                    <a:pt x="6" y="36"/>
                    <a:pt x="5" y="37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1" y="39"/>
                    <a:pt x="0" y="41"/>
                    <a:pt x="0" y="42"/>
                  </a:cubicBezTo>
                  <a:cubicBezTo>
                    <a:pt x="0" y="44"/>
                    <a:pt x="1" y="45"/>
                    <a:pt x="2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6" y="48"/>
                    <a:pt x="7" y="49"/>
                    <a:pt x="7" y="51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26" y="59"/>
                    <a:pt x="29" y="59"/>
                    <a:pt x="31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40" y="59"/>
                    <a:pt x="43" y="59"/>
                    <a:pt x="47" y="61"/>
                  </a:cubicBezTo>
                  <a:cubicBezTo>
                    <a:pt x="59" y="65"/>
                    <a:pt x="59" y="65"/>
                    <a:pt x="59" y="65"/>
                  </a:cubicBezTo>
                  <a:cubicBezTo>
                    <a:pt x="63" y="66"/>
                    <a:pt x="66" y="67"/>
                    <a:pt x="70" y="67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83" y="67"/>
                    <a:pt x="86" y="66"/>
                    <a:pt x="90" y="65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100" y="61"/>
                    <a:pt x="102" y="61"/>
                    <a:pt x="105" y="60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20" y="57"/>
                    <a:pt x="117" y="54"/>
                    <a:pt x="117" y="50"/>
                  </a:cubicBezTo>
                  <a:cubicBezTo>
                    <a:pt x="117" y="47"/>
                    <a:pt x="119" y="46"/>
                    <a:pt x="122" y="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29">
              <a:extLst>
                <a:ext uri="{FF2B5EF4-FFF2-40B4-BE49-F238E27FC236}">
                  <a16:creationId xmlns:a16="http://schemas.microsoft.com/office/drawing/2014/main" id="{272ACBA6-EB70-4AAC-A6C4-5E69FC59B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3213" y="3429001"/>
              <a:ext cx="673100" cy="355600"/>
            </a:xfrm>
            <a:custGeom>
              <a:avLst/>
              <a:gdLst>
                <a:gd name="T0" fmla="*/ 216 w 225"/>
                <a:gd name="T1" fmla="*/ 35 h 119"/>
                <a:gd name="T2" fmla="*/ 195 w 225"/>
                <a:gd name="T3" fmla="*/ 34 h 119"/>
                <a:gd name="T4" fmla="*/ 167 w 225"/>
                <a:gd name="T5" fmla="*/ 21 h 119"/>
                <a:gd name="T6" fmla="*/ 155 w 225"/>
                <a:gd name="T7" fmla="*/ 10 h 119"/>
                <a:gd name="T8" fmla="*/ 132 w 225"/>
                <a:gd name="T9" fmla="*/ 1 h 119"/>
                <a:gd name="T10" fmla="*/ 111 w 225"/>
                <a:gd name="T11" fmla="*/ 2 h 119"/>
                <a:gd name="T12" fmla="*/ 96 w 225"/>
                <a:gd name="T13" fmla="*/ 7 h 119"/>
                <a:gd name="T14" fmla="*/ 76 w 225"/>
                <a:gd name="T15" fmla="*/ 9 h 119"/>
                <a:gd name="T16" fmla="*/ 53 w 225"/>
                <a:gd name="T17" fmla="*/ 3 h 119"/>
                <a:gd name="T18" fmla="*/ 37 w 225"/>
                <a:gd name="T19" fmla="*/ 1 h 119"/>
                <a:gd name="T20" fmla="*/ 13 w 225"/>
                <a:gd name="T21" fmla="*/ 5 h 119"/>
                <a:gd name="T22" fmla="*/ 14 w 225"/>
                <a:gd name="T23" fmla="*/ 7 h 119"/>
                <a:gd name="T24" fmla="*/ 16 w 225"/>
                <a:gd name="T25" fmla="*/ 19 h 119"/>
                <a:gd name="T26" fmla="*/ 11 w 225"/>
                <a:gd name="T27" fmla="*/ 20 h 119"/>
                <a:gd name="T28" fmla="*/ 1 w 225"/>
                <a:gd name="T29" fmla="*/ 34 h 119"/>
                <a:gd name="T30" fmla="*/ 3 w 225"/>
                <a:gd name="T31" fmla="*/ 42 h 119"/>
                <a:gd name="T32" fmla="*/ 0 w 225"/>
                <a:gd name="T33" fmla="*/ 45 h 119"/>
                <a:gd name="T34" fmla="*/ 6 w 225"/>
                <a:gd name="T35" fmla="*/ 55 h 119"/>
                <a:gd name="T36" fmla="*/ 50 w 225"/>
                <a:gd name="T37" fmla="*/ 50 h 119"/>
                <a:gd name="T38" fmla="*/ 73 w 225"/>
                <a:gd name="T39" fmla="*/ 45 h 119"/>
                <a:gd name="T40" fmla="*/ 81 w 225"/>
                <a:gd name="T41" fmla="*/ 59 h 119"/>
                <a:gd name="T42" fmla="*/ 87 w 225"/>
                <a:gd name="T43" fmla="*/ 62 h 119"/>
                <a:gd name="T44" fmla="*/ 92 w 225"/>
                <a:gd name="T45" fmla="*/ 74 h 119"/>
                <a:gd name="T46" fmla="*/ 87 w 225"/>
                <a:gd name="T47" fmla="*/ 79 h 119"/>
                <a:gd name="T48" fmla="*/ 81 w 225"/>
                <a:gd name="T49" fmla="*/ 90 h 119"/>
                <a:gd name="T50" fmla="*/ 78 w 225"/>
                <a:gd name="T51" fmla="*/ 95 h 119"/>
                <a:gd name="T52" fmla="*/ 85 w 225"/>
                <a:gd name="T53" fmla="*/ 101 h 119"/>
                <a:gd name="T54" fmla="*/ 102 w 225"/>
                <a:gd name="T55" fmla="*/ 101 h 119"/>
                <a:gd name="T56" fmla="*/ 112 w 225"/>
                <a:gd name="T57" fmla="*/ 96 h 119"/>
                <a:gd name="T58" fmla="*/ 121 w 225"/>
                <a:gd name="T59" fmla="*/ 85 h 119"/>
                <a:gd name="T60" fmla="*/ 128 w 225"/>
                <a:gd name="T61" fmla="*/ 89 h 119"/>
                <a:gd name="T62" fmla="*/ 134 w 225"/>
                <a:gd name="T63" fmla="*/ 95 h 119"/>
                <a:gd name="T64" fmla="*/ 149 w 225"/>
                <a:gd name="T65" fmla="*/ 98 h 119"/>
                <a:gd name="T66" fmla="*/ 142 w 225"/>
                <a:gd name="T67" fmla="*/ 111 h 119"/>
                <a:gd name="T68" fmla="*/ 147 w 225"/>
                <a:gd name="T69" fmla="*/ 116 h 119"/>
                <a:gd name="T70" fmla="*/ 152 w 225"/>
                <a:gd name="T71" fmla="*/ 119 h 119"/>
                <a:gd name="T72" fmla="*/ 163 w 225"/>
                <a:gd name="T73" fmla="*/ 118 h 119"/>
                <a:gd name="T74" fmla="*/ 176 w 225"/>
                <a:gd name="T75" fmla="*/ 112 h 119"/>
                <a:gd name="T76" fmla="*/ 185 w 225"/>
                <a:gd name="T77" fmla="*/ 111 h 119"/>
                <a:gd name="T78" fmla="*/ 169 w 225"/>
                <a:gd name="T79" fmla="*/ 107 h 119"/>
                <a:gd name="T80" fmla="*/ 163 w 225"/>
                <a:gd name="T81" fmla="*/ 102 h 119"/>
                <a:gd name="T82" fmla="*/ 155 w 225"/>
                <a:gd name="T83" fmla="*/ 99 h 119"/>
                <a:gd name="T84" fmla="*/ 176 w 225"/>
                <a:gd name="T85" fmla="*/ 88 h 119"/>
                <a:gd name="T86" fmla="*/ 204 w 225"/>
                <a:gd name="T87" fmla="*/ 72 h 119"/>
                <a:gd name="T88" fmla="*/ 223 w 225"/>
                <a:gd name="T89" fmla="*/ 59 h 119"/>
                <a:gd name="T90" fmla="*/ 219 w 225"/>
                <a:gd name="T91" fmla="*/ 38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119">
                  <a:moveTo>
                    <a:pt x="219" y="38"/>
                  </a:moveTo>
                  <a:cubicBezTo>
                    <a:pt x="216" y="35"/>
                    <a:pt x="216" y="35"/>
                    <a:pt x="216" y="35"/>
                  </a:cubicBezTo>
                  <a:cubicBezTo>
                    <a:pt x="212" y="32"/>
                    <a:pt x="207" y="32"/>
                    <a:pt x="203" y="33"/>
                  </a:cubicBezTo>
                  <a:cubicBezTo>
                    <a:pt x="200" y="34"/>
                    <a:pt x="198" y="35"/>
                    <a:pt x="195" y="34"/>
                  </a:cubicBezTo>
                  <a:cubicBezTo>
                    <a:pt x="174" y="29"/>
                    <a:pt x="174" y="29"/>
                    <a:pt x="174" y="29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6" y="19"/>
                    <a:pt x="164" y="18"/>
                    <a:pt x="162" y="18"/>
                  </a:cubicBezTo>
                  <a:cubicBezTo>
                    <a:pt x="158" y="16"/>
                    <a:pt x="156" y="13"/>
                    <a:pt x="155" y="10"/>
                  </a:cubicBezTo>
                  <a:cubicBezTo>
                    <a:pt x="153" y="5"/>
                    <a:pt x="149" y="1"/>
                    <a:pt x="144" y="1"/>
                  </a:cubicBezTo>
                  <a:cubicBezTo>
                    <a:pt x="132" y="1"/>
                    <a:pt x="132" y="1"/>
                    <a:pt x="132" y="1"/>
                  </a:cubicBezTo>
                  <a:cubicBezTo>
                    <a:pt x="131" y="1"/>
                    <a:pt x="130" y="0"/>
                    <a:pt x="129" y="0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8" y="3"/>
                    <a:pt x="106" y="3"/>
                    <a:pt x="103" y="4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2" y="8"/>
                    <a:pt x="89" y="9"/>
                    <a:pt x="85" y="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2" y="9"/>
                    <a:pt x="69" y="8"/>
                    <a:pt x="65" y="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49" y="1"/>
                    <a:pt x="46" y="1"/>
                    <a:pt x="42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5" y="1"/>
                    <a:pt x="32" y="1"/>
                    <a:pt x="30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7"/>
                    <a:pt x="14" y="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9"/>
                    <a:pt x="14" y="20"/>
                    <a:pt x="13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9" y="21"/>
                    <a:pt x="8" y="22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38"/>
                    <a:pt x="5" y="40"/>
                    <a:pt x="3" y="42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5"/>
                    <a:pt x="0" y="45"/>
                    <a:pt x="0" y="45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5" y="50"/>
                    <a:pt x="6" y="52"/>
                    <a:pt x="6" y="55"/>
                  </a:cubicBezTo>
                  <a:cubicBezTo>
                    <a:pt x="50" y="53"/>
                    <a:pt x="50" y="53"/>
                    <a:pt x="50" y="53"/>
                  </a:cubicBezTo>
                  <a:cubicBezTo>
                    <a:pt x="50" y="50"/>
                    <a:pt x="50" y="50"/>
                    <a:pt x="50" y="50"/>
                  </a:cubicBezTo>
                  <a:cubicBezTo>
                    <a:pt x="50" y="47"/>
                    <a:pt x="52" y="45"/>
                    <a:pt x="55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4" y="45"/>
                    <a:pt x="76" y="46"/>
                    <a:pt x="77" y="48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2" y="61"/>
                    <a:pt x="83" y="62"/>
                    <a:pt x="85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9" y="62"/>
                    <a:pt x="91" y="63"/>
                    <a:pt x="91" y="66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92" y="76"/>
                    <a:pt x="91" y="78"/>
                    <a:pt x="89" y="79"/>
                  </a:cubicBezTo>
                  <a:cubicBezTo>
                    <a:pt x="87" y="79"/>
                    <a:pt x="87" y="79"/>
                    <a:pt x="87" y="79"/>
                  </a:cubicBezTo>
                  <a:cubicBezTo>
                    <a:pt x="85" y="80"/>
                    <a:pt x="83" y="83"/>
                    <a:pt x="84" y="85"/>
                  </a:cubicBezTo>
                  <a:cubicBezTo>
                    <a:pt x="85" y="87"/>
                    <a:pt x="84" y="90"/>
                    <a:pt x="81" y="90"/>
                  </a:cubicBezTo>
                  <a:cubicBezTo>
                    <a:pt x="78" y="91"/>
                    <a:pt x="78" y="91"/>
                    <a:pt x="78" y="91"/>
                  </a:cubicBezTo>
                  <a:cubicBezTo>
                    <a:pt x="78" y="95"/>
                    <a:pt x="78" y="95"/>
                    <a:pt x="78" y="95"/>
                  </a:cubicBezTo>
                  <a:cubicBezTo>
                    <a:pt x="78" y="97"/>
                    <a:pt x="79" y="98"/>
                    <a:pt x="80" y="99"/>
                  </a:cubicBezTo>
                  <a:cubicBezTo>
                    <a:pt x="81" y="101"/>
                    <a:pt x="83" y="101"/>
                    <a:pt x="85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3" y="100"/>
                    <a:pt x="104" y="99"/>
                    <a:pt x="105" y="98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4" y="95"/>
                    <a:pt x="115" y="93"/>
                    <a:pt x="115" y="90"/>
                  </a:cubicBezTo>
                  <a:cubicBezTo>
                    <a:pt x="115" y="87"/>
                    <a:pt x="118" y="84"/>
                    <a:pt x="121" y="85"/>
                  </a:cubicBezTo>
                  <a:cubicBezTo>
                    <a:pt x="124" y="85"/>
                    <a:pt x="124" y="85"/>
                    <a:pt x="124" y="85"/>
                  </a:cubicBezTo>
                  <a:cubicBezTo>
                    <a:pt x="126" y="86"/>
                    <a:pt x="128" y="87"/>
                    <a:pt x="128" y="89"/>
                  </a:cubicBezTo>
                  <a:cubicBezTo>
                    <a:pt x="129" y="91"/>
                    <a:pt x="129" y="91"/>
                    <a:pt x="129" y="91"/>
                  </a:cubicBezTo>
                  <a:cubicBezTo>
                    <a:pt x="130" y="94"/>
                    <a:pt x="132" y="95"/>
                    <a:pt x="134" y="95"/>
                  </a:cubicBezTo>
                  <a:cubicBezTo>
                    <a:pt x="149" y="95"/>
                    <a:pt x="149" y="95"/>
                    <a:pt x="149" y="95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2" y="103"/>
                    <a:pt x="142" y="103"/>
                    <a:pt x="142" y="103"/>
                  </a:cubicBezTo>
                  <a:cubicBezTo>
                    <a:pt x="140" y="105"/>
                    <a:pt x="140" y="109"/>
                    <a:pt x="142" y="111"/>
                  </a:cubicBezTo>
                  <a:cubicBezTo>
                    <a:pt x="146" y="114"/>
                    <a:pt x="146" y="114"/>
                    <a:pt x="146" y="114"/>
                  </a:cubicBezTo>
                  <a:cubicBezTo>
                    <a:pt x="146" y="115"/>
                    <a:pt x="146" y="115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48" y="118"/>
                    <a:pt x="150" y="119"/>
                    <a:pt x="152" y="119"/>
                  </a:cubicBezTo>
                  <a:cubicBezTo>
                    <a:pt x="161" y="119"/>
                    <a:pt x="161" y="119"/>
                    <a:pt x="161" y="119"/>
                  </a:cubicBezTo>
                  <a:cubicBezTo>
                    <a:pt x="162" y="119"/>
                    <a:pt x="163" y="119"/>
                    <a:pt x="163" y="118"/>
                  </a:cubicBezTo>
                  <a:cubicBezTo>
                    <a:pt x="173" y="112"/>
                    <a:pt x="173" y="112"/>
                    <a:pt x="173" y="112"/>
                  </a:cubicBezTo>
                  <a:cubicBezTo>
                    <a:pt x="174" y="112"/>
                    <a:pt x="175" y="112"/>
                    <a:pt x="176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80" y="115"/>
                    <a:pt x="186" y="115"/>
                    <a:pt x="185" y="111"/>
                  </a:cubicBezTo>
                  <a:cubicBezTo>
                    <a:pt x="185" y="107"/>
                    <a:pt x="182" y="104"/>
                    <a:pt x="178" y="105"/>
                  </a:cubicBezTo>
                  <a:cubicBezTo>
                    <a:pt x="169" y="107"/>
                    <a:pt x="169" y="107"/>
                    <a:pt x="169" y="107"/>
                  </a:cubicBezTo>
                  <a:cubicBezTo>
                    <a:pt x="167" y="107"/>
                    <a:pt x="165" y="106"/>
                    <a:pt x="164" y="104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2" y="100"/>
                    <a:pt x="161" y="99"/>
                    <a:pt x="159" y="99"/>
                  </a:cubicBezTo>
                  <a:cubicBezTo>
                    <a:pt x="155" y="99"/>
                    <a:pt x="155" y="99"/>
                    <a:pt x="155" y="99"/>
                  </a:cubicBezTo>
                  <a:cubicBezTo>
                    <a:pt x="154" y="95"/>
                    <a:pt x="154" y="95"/>
                    <a:pt x="154" y="95"/>
                  </a:cubicBezTo>
                  <a:cubicBezTo>
                    <a:pt x="176" y="88"/>
                    <a:pt x="176" y="88"/>
                    <a:pt x="176" y="88"/>
                  </a:cubicBezTo>
                  <a:cubicBezTo>
                    <a:pt x="196" y="81"/>
                    <a:pt x="196" y="81"/>
                    <a:pt x="196" y="81"/>
                  </a:cubicBezTo>
                  <a:cubicBezTo>
                    <a:pt x="200" y="79"/>
                    <a:pt x="203" y="76"/>
                    <a:pt x="204" y="72"/>
                  </a:cubicBezTo>
                  <a:cubicBezTo>
                    <a:pt x="214" y="69"/>
                    <a:pt x="214" y="69"/>
                    <a:pt x="214" y="69"/>
                  </a:cubicBezTo>
                  <a:cubicBezTo>
                    <a:pt x="219" y="68"/>
                    <a:pt x="222" y="64"/>
                    <a:pt x="223" y="59"/>
                  </a:cubicBezTo>
                  <a:cubicBezTo>
                    <a:pt x="224" y="50"/>
                    <a:pt x="224" y="50"/>
                    <a:pt x="224" y="50"/>
                  </a:cubicBezTo>
                  <a:cubicBezTo>
                    <a:pt x="225" y="45"/>
                    <a:pt x="223" y="41"/>
                    <a:pt x="219" y="3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30">
              <a:extLst>
                <a:ext uri="{FF2B5EF4-FFF2-40B4-BE49-F238E27FC236}">
                  <a16:creationId xmlns:a16="http://schemas.microsoft.com/office/drawing/2014/main" id="{E656CCED-5E28-432B-A3D4-E80DC7926F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7175" y="3587751"/>
              <a:ext cx="350838" cy="211138"/>
            </a:xfrm>
            <a:custGeom>
              <a:avLst/>
              <a:gdLst>
                <a:gd name="T0" fmla="*/ 95 w 117"/>
                <a:gd name="T1" fmla="*/ 46 h 71"/>
                <a:gd name="T2" fmla="*/ 93 w 117"/>
                <a:gd name="T3" fmla="*/ 42 h 71"/>
                <a:gd name="T4" fmla="*/ 93 w 117"/>
                <a:gd name="T5" fmla="*/ 34 h 71"/>
                <a:gd name="T6" fmla="*/ 93 w 117"/>
                <a:gd name="T7" fmla="*/ 32 h 71"/>
                <a:gd name="T8" fmla="*/ 85 w 117"/>
                <a:gd name="T9" fmla="*/ 15 h 71"/>
                <a:gd name="T10" fmla="*/ 81 w 117"/>
                <a:gd name="T11" fmla="*/ 12 h 71"/>
                <a:gd name="T12" fmla="*/ 78 w 117"/>
                <a:gd name="T13" fmla="*/ 11 h 71"/>
                <a:gd name="T14" fmla="*/ 73 w 117"/>
                <a:gd name="T15" fmla="*/ 6 h 71"/>
                <a:gd name="T16" fmla="*/ 73 w 117"/>
                <a:gd name="T17" fmla="*/ 4 h 71"/>
                <a:gd name="T18" fmla="*/ 66 w 117"/>
                <a:gd name="T19" fmla="*/ 0 h 71"/>
                <a:gd name="T20" fmla="*/ 21 w 117"/>
                <a:gd name="T21" fmla="*/ 2 h 71"/>
                <a:gd name="T22" fmla="*/ 20 w 117"/>
                <a:gd name="T23" fmla="*/ 7 h 71"/>
                <a:gd name="T24" fmla="*/ 6 w 117"/>
                <a:gd name="T25" fmla="*/ 26 h 71"/>
                <a:gd name="T26" fmla="*/ 0 w 117"/>
                <a:gd name="T27" fmla="*/ 30 h 71"/>
                <a:gd name="T28" fmla="*/ 1 w 117"/>
                <a:gd name="T29" fmla="*/ 40 h 71"/>
                <a:gd name="T30" fmla="*/ 2 w 117"/>
                <a:gd name="T31" fmla="*/ 43 h 71"/>
                <a:gd name="T32" fmla="*/ 9 w 117"/>
                <a:gd name="T33" fmla="*/ 53 h 71"/>
                <a:gd name="T34" fmla="*/ 14 w 117"/>
                <a:gd name="T35" fmla="*/ 55 h 71"/>
                <a:gd name="T36" fmla="*/ 16 w 117"/>
                <a:gd name="T37" fmla="*/ 55 h 71"/>
                <a:gd name="T38" fmla="*/ 16 w 117"/>
                <a:gd name="T39" fmla="*/ 51 h 71"/>
                <a:gd name="T40" fmla="*/ 20 w 117"/>
                <a:gd name="T41" fmla="*/ 51 h 71"/>
                <a:gd name="T42" fmla="*/ 32 w 117"/>
                <a:gd name="T43" fmla="*/ 69 h 71"/>
                <a:gd name="T44" fmla="*/ 37 w 117"/>
                <a:gd name="T45" fmla="*/ 71 h 71"/>
                <a:gd name="T46" fmla="*/ 58 w 117"/>
                <a:gd name="T47" fmla="*/ 71 h 71"/>
                <a:gd name="T48" fmla="*/ 61 w 117"/>
                <a:gd name="T49" fmla="*/ 71 h 71"/>
                <a:gd name="T50" fmla="*/ 74 w 117"/>
                <a:gd name="T51" fmla="*/ 64 h 71"/>
                <a:gd name="T52" fmla="*/ 76 w 117"/>
                <a:gd name="T53" fmla="*/ 64 h 71"/>
                <a:gd name="T54" fmla="*/ 107 w 117"/>
                <a:gd name="T55" fmla="*/ 64 h 71"/>
                <a:gd name="T56" fmla="*/ 110 w 117"/>
                <a:gd name="T57" fmla="*/ 61 h 71"/>
                <a:gd name="T58" fmla="*/ 111 w 117"/>
                <a:gd name="T59" fmla="*/ 60 h 71"/>
                <a:gd name="T60" fmla="*/ 117 w 117"/>
                <a:gd name="T61" fmla="*/ 48 h 71"/>
                <a:gd name="T62" fmla="*/ 100 w 117"/>
                <a:gd name="T63" fmla="*/ 48 h 71"/>
                <a:gd name="T64" fmla="*/ 95 w 117"/>
                <a:gd name="T65" fmla="*/ 4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7" h="71">
                  <a:moveTo>
                    <a:pt x="95" y="46"/>
                  </a:moveTo>
                  <a:cubicBezTo>
                    <a:pt x="94" y="45"/>
                    <a:pt x="93" y="44"/>
                    <a:pt x="93" y="42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3"/>
                    <a:pt x="93" y="33"/>
                    <a:pt x="93" y="32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84" y="13"/>
                    <a:pt x="83" y="12"/>
                    <a:pt x="81" y="12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5" y="10"/>
                    <a:pt x="74" y="9"/>
                    <a:pt x="73" y="6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2" y="2"/>
                    <a:pt x="69" y="0"/>
                    <a:pt x="66" y="0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4"/>
                    <a:pt x="21" y="6"/>
                    <a:pt x="20" y="7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4" y="28"/>
                    <a:pt x="2" y="30"/>
                    <a:pt x="0" y="3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1"/>
                    <a:pt x="1" y="42"/>
                    <a:pt x="2" y="4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10" y="54"/>
                    <a:pt x="12" y="55"/>
                    <a:pt x="14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3" y="70"/>
                    <a:pt x="35" y="71"/>
                    <a:pt x="37" y="71"/>
                  </a:cubicBezTo>
                  <a:cubicBezTo>
                    <a:pt x="58" y="71"/>
                    <a:pt x="58" y="71"/>
                    <a:pt x="58" y="71"/>
                  </a:cubicBezTo>
                  <a:cubicBezTo>
                    <a:pt x="59" y="71"/>
                    <a:pt x="60" y="71"/>
                    <a:pt x="61" y="71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5" y="64"/>
                    <a:pt x="76" y="64"/>
                    <a:pt x="76" y="6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10" y="61"/>
                    <a:pt x="110" y="61"/>
                    <a:pt x="110" y="61"/>
                  </a:cubicBezTo>
                  <a:cubicBezTo>
                    <a:pt x="110" y="61"/>
                    <a:pt x="111" y="60"/>
                    <a:pt x="111" y="60"/>
                  </a:cubicBezTo>
                  <a:cubicBezTo>
                    <a:pt x="117" y="48"/>
                    <a:pt x="117" y="48"/>
                    <a:pt x="117" y="48"/>
                  </a:cubicBezTo>
                  <a:cubicBezTo>
                    <a:pt x="100" y="48"/>
                    <a:pt x="100" y="48"/>
                    <a:pt x="100" y="48"/>
                  </a:cubicBezTo>
                  <a:cubicBezTo>
                    <a:pt x="98" y="48"/>
                    <a:pt x="96" y="48"/>
                    <a:pt x="95" y="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31">
              <a:extLst>
                <a:ext uri="{FF2B5EF4-FFF2-40B4-BE49-F238E27FC236}">
                  <a16:creationId xmlns:a16="http://schemas.microsoft.com/office/drawing/2014/main" id="{A71DBF4E-5F7E-444B-84C1-1B06D2FABD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988" y="3670301"/>
              <a:ext cx="198438" cy="203200"/>
            </a:xfrm>
            <a:custGeom>
              <a:avLst/>
              <a:gdLst>
                <a:gd name="T0" fmla="*/ 65 w 66"/>
                <a:gd name="T1" fmla="*/ 37 h 68"/>
                <a:gd name="T2" fmla="*/ 65 w 66"/>
                <a:gd name="T3" fmla="*/ 39 h 68"/>
                <a:gd name="T4" fmla="*/ 55 w 66"/>
                <a:gd name="T5" fmla="*/ 57 h 68"/>
                <a:gd name="T6" fmla="*/ 55 w 66"/>
                <a:gd name="T7" fmla="*/ 57 h 68"/>
                <a:gd name="T8" fmla="*/ 55 w 66"/>
                <a:gd name="T9" fmla="*/ 58 h 68"/>
                <a:gd name="T10" fmla="*/ 53 w 66"/>
                <a:gd name="T11" fmla="*/ 67 h 68"/>
                <a:gd name="T12" fmla="*/ 48 w 66"/>
                <a:gd name="T13" fmla="*/ 66 h 68"/>
                <a:gd name="T14" fmla="*/ 30 w 66"/>
                <a:gd name="T15" fmla="*/ 50 h 68"/>
                <a:gd name="T16" fmla="*/ 19 w 66"/>
                <a:gd name="T17" fmla="*/ 31 h 68"/>
                <a:gd name="T18" fmla="*/ 16 w 66"/>
                <a:gd name="T19" fmla="*/ 30 h 68"/>
                <a:gd name="T20" fmla="*/ 7 w 66"/>
                <a:gd name="T21" fmla="*/ 30 h 68"/>
                <a:gd name="T22" fmla="*/ 6 w 66"/>
                <a:gd name="T23" fmla="*/ 29 h 68"/>
                <a:gd name="T24" fmla="*/ 5 w 66"/>
                <a:gd name="T25" fmla="*/ 21 h 68"/>
                <a:gd name="T26" fmla="*/ 0 w 66"/>
                <a:gd name="T27" fmla="*/ 19 h 68"/>
                <a:gd name="T28" fmla="*/ 0 w 66"/>
                <a:gd name="T29" fmla="*/ 19 h 68"/>
                <a:gd name="T30" fmla="*/ 0 w 66"/>
                <a:gd name="T31" fmla="*/ 18 h 68"/>
                <a:gd name="T32" fmla="*/ 16 w 66"/>
                <a:gd name="T33" fmla="*/ 12 h 68"/>
                <a:gd name="T34" fmla="*/ 18 w 66"/>
                <a:gd name="T35" fmla="*/ 11 h 68"/>
                <a:gd name="T36" fmla="*/ 24 w 66"/>
                <a:gd name="T37" fmla="*/ 0 h 68"/>
                <a:gd name="T38" fmla="*/ 31 w 66"/>
                <a:gd name="T39" fmla="*/ 3 h 68"/>
                <a:gd name="T40" fmla="*/ 34 w 66"/>
                <a:gd name="T41" fmla="*/ 2 h 68"/>
                <a:gd name="T42" fmla="*/ 37 w 66"/>
                <a:gd name="T43" fmla="*/ 0 h 68"/>
                <a:gd name="T44" fmla="*/ 38 w 66"/>
                <a:gd name="T45" fmla="*/ 0 h 68"/>
                <a:gd name="T46" fmla="*/ 51 w 66"/>
                <a:gd name="T47" fmla="*/ 6 h 68"/>
                <a:gd name="T48" fmla="*/ 58 w 66"/>
                <a:gd name="T49" fmla="*/ 6 h 68"/>
                <a:gd name="T50" fmla="*/ 59 w 66"/>
                <a:gd name="T51" fmla="*/ 9 h 68"/>
                <a:gd name="T52" fmla="*/ 62 w 66"/>
                <a:gd name="T53" fmla="*/ 12 h 68"/>
                <a:gd name="T54" fmla="*/ 65 w 66"/>
                <a:gd name="T55" fmla="*/ 15 h 68"/>
                <a:gd name="T56" fmla="*/ 65 w 66"/>
                <a:gd name="T57" fmla="*/ 17 h 68"/>
                <a:gd name="T58" fmla="*/ 65 w 66"/>
                <a:gd name="T59" fmla="*/ 19 h 68"/>
                <a:gd name="T60" fmla="*/ 62 w 66"/>
                <a:gd name="T61" fmla="*/ 23 h 68"/>
                <a:gd name="T62" fmla="*/ 61 w 66"/>
                <a:gd name="T63" fmla="*/ 24 h 68"/>
                <a:gd name="T64" fmla="*/ 61 w 66"/>
                <a:gd name="T65" fmla="*/ 28 h 68"/>
                <a:gd name="T66" fmla="*/ 65 w 66"/>
                <a:gd name="T67" fmla="*/ 3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6" h="68">
                  <a:moveTo>
                    <a:pt x="65" y="37"/>
                  </a:moveTo>
                  <a:cubicBezTo>
                    <a:pt x="65" y="38"/>
                    <a:pt x="65" y="39"/>
                    <a:pt x="65" y="39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8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1" y="68"/>
                    <a:pt x="49" y="67"/>
                    <a:pt x="48" y="66"/>
                  </a:cubicBezTo>
                  <a:cubicBezTo>
                    <a:pt x="42" y="61"/>
                    <a:pt x="31" y="50"/>
                    <a:pt x="30" y="50"/>
                  </a:cubicBezTo>
                  <a:cubicBezTo>
                    <a:pt x="28" y="49"/>
                    <a:pt x="22" y="36"/>
                    <a:pt x="19" y="31"/>
                  </a:cubicBezTo>
                  <a:cubicBezTo>
                    <a:pt x="18" y="30"/>
                    <a:pt x="17" y="30"/>
                    <a:pt x="16" y="30"/>
                  </a:cubicBezTo>
                  <a:cubicBezTo>
                    <a:pt x="13" y="31"/>
                    <a:pt x="10" y="32"/>
                    <a:pt x="7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4" y="27"/>
                    <a:pt x="3" y="24"/>
                    <a:pt x="5" y="21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7" y="12"/>
                    <a:pt x="18" y="11"/>
                    <a:pt x="18" y="11"/>
                  </a:cubicBezTo>
                  <a:cubicBezTo>
                    <a:pt x="20" y="8"/>
                    <a:pt x="24" y="1"/>
                    <a:pt x="24" y="0"/>
                  </a:cubicBezTo>
                  <a:cubicBezTo>
                    <a:pt x="24" y="0"/>
                    <a:pt x="28" y="1"/>
                    <a:pt x="31" y="3"/>
                  </a:cubicBezTo>
                  <a:cubicBezTo>
                    <a:pt x="32" y="3"/>
                    <a:pt x="33" y="3"/>
                    <a:pt x="34" y="2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8" y="0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4" y="7"/>
                    <a:pt x="56" y="7"/>
                    <a:pt x="58" y="6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1"/>
                    <a:pt x="60" y="12"/>
                    <a:pt x="62" y="12"/>
                  </a:cubicBezTo>
                  <a:cubicBezTo>
                    <a:pt x="63" y="12"/>
                    <a:pt x="65" y="13"/>
                    <a:pt x="65" y="15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6" y="17"/>
                    <a:pt x="65" y="18"/>
                    <a:pt x="65" y="19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0" y="25"/>
                    <a:pt x="60" y="27"/>
                    <a:pt x="61" y="28"/>
                  </a:cubicBezTo>
                  <a:lnTo>
                    <a:pt x="65" y="3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32">
              <a:extLst>
                <a:ext uri="{FF2B5EF4-FFF2-40B4-BE49-F238E27FC236}">
                  <a16:creationId xmlns:a16="http://schemas.microsoft.com/office/drawing/2014/main" id="{554FF1E4-6C9F-473F-8976-DC746CAC4C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2863" y="3286126"/>
              <a:ext cx="314325" cy="244475"/>
            </a:xfrm>
            <a:custGeom>
              <a:avLst/>
              <a:gdLst>
                <a:gd name="T0" fmla="*/ 98 w 105"/>
                <a:gd name="T1" fmla="*/ 68 h 82"/>
                <a:gd name="T2" fmla="*/ 100 w 105"/>
                <a:gd name="T3" fmla="*/ 68 h 82"/>
                <a:gd name="T4" fmla="*/ 103 w 105"/>
                <a:gd name="T5" fmla="*/ 67 h 82"/>
                <a:gd name="T6" fmla="*/ 105 w 105"/>
                <a:gd name="T7" fmla="*/ 64 h 82"/>
                <a:gd name="T8" fmla="*/ 101 w 105"/>
                <a:gd name="T9" fmla="*/ 55 h 82"/>
                <a:gd name="T10" fmla="*/ 100 w 105"/>
                <a:gd name="T11" fmla="*/ 53 h 82"/>
                <a:gd name="T12" fmla="*/ 100 w 105"/>
                <a:gd name="T13" fmla="*/ 41 h 82"/>
                <a:gd name="T14" fmla="*/ 98 w 105"/>
                <a:gd name="T15" fmla="*/ 37 h 82"/>
                <a:gd name="T16" fmla="*/ 95 w 105"/>
                <a:gd name="T17" fmla="*/ 36 h 82"/>
                <a:gd name="T18" fmla="*/ 93 w 105"/>
                <a:gd name="T19" fmla="*/ 32 h 82"/>
                <a:gd name="T20" fmla="*/ 95 w 105"/>
                <a:gd name="T21" fmla="*/ 29 h 82"/>
                <a:gd name="T22" fmla="*/ 98 w 105"/>
                <a:gd name="T23" fmla="*/ 27 h 82"/>
                <a:gd name="T24" fmla="*/ 100 w 105"/>
                <a:gd name="T25" fmla="*/ 22 h 82"/>
                <a:gd name="T26" fmla="*/ 91 w 105"/>
                <a:gd name="T27" fmla="*/ 1 h 82"/>
                <a:gd name="T28" fmla="*/ 89 w 105"/>
                <a:gd name="T29" fmla="*/ 0 h 82"/>
                <a:gd name="T30" fmla="*/ 86 w 105"/>
                <a:gd name="T31" fmla="*/ 3 h 82"/>
                <a:gd name="T32" fmla="*/ 70 w 105"/>
                <a:gd name="T33" fmla="*/ 3 h 82"/>
                <a:gd name="T34" fmla="*/ 70 w 105"/>
                <a:gd name="T35" fmla="*/ 14 h 82"/>
                <a:gd name="T36" fmla="*/ 59 w 105"/>
                <a:gd name="T37" fmla="*/ 14 h 82"/>
                <a:gd name="T38" fmla="*/ 53 w 105"/>
                <a:gd name="T39" fmla="*/ 8 h 82"/>
                <a:gd name="T40" fmla="*/ 40 w 105"/>
                <a:gd name="T41" fmla="*/ 8 h 82"/>
                <a:gd name="T42" fmla="*/ 7 w 105"/>
                <a:gd name="T43" fmla="*/ 23 h 82"/>
                <a:gd name="T44" fmla="*/ 6 w 105"/>
                <a:gd name="T45" fmla="*/ 23 h 82"/>
                <a:gd name="T46" fmla="*/ 4 w 105"/>
                <a:gd name="T47" fmla="*/ 26 h 82"/>
                <a:gd name="T48" fmla="*/ 1 w 105"/>
                <a:gd name="T49" fmla="*/ 35 h 82"/>
                <a:gd name="T50" fmla="*/ 4 w 105"/>
                <a:gd name="T51" fmla="*/ 47 h 82"/>
                <a:gd name="T52" fmla="*/ 4 w 105"/>
                <a:gd name="T53" fmla="*/ 53 h 82"/>
                <a:gd name="T54" fmla="*/ 44 w 105"/>
                <a:gd name="T55" fmla="*/ 71 h 82"/>
                <a:gd name="T56" fmla="*/ 46 w 105"/>
                <a:gd name="T57" fmla="*/ 74 h 82"/>
                <a:gd name="T58" fmla="*/ 50 w 105"/>
                <a:gd name="T59" fmla="*/ 73 h 82"/>
                <a:gd name="T60" fmla="*/ 51 w 105"/>
                <a:gd name="T61" fmla="*/ 73 h 82"/>
                <a:gd name="T62" fmla="*/ 53 w 105"/>
                <a:gd name="T63" fmla="*/ 73 h 82"/>
                <a:gd name="T64" fmla="*/ 56 w 105"/>
                <a:gd name="T65" fmla="*/ 74 h 82"/>
                <a:gd name="T66" fmla="*/ 61 w 105"/>
                <a:gd name="T67" fmla="*/ 78 h 82"/>
                <a:gd name="T68" fmla="*/ 67 w 105"/>
                <a:gd name="T69" fmla="*/ 78 h 82"/>
                <a:gd name="T70" fmla="*/ 70 w 105"/>
                <a:gd name="T71" fmla="*/ 77 h 82"/>
                <a:gd name="T72" fmla="*/ 82 w 105"/>
                <a:gd name="T73" fmla="*/ 77 h 82"/>
                <a:gd name="T74" fmla="*/ 85 w 105"/>
                <a:gd name="T75" fmla="*/ 78 h 82"/>
                <a:gd name="T76" fmla="*/ 88 w 105"/>
                <a:gd name="T77" fmla="*/ 82 h 82"/>
                <a:gd name="T78" fmla="*/ 95 w 105"/>
                <a:gd name="T79" fmla="*/ 70 h 82"/>
                <a:gd name="T80" fmla="*/ 98 w 105"/>
                <a:gd name="T81" fmla="*/ 6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5" h="82">
                  <a:moveTo>
                    <a:pt x="98" y="68"/>
                  </a:moveTo>
                  <a:cubicBezTo>
                    <a:pt x="100" y="68"/>
                    <a:pt x="100" y="68"/>
                    <a:pt x="100" y="68"/>
                  </a:cubicBezTo>
                  <a:cubicBezTo>
                    <a:pt x="101" y="68"/>
                    <a:pt x="102" y="67"/>
                    <a:pt x="103" y="67"/>
                  </a:cubicBezTo>
                  <a:cubicBezTo>
                    <a:pt x="105" y="64"/>
                    <a:pt x="105" y="64"/>
                    <a:pt x="105" y="64"/>
                  </a:cubicBezTo>
                  <a:cubicBezTo>
                    <a:pt x="101" y="55"/>
                    <a:pt x="101" y="55"/>
                    <a:pt x="101" y="55"/>
                  </a:cubicBezTo>
                  <a:cubicBezTo>
                    <a:pt x="100" y="55"/>
                    <a:pt x="100" y="54"/>
                    <a:pt x="100" y="53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39"/>
                    <a:pt x="99" y="38"/>
                    <a:pt x="98" y="37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4" y="35"/>
                    <a:pt x="93" y="34"/>
                    <a:pt x="93" y="32"/>
                  </a:cubicBezTo>
                  <a:cubicBezTo>
                    <a:pt x="93" y="31"/>
                    <a:pt x="94" y="29"/>
                    <a:pt x="95" y="2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0" y="26"/>
                    <a:pt x="101" y="24"/>
                    <a:pt x="100" y="22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0" y="1"/>
                    <a:pt x="90" y="0"/>
                    <a:pt x="89" y="0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4"/>
                    <a:pt x="5" y="25"/>
                    <a:pt x="4" y="26"/>
                  </a:cubicBezTo>
                  <a:cubicBezTo>
                    <a:pt x="1" y="28"/>
                    <a:pt x="0" y="32"/>
                    <a:pt x="1" y="35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5" y="49"/>
                    <a:pt x="4" y="52"/>
                    <a:pt x="4" y="53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2"/>
                    <a:pt x="46" y="73"/>
                    <a:pt x="46" y="74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1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4" y="73"/>
                    <a:pt x="55" y="73"/>
                    <a:pt x="56" y="74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2" y="80"/>
                    <a:pt x="65" y="80"/>
                    <a:pt x="67" y="78"/>
                  </a:cubicBezTo>
                  <a:cubicBezTo>
                    <a:pt x="68" y="77"/>
                    <a:pt x="69" y="77"/>
                    <a:pt x="70" y="77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83" y="77"/>
                    <a:pt x="84" y="77"/>
                    <a:pt x="85" y="78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6" y="69"/>
                    <a:pt x="97" y="68"/>
                    <a:pt x="98" y="6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33">
              <a:extLst>
                <a:ext uri="{FF2B5EF4-FFF2-40B4-BE49-F238E27FC236}">
                  <a16:creationId xmlns:a16="http://schemas.microsoft.com/office/drawing/2014/main" id="{08E6EB58-B3D1-478D-AF22-369F43F3A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950" y="3563938"/>
              <a:ext cx="215900" cy="128588"/>
            </a:xfrm>
            <a:custGeom>
              <a:avLst/>
              <a:gdLst>
                <a:gd name="T0" fmla="*/ 7 w 72"/>
                <a:gd name="T1" fmla="*/ 33 h 43"/>
                <a:gd name="T2" fmla="*/ 11 w 72"/>
                <a:gd name="T3" fmla="*/ 36 h 43"/>
                <a:gd name="T4" fmla="*/ 24 w 72"/>
                <a:gd name="T5" fmla="*/ 42 h 43"/>
                <a:gd name="T6" fmla="*/ 32 w 72"/>
                <a:gd name="T7" fmla="*/ 42 h 43"/>
                <a:gd name="T8" fmla="*/ 39 w 72"/>
                <a:gd name="T9" fmla="*/ 38 h 43"/>
                <a:gd name="T10" fmla="*/ 46 w 72"/>
                <a:gd name="T11" fmla="*/ 38 h 43"/>
                <a:gd name="T12" fmla="*/ 56 w 72"/>
                <a:gd name="T13" fmla="*/ 34 h 43"/>
                <a:gd name="T14" fmla="*/ 70 w 72"/>
                <a:gd name="T15" fmla="*/ 15 h 43"/>
                <a:gd name="T16" fmla="*/ 68 w 72"/>
                <a:gd name="T17" fmla="*/ 3 h 43"/>
                <a:gd name="T18" fmla="*/ 65 w 72"/>
                <a:gd name="T19" fmla="*/ 0 h 43"/>
                <a:gd name="T20" fmla="*/ 63 w 72"/>
                <a:gd name="T21" fmla="*/ 1 h 43"/>
                <a:gd name="T22" fmla="*/ 49 w 72"/>
                <a:gd name="T23" fmla="*/ 1 h 43"/>
                <a:gd name="T24" fmla="*/ 47 w 72"/>
                <a:gd name="T25" fmla="*/ 1 h 43"/>
                <a:gd name="T26" fmla="*/ 31 w 72"/>
                <a:gd name="T27" fmla="*/ 10 h 43"/>
                <a:gd name="T28" fmla="*/ 29 w 72"/>
                <a:gd name="T29" fmla="*/ 11 h 43"/>
                <a:gd name="T30" fmla="*/ 7 w 72"/>
                <a:gd name="T31" fmla="*/ 11 h 43"/>
                <a:gd name="T32" fmla="*/ 6 w 72"/>
                <a:gd name="T33" fmla="*/ 14 h 43"/>
                <a:gd name="T34" fmla="*/ 1 w 72"/>
                <a:gd name="T35" fmla="*/ 22 h 43"/>
                <a:gd name="T36" fmla="*/ 0 w 72"/>
                <a:gd name="T37" fmla="*/ 25 h 43"/>
                <a:gd name="T38" fmla="*/ 7 w 72"/>
                <a:gd name="T39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43">
                  <a:moveTo>
                    <a:pt x="7" y="33"/>
                  </a:moveTo>
                  <a:cubicBezTo>
                    <a:pt x="8" y="34"/>
                    <a:pt x="9" y="35"/>
                    <a:pt x="11" y="36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7" y="43"/>
                    <a:pt x="30" y="43"/>
                    <a:pt x="32" y="42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41" y="37"/>
                    <a:pt x="44" y="37"/>
                    <a:pt x="46" y="38"/>
                  </a:cubicBezTo>
                  <a:cubicBezTo>
                    <a:pt x="49" y="39"/>
                    <a:pt x="53" y="37"/>
                    <a:pt x="56" y="34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2" y="12"/>
                    <a:pt x="72" y="6"/>
                    <a:pt x="68" y="3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4" y="1"/>
                    <a:pt x="64" y="1"/>
                    <a:pt x="63" y="1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1"/>
                    <a:pt x="48" y="1"/>
                    <a:pt x="47" y="1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0" y="11"/>
                    <a:pt x="29" y="11"/>
                    <a:pt x="29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2"/>
                    <a:pt x="6" y="13"/>
                    <a:pt x="6" y="14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0" y="24"/>
                    <a:pt x="0" y="25"/>
                  </a:cubicBezTo>
                  <a:lnTo>
                    <a:pt x="7" y="3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34">
              <a:extLst>
                <a:ext uri="{FF2B5EF4-FFF2-40B4-BE49-F238E27FC236}">
                  <a16:creationId xmlns:a16="http://schemas.microsoft.com/office/drawing/2014/main" id="{82D0C8B6-9DBD-4649-98C4-1A91890642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600" y="3503613"/>
              <a:ext cx="215900" cy="92075"/>
            </a:xfrm>
            <a:custGeom>
              <a:avLst/>
              <a:gdLst>
                <a:gd name="T0" fmla="*/ 33 w 72"/>
                <a:gd name="T1" fmla="*/ 30 h 31"/>
                <a:gd name="T2" fmla="*/ 49 w 72"/>
                <a:gd name="T3" fmla="*/ 21 h 31"/>
                <a:gd name="T4" fmla="*/ 51 w 72"/>
                <a:gd name="T5" fmla="*/ 21 h 31"/>
                <a:gd name="T6" fmla="*/ 65 w 72"/>
                <a:gd name="T7" fmla="*/ 21 h 31"/>
                <a:gd name="T8" fmla="*/ 68 w 72"/>
                <a:gd name="T9" fmla="*/ 19 h 31"/>
                <a:gd name="T10" fmla="*/ 70 w 72"/>
                <a:gd name="T11" fmla="*/ 17 h 31"/>
                <a:gd name="T12" fmla="*/ 70 w 72"/>
                <a:gd name="T13" fmla="*/ 11 h 31"/>
                <a:gd name="T14" fmla="*/ 65 w 72"/>
                <a:gd name="T15" fmla="*/ 5 h 31"/>
                <a:gd name="T16" fmla="*/ 62 w 72"/>
                <a:gd name="T17" fmla="*/ 4 h 31"/>
                <a:gd name="T18" fmla="*/ 50 w 72"/>
                <a:gd name="T19" fmla="*/ 4 h 31"/>
                <a:gd name="T20" fmla="*/ 47 w 72"/>
                <a:gd name="T21" fmla="*/ 5 h 31"/>
                <a:gd name="T22" fmla="*/ 41 w 72"/>
                <a:gd name="T23" fmla="*/ 5 h 31"/>
                <a:gd name="T24" fmla="*/ 36 w 72"/>
                <a:gd name="T25" fmla="*/ 1 h 31"/>
                <a:gd name="T26" fmla="*/ 33 w 72"/>
                <a:gd name="T27" fmla="*/ 0 h 31"/>
                <a:gd name="T28" fmla="*/ 31 w 72"/>
                <a:gd name="T29" fmla="*/ 0 h 31"/>
                <a:gd name="T30" fmla="*/ 30 w 72"/>
                <a:gd name="T31" fmla="*/ 0 h 31"/>
                <a:gd name="T32" fmla="*/ 26 w 72"/>
                <a:gd name="T33" fmla="*/ 1 h 31"/>
                <a:gd name="T34" fmla="*/ 27 w 72"/>
                <a:gd name="T35" fmla="*/ 2 h 31"/>
                <a:gd name="T36" fmla="*/ 27 w 72"/>
                <a:gd name="T37" fmla="*/ 2 h 31"/>
                <a:gd name="T38" fmla="*/ 27 w 72"/>
                <a:gd name="T39" fmla="*/ 3 h 31"/>
                <a:gd name="T40" fmla="*/ 27 w 72"/>
                <a:gd name="T41" fmla="*/ 4 h 31"/>
                <a:gd name="T42" fmla="*/ 26 w 72"/>
                <a:gd name="T43" fmla="*/ 4 h 31"/>
                <a:gd name="T44" fmla="*/ 26 w 72"/>
                <a:gd name="T45" fmla="*/ 5 h 31"/>
                <a:gd name="T46" fmla="*/ 25 w 72"/>
                <a:gd name="T47" fmla="*/ 6 h 31"/>
                <a:gd name="T48" fmla="*/ 18 w 72"/>
                <a:gd name="T49" fmla="*/ 13 h 31"/>
                <a:gd name="T50" fmla="*/ 15 w 72"/>
                <a:gd name="T51" fmla="*/ 14 h 31"/>
                <a:gd name="T52" fmla="*/ 1 w 72"/>
                <a:gd name="T53" fmla="*/ 14 h 31"/>
                <a:gd name="T54" fmla="*/ 0 w 72"/>
                <a:gd name="T55" fmla="*/ 15 h 31"/>
                <a:gd name="T56" fmla="*/ 0 w 72"/>
                <a:gd name="T57" fmla="*/ 15 h 31"/>
                <a:gd name="T58" fmla="*/ 6 w 72"/>
                <a:gd name="T59" fmla="*/ 20 h 31"/>
                <a:gd name="T60" fmla="*/ 8 w 72"/>
                <a:gd name="T61" fmla="*/ 28 h 31"/>
                <a:gd name="T62" fmla="*/ 9 w 72"/>
                <a:gd name="T63" fmla="*/ 31 h 31"/>
                <a:gd name="T64" fmla="*/ 31 w 72"/>
                <a:gd name="T65" fmla="*/ 31 h 31"/>
                <a:gd name="T66" fmla="*/ 33 w 72"/>
                <a:gd name="T67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2" h="31">
                  <a:moveTo>
                    <a:pt x="33" y="30"/>
                  </a:move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1" y="21"/>
                    <a:pt x="51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6" y="21"/>
                    <a:pt x="67" y="20"/>
                    <a:pt x="68" y="19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2" y="15"/>
                    <a:pt x="72" y="13"/>
                    <a:pt x="70" y="11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4" y="4"/>
                    <a:pt x="63" y="4"/>
                    <a:pt x="62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9" y="4"/>
                    <a:pt x="48" y="4"/>
                    <a:pt x="47" y="5"/>
                  </a:cubicBezTo>
                  <a:cubicBezTo>
                    <a:pt x="45" y="7"/>
                    <a:pt x="42" y="7"/>
                    <a:pt x="41" y="5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5" y="0"/>
                    <a:pt x="34" y="0"/>
                    <a:pt x="3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1"/>
                    <a:pt x="27" y="1"/>
                    <a:pt x="27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2"/>
                    <a:pt x="27" y="3"/>
                    <a:pt x="27" y="3"/>
                  </a:cubicBezTo>
                  <a:cubicBezTo>
                    <a:pt x="27" y="3"/>
                    <a:pt x="27" y="3"/>
                    <a:pt x="27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6" y="6"/>
                    <a:pt x="25" y="6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7" y="14"/>
                    <a:pt x="16" y="14"/>
                    <a:pt x="15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0" y="14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3" y="15"/>
                    <a:pt x="5" y="18"/>
                    <a:pt x="6" y="20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9" y="29"/>
                    <a:pt x="9" y="30"/>
                    <a:pt x="9" y="31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1" y="31"/>
                    <a:pt x="32" y="31"/>
                    <a:pt x="33" y="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35">
              <a:extLst>
                <a:ext uri="{FF2B5EF4-FFF2-40B4-BE49-F238E27FC236}">
                  <a16:creationId xmlns:a16="http://schemas.microsoft.com/office/drawing/2014/main" id="{98246F78-A7A8-43E2-AAEA-0B965896E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6163" y="3595688"/>
              <a:ext cx="161925" cy="128588"/>
            </a:xfrm>
            <a:custGeom>
              <a:avLst/>
              <a:gdLst>
                <a:gd name="T0" fmla="*/ 47 w 54"/>
                <a:gd name="T1" fmla="*/ 24 h 43"/>
                <a:gd name="T2" fmla="*/ 52 w 54"/>
                <a:gd name="T3" fmla="*/ 21 h 43"/>
                <a:gd name="T4" fmla="*/ 54 w 54"/>
                <a:gd name="T5" fmla="*/ 17 h 43"/>
                <a:gd name="T6" fmla="*/ 51 w 54"/>
                <a:gd name="T7" fmla="*/ 13 h 43"/>
                <a:gd name="T8" fmla="*/ 49 w 54"/>
                <a:gd name="T9" fmla="*/ 13 h 43"/>
                <a:gd name="T10" fmla="*/ 45 w 54"/>
                <a:gd name="T11" fmla="*/ 8 h 43"/>
                <a:gd name="T12" fmla="*/ 45 w 54"/>
                <a:gd name="T13" fmla="*/ 7 h 43"/>
                <a:gd name="T14" fmla="*/ 45 w 54"/>
                <a:gd name="T15" fmla="*/ 7 h 43"/>
                <a:gd name="T16" fmla="*/ 41 w 54"/>
                <a:gd name="T17" fmla="*/ 6 h 43"/>
                <a:gd name="T18" fmla="*/ 31 w 54"/>
                <a:gd name="T19" fmla="*/ 1 h 43"/>
                <a:gd name="T20" fmla="*/ 27 w 54"/>
                <a:gd name="T21" fmla="*/ 0 h 43"/>
                <a:gd name="T22" fmla="*/ 19 w 54"/>
                <a:gd name="T23" fmla="*/ 0 h 43"/>
                <a:gd name="T24" fmla="*/ 1 w 54"/>
                <a:gd name="T25" fmla="*/ 29 h 43"/>
                <a:gd name="T26" fmla="*/ 4 w 54"/>
                <a:gd name="T27" fmla="*/ 34 h 43"/>
                <a:gd name="T28" fmla="*/ 5 w 54"/>
                <a:gd name="T29" fmla="*/ 34 h 43"/>
                <a:gd name="T30" fmla="*/ 8 w 54"/>
                <a:gd name="T31" fmla="*/ 37 h 43"/>
                <a:gd name="T32" fmla="*/ 8 w 54"/>
                <a:gd name="T33" fmla="*/ 43 h 43"/>
                <a:gd name="T34" fmla="*/ 9 w 54"/>
                <a:gd name="T35" fmla="*/ 43 h 43"/>
                <a:gd name="T36" fmla="*/ 15 w 54"/>
                <a:gd name="T37" fmla="*/ 43 h 43"/>
                <a:gd name="T38" fmla="*/ 19 w 54"/>
                <a:gd name="T39" fmla="*/ 39 h 43"/>
                <a:gd name="T40" fmla="*/ 23 w 54"/>
                <a:gd name="T41" fmla="*/ 35 h 43"/>
                <a:gd name="T42" fmla="*/ 37 w 54"/>
                <a:gd name="T43" fmla="*/ 35 h 43"/>
                <a:gd name="T44" fmla="*/ 44 w 54"/>
                <a:gd name="T45" fmla="*/ 32 h 43"/>
                <a:gd name="T46" fmla="*/ 44 w 54"/>
                <a:gd name="T47" fmla="*/ 32 h 43"/>
                <a:gd name="T48" fmla="*/ 44 w 54"/>
                <a:gd name="T49" fmla="*/ 29 h 43"/>
                <a:gd name="T50" fmla="*/ 47 w 54"/>
                <a:gd name="T51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43">
                  <a:moveTo>
                    <a:pt x="47" y="24"/>
                  </a:moveTo>
                  <a:cubicBezTo>
                    <a:pt x="52" y="21"/>
                    <a:pt x="52" y="21"/>
                    <a:pt x="52" y="21"/>
                  </a:cubicBezTo>
                  <a:cubicBezTo>
                    <a:pt x="54" y="20"/>
                    <a:pt x="54" y="18"/>
                    <a:pt x="54" y="17"/>
                  </a:cubicBezTo>
                  <a:cubicBezTo>
                    <a:pt x="54" y="15"/>
                    <a:pt x="53" y="13"/>
                    <a:pt x="51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7" y="13"/>
                    <a:pt x="45" y="11"/>
                    <a:pt x="45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3" y="7"/>
                    <a:pt x="42" y="6"/>
                    <a:pt x="41" y="6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0" y="0"/>
                    <a:pt x="28" y="0"/>
                    <a:pt x="27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0" y="31"/>
                    <a:pt x="1" y="34"/>
                    <a:pt x="4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7" y="34"/>
                    <a:pt x="8" y="36"/>
                    <a:pt x="8" y="37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7" y="43"/>
                    <a:pt x="19" y="41"/>
                    <a:pt x="19" y="39"/>
                  </a:cubicBezTo>
                  <a:cubicBezTo>
                    <a:pt x="19" y="37"/>
                    <a:pt x="21" y="35"/>
                    <a:pt x="23" y="35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40" y="35"/>
                    <a:pt x="42" y="34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7"/>
                    <a:pt x="45" y="25"/>
                    <a:pt x="47" y="2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36">
              <a:extLst>
                <a:ext uri="{FF2B5EF4-FFF2-40B4-BE49-F238E27FC236}">
                  <a16:creationId xmlns:a16="http://schemas.microsoft.com/office/drawing/2014/main" id="{AD209265-3788-4AA4-81DF-9FC34F127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0" y="3365501"/>
              <a:ext cx="119063" cy="114300"/>
            </a:xfrm>
            <a:custGeom>
              <a:avLst/>
              <a:gdLst>
                <a:gd name="T0" fmla="*/ 24 w 40"/>
                <a:gd name="T1" fmla="*/ 31 h 38"/>
                <a:gd name="T2" fmla="*/ 32 w 40"/>
                <a:gd name="T3" fmla="*/ 17 h 38"/>
                <a:gd name="T4" fmla="*/ 40 w 40"/>
                <a:gd name="T5" fmla="*/ 4 h 38"/>
                <a:gd name="T6" fmla="*/ 40 w 40"/>
                <a:gd name="T7" fmla="*/ 2 h 38"/>
                <a:gd name="T8" fmla="*/ 39 w 40"/>
                <a:gd name="T9" fmla="*/ 0 h 38"/>
                <a:gd name="T10" fmla="*/ 24 w 40"/>
                <a:gd name="T11" fmla="*/ 1 h 38"/>
                <a:gd name="T12" fmla="*/ 22 w 40"/>
                <a:gd name="T13" fmla="*/ 1 h 38"/>
                <a:gd name="T14" fmla="*/ 17 w 40"/>
                <a:gd name="T15" fmla="*/ 5 h 38"/>
                <a:gd name="T16" fmla="*/ 16 w 40"/>
                <a:gd name="T17" fmla="*/ 9 h 38"/>
                <a:gd name="T18" fmla="*/ 18 w 40"/>
                <a:gd name="T19" fmla="*/ 13 h 38"/>
                <a:gd name="T20" fmla="*/ 16 w 40"/>
                <a:gd name="T21" fmla="*/ 17 h 38"/>
                <a:gd name="T22" fmla="*/ 11 w 40"/>
                <a:gd name="T23" fmla="*/ 15 h 38"/>
                <a:gd name="T24" fmla="*/ 11 w 40"/>
                <a:gd name="T25" fmla="*/ 15 h 38"/>
                <a:gd name="T26" fmla="*/ 6 w 40"/>
                <a:gd name="T27" fmla="*/ 13 h 38"/>
                <a:gd name="T28" fmla="*/ 4 w 40"/>
                <a:gd name="T29" fmla="*/ 15 h 38"/>
                <a:gd name="T30" fmla="*/ 2 w 40"/>
                <a:gd name="T31" fmla="*/ 17 h 38"/>
                <a:gd name="T32" fmla="*/ 0 w 40"/>
                <a:gd name="T33" fmla="*/ 26 h 38"/>
                <a:gd name="T34" fmla="*/ 9 w 40"/>
                <a:gd name="T35" fmla="*/ 26 h 38"/>
                <a:gd name="T36" fmla="*/ 23 w 40"/>
                <a:gd name="T37" fmla="*/ 36 h 38"/>
                <a:gd name="T38" fmla="*/ 24 w 40"/>
                <a:gd name="T39" fmla="*/ 37 h 38"/>
                <a:gd name="T40" fmla="*/ 24 w 40"/>
                <a:gd name="T41" fmla="*/ 38 h 38"/>
                <a:gd name="T42" fmla="*/ 24 w 40"/>
                <a:gd name="T43" fmla="*/ 38 h 38"/>
                <a:gd name="T44" fmla="*/ 24 w 40"/>
                <a:gd name="T45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38">
                  <a:moveTo>
                    <a:pt x="24" y="31"/>
                  </a:moveTo>
                  <a:cubicBezTo>
                    <a:pt x="24" y="25"/>
                    <a:pt x="27" y="20"/>
                    <a:pt x="32" y="17"/>
                  </a:cubicBezTo>
                  <a:cubicBezTo>
                    <a:pt x="37" y="14"/>
                    <a:pt x="40" y="9"/>
                    <a:pt x="40" y="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2"/>
                    <a:pt x="40" y="1"/>
                    <a:pt x="39" y="0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4" y="1"/>
                    <a:pt x="23" y="1"/>
                    <a:pt x="22" y="1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6"/>
                    <a:pt x="16" y="8"/>
                    <a:pt x="16" y="9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5"/>
                    <a:pt x="18" y="16"/>
                    <a:pt x="16" y="17"/>
                  </a:cubicBezTo>
                  <a:cubicBezTo>
                    <a:pt x="15" y="19"/>
                    <a:pt x="12" y="18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3"/>
                    <a:pt x="8" y="12"/>
                    <a:pt x="6" y="13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3" y="16"/>
                    <a:pt x="2" y="1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15" y="26"/>
                    <a:pt x="21" y="30"/>
                    <a:pt x="23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8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lnTo>
                    <a:pt x="24" y="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37">
              <a:extLst>
                <a:ext uri="{FF2B5EF4-FFF2-40B4-BE49-F238E27FC236}">
                  <a16:creationId xmlns:a16="http://schemas.microsoft.com/office/drawing/2014/main" id="{CFD186DA-F4CB-4426-AECD-DCFCE4A8A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7575" y="3443288"/>
              <a:ext cx="128588" cy="107950"/>
            </a:xfrm>
            <a:custGeom>
              <a:avLst/>
              <a:gdLst>
                <a:gd name="T0" fmla="*/ 39 w 43"/>
                <a:gd name="T1" fmla="*/ 28 h 36"/>
                <a:gd name="T2" fmla="*/ 42 w 43"/>
                <a:gd name="T3" fmla="*/ 22 h 36"/>
                <a:gd name="T4" fmla="*/ 42 w 43"/>
                <a:gd name="T5" fmla="*/ 11 h 36"/>
                <a:gd name="T6" fmla="*/ 41 w 43"/>
                <a:gd name="T7" fmla="*/ 10 h 36"/>
                <a:gd name="T8" fmla="*/ 27 w 43"/>
                <a:gd name="T9" fmla="*/ 0 h 36"/>
                <a:gd name="T10" fmla="*/ 18 w 43"/>
                <a:gd name="T11" fmla="*/ 0 h 36"/>
                <a:gd name="T12" fmla="*/ 18 w 43"/>
                <a:gd name="T13" fmla="*/ 1 h 36"/>
                <a:gd name="T14" fmla="*/ 17 w 43"/>
                <a:gd name="T15" fmla="*/ 3 h 36"/>
                <a:gd name="T16" fmla="*/ 4 w 43"/>
                <a:gd name="T17" fmla="*/ 14 h 36"/>
                <a:gd name="T18" fmla="*/ 0 w 43"/>
                <a:gd name="T19" fmla="*/ 15 h 36"/>
                <a:gd name="T20" fmla="*/ 26 w 43"/>
                <a:gd name="T21" fmla="*/ 35 h 36"/>
                <a:gd name="T22" fmla="*/ 28 w 43"/>
                <a:gd name="T23" fmla="*/ 36 h 36"/>
                <a:gd name="T24" fmla="*/ 32 w 43"/>
                <a:gd name="T25" fmla="*/ 36 h 36"/>
                <a:gd name="T26" fmla="*/ 39 w 43"/>
                <a:gd name="T2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" h="36">
                  <a:moveTo>
                    <a:pt x="39" y="28"/>
                  </a:moveTo>
                  <a:cubicBezTo>
                    <a:pt x="42" y="22"/>
                    <a:pt x="42" y="22"/>
                    <a:pt x="42" y="22"/>
                  </a:cubicBezTo>
                  <a:cubicBezTo>
                    <a:pt x="43" y="19"/>
                    <a:pt x="43" y="14"/>
                    <a:pt x="42" y="11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9" y="4"/>
                    <a:pt x="33" y="0"/>
                    <a:pt x="2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6"/>
                    <a:pt x="27" y="36"/>
                    <a:pt x="28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5" y="34"/>
                    <a:pt x="38" y="31"/>
                    <a:pt x="39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38">
              <a:extLst>
                <a:ext uri="{FF2B5EF4-FFF2-40B4-BE49-F238E27FC236}">
                  <a16:creationId xmlns:a16="http://schemas.microsoft.com/office/drawing/2014/main" id="{411C47A8-DD99-4E8C-911F-5FD060AD23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5" y="3662363"/>
              <a:ext cx="409575" cy="396875"/>
            </a:xfrm>
            <a:custGeom>
              <a:avLst/>
              <a:gdLst>
                <a:gd name="T0" fmla="*/ 70 w 137"/>
                <a:gd name="T1" fmla="*/ 9 h 133"/>
                <a:gd name="T2" fmla="*/ 64 w 137"/>
                <a:gd name="T3" fmla="*/ 5 h 133"/>
                <a:gd name="T4" fmla="*/ 51 w 137"/>
                <a:gd name="T5" fmla="*/ 2 h 133"/>
                <a:gd name="T6" fmla="*/ 44 w 137"/>
                <a:gd name="T7" fmla="*/ 6 h 133"/>
                <a:gd name="T8" fmla="*/ 36 w 137"/>
                <a:gd name="T9" fmla="*/ 10 h 133"/>
                <a:gd name="T10" fmla="*/ 15 w 137"/>
                <a:gd name="T11" fmla="*/ 13 h 133"/>
                <a:gd name="T12" fmla="*/ 7 w 137"/>
                <a:gd name="T13" fmla="*/ 21 h 133"/>
                <a:gd name="T14" fmla="*/ 0 w 137"/>
                <a:gd name="T15" fmla="*/ 21 h 133"/>
                <a:gd name="T16" fmla="*/ 4 w 137"/>
                <a:gd name="T17" fmla="*/ 41 h 133"/>
                <a:gd name="T18" fmla="*/ 7 w 137"/>
                <a:gd name="T19" fmla="*/ 51 h 133"/>
                <a:gd name="T20" fmla="*/ 26 w 137"/>
                <a:gd name="T21" fmla="*/ 43 h 133"/>
                <a:gd name="T22" fmla="*/ 40 w 137"/>
                <a:gd name="T23" fmla="*/ 55 h 133"/>
                <a:gd name="T24" fmla="*/ 50 w 137"/>
                <a:gd name="T25" fmla="*/ 68 h 133"/>
                <a:gd name="T26" fmla="*/ 64 w 137"/>
                <a:gd name="T27" fmla="*/ 79 h 133"/>
                <a:gd name="T28" fmla="*/ 81 w 137"/>
                <a:gd name="T29" fmla="*/ 87 h 133"/>
                <a:gd name="T30" fmla="*/ 94 w 137"/>
                <a:gd name="T31" fmla="*/ 99 h 133"/>
                <a:gd name="T32" fmla="*/ 108 w 137"/>
                <a:gd name="T33" fmla="*/ 111 h 133"/>
                <a:gd name="T34" fmla="*/ 109 w 137"/>
                <a:gd name="T35" fmla="*/ 114 h 133"/>
                <a:gd name="T36" fmla="*/ 108 w 137"/>
                <a:gd name="T37" fmla="*/ 133 h 133"/>
                <a:gd name="T38" fmla="*/ 117 w 137"/>
                <a:gd name="T39" fmla="*/ 123 h 133"/>
                <a:gd name="T40" fmla="*/ 121 w 137"/>
                <a:gd name="T41" fmla="*/ 115 h 133"/>
                <a:gd name="T42" fmla="*/ 116 w 137"/>
                <a:gd name="T43" fmla="*/ 105 h 133"/>
                <a:gd name="T44" fmla="*/ 120 w 137"/>
                <a:gd name="T45" fmla="*/ 100 h 133"/>
                <a:gd name="T46" fmla="*/ 130 w 137"/>
                <a:gd name="T47" fmla="*/ 106 h 133"/>
                <a:gd name="T48" fmla="*/ 137 w 137"/>
                <a:gd name="T49" fmla="*/ 106 h 133"/>
                <a:gd name="T50" fmla="*/ 133 w 137"/>
                <a:gd name="T51" fmla="*/ 97 h 133"/>
                <a:gd name="T52" fmla="*/ 117 w 137"/>
                <a:gd name="T53" fmla="*/ 88 h 133"/>
                <a:gd name="T54" fmla="*/ 109 w 137"/>
                <a:gd name="T55" fmla="*/ 84 h 133"/>
                <a:gd name="T56" fmla="*/ 102 w 137"/>
                <a:gd name="T57" fmla="*/ 78 h 133"/>
                <a:gd name="T58" fmla="*/ 91 w 137"/>
                <a:gd name="T59" fmla="*/ 74 h 133"/>
                <a:gd name="T60" fmla="*/ 82 w 137"/>
                <a:gd name="T61" fmla="*/ 56 h 133"/>
                <a:gd name="T62" fmla="*/ 63 w 137"/>
                <a:gd name="T63" fmla="*/ 41 h 133"/>
                <a:gd name="T64" fmla="*/ 68 w 137"/>
                <a:gd name="T65" fmla="*/ 22 h 133"/>
                <a:gd name="T66" fmla="*/ 76 w 137"/>
                <a:gd name="T67" fmla="*/ 22 h 133"/>
                <a:gd name="T68" fmla="*/ 76 w 137"/>
                <a:gd name="T69" fmla="*/ 2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" h="133">
                  <a:moveTo>
                    <a:pt x="76" y="20"/>
                  </a:moveTo>
                  <a:cubicBezTo>
                    <a:pt x="78" y="15"/>
                    <a:pt x="75" y="10"/>
                    <a:pt x="70" y="9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5" y="7"/>
                    <a:pt x="64" y="6"/>
                    <a:pt x="64" y="5"/>
                  </a:cubicBezTo>
                  <a:cubicBezTo>
                    <a:pt x="63" y="3"/>
                    <a:pt x="61" y="2"/>
                    <a:pt x="59" y="2"/>
                  </a:cubicBezTo>
                  <a:cubicBezTo>
                    <a:pt x="59" y="2"/>
                    <a:pt x="52" y="0"/>
                    <a:pt x="51" y="2"/>
                  </a:cubicBezTo>
                  <a:cubicBezTo>
                    <a:pt x="50" y="3"/>
                    <a:pt x="50" y="6"/>
                    <a:pt x="50" y="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2" y="6"/>
                    <a:pt x="39" y="7"/>
                    <a:pt x="38" y="8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4" y="12"/>
                    <a:pt x="32" y="13"/>
                    <a:pt x="29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3" y="13"/>
                    <a:pt x="11" y="15"/>
                    <a:pt x="11" y="17"/>
                  </a:cubicBezTo>
                  <a:cubicBezTo>
                    <a:pt x="11" y="19"/>
                    <a:pt x="9" y="21"/>
                    <a:pt x="7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0" y="21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0"/>
                    <a:pt x="2" y="41"/>
                    <a:pt x="4" y="41"/>
                  </a:cubicBezTo>
                  <a:cubicBezTo>
                    <a:pt x="5" y="41"/>
                    <a:pt x="7" y="42"/>
                    <a:pt x="7" y="44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7" y="44"/>
                    <a:pt x="22" y="42"/>
                    <a:pt x="26" y="43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35" y="46"/>
                    <a:pt x="39" y="50"/>
                    <a:pt x="40" y="55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3" y="62"/>
                    <a:pt x="46" y="66"/>
                    <a:pt x="50" y="68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7" y="83"/>
                    <a:pt x="72" y="86"/>
                    <a:pt x="77" y="87"/>
                  </a:cubicBezTo>
                  <a:cubicBezTo>
                    <a:pt x="79" y="87"/>
                    <a:pt x="81" y="87"/>
                    <a:pt x="81" y="87"/>
                  </a:cubicBezTo>
                  <a:cubicBezTo>
                    <a:pt x="82" y="87"/>
                    <a:pt x="85" y="92"/>
                    <a:pt x="88" y="95"/>
                  </a:cubicBezTo>
                  <a:cubicBezTo>
                    <a:pt x="89" y="97"/>
                    <a:pt x="92" y="98"/>
                    <a:pt x="94" y="99"/>
                  </a:cubicBezTo>
                  <a:cubicBezTo>
                    <a:pt x="97" y="100"/>
                    <a:pt x="97" y="100"/>
                    <a:pt x="97" y="100"/>
                  </a:cubicBezTo>
                  <a:cubicBezTo>
                    <a:pt x="102" y="102"/>
                    <a:pt x="106" y="106"/>
                    <a:pt x="108" y="111"/>
                  </a:cubicBezTo>
                  <a:cubicBezTo>
                    <a:pt x="108" y="111"/>
                    <a:pt x="108" y="111"/>
                    <a:pt x="108" y="111"/>
                  </a:cubicBezTo>
                  <a:cubicBezTo>
                    <a:pt x="109" y="112"/>
                    <a:pt x="109" y="113"/>
                    <a:pt x="109" y="114"/>
                  </a:cubicBezTo>
                  <a:cubicBezTo>
                    <a:pt x="109" y="114"/>
                    <a:pt x="105" y="127"/>
                    <a:pt x="106" y="131"/>
                  </a:cubicBezTo>
                  <a:cubicBezTo>
                    <a:pt x="106" y="132"/>
                    <a:pt x="107" y="133"/>
                    <a:pt x="108" y="133"/>
                  </a:cubicBezTo>
                  <a:cubicBezTo>
                    <a:pt x="111" y="133"/>
                    <a:pt x="116" y="124"/>
                    <a:pt x="116" y="124"/>
                  </a:cubicBezTo>
                  <a:cubicBezTo>
                    <a:pt x="116" y="124"/>
                    <a:pt x="117" y="124"/>
                    <a:pt x="117" y="123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22" y="120"/>
                    <a:pt x="122" y="117"/>
                    <a:pt x="121" y="115"/>
                  </a:cubicBezTo>
                  <a:cubicBezTo>
                    <a:pt x="117" y="110"/>
                    <a:pt x="117" y="110"/>
                    <a:pt x="117" y="110"/>
                  </a:cubicBezTo>
                  <a:cubicBezTo>
                    <a:pt x="116" y="109"/>
                    <a:pt x="116" y="107"/>
                    <a:pt x="116" y="105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17" y="102"/>
                    <a:pt x="119" y="100"/>
                    <a:pt x="120" y="100"/>
                  </a:cubicBezTo>
                  <a:cubicBezTo>
                    <a:pt x="122" y="100"/>
                    <a:pt x="124" y="100"/>
                    <a:pt x="125" y="101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31" y="107"/>
                    <a:pt x="133" y="108"/>
                    <a:pt x="135" y="107"/>
                  </a:cubicBezTo>
                  <a:cubicBezTo>
                    <a:pt x="137" y="106"/>
                    <a:pt x="137" y="106"/>
                    <a:pt x="137" y="106"/>
                  </a:cubicBezTo>
                  <a:cubicBezTo>
                    <a:pt x="135" y="100"/>
                    <a:pt x="135" y="100"/>
                    <a:pt x="135" y="100"/>
                  </a:cubicBezTo>
                  <a:cubicBezTo>
                    <a:pt x="135" y="98"/>
                    <a:pt x="134" y="97"/>
                    <a:pt x="133" y="97"/>
                  </a:cubicBezTo>
                  <a:cubicBezTo>
                    <a:pt x="118" y="88"/>
                    <a:pt x="118" y="88"/>
                    <a:pt x="118" y="8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14" y="88"/>
                    <a:pt x="112" y="87"/>
                    <a:pt x="110" y="85"/>
                  </a:cubicBezTo>
                  <a:cubicBezTo>
                    <a:pt x="109" y="84"/>
                    <a:pt x="109" y="84"/>
                    <a:pt x="109" y="84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09" y="79"/>
                    <a:pt x="105" y="78"/>
                    <a:pt x="102" y="78"/>
                  </a:cubicBezTo>
                  <a:cubicBezTo>
                    <a:pt x="102" y="78"/>
                    <a:pt x="102" y="78"/>
                    <a:pt x="102" y="78"/>
                  </a:cubicBezTo>
                  <a:cubicBezTo>
                    <a:pt x="98" y="78"/>
                    <a:pt x="94" y="77"/>
                    <a:pt x="91" y="74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5" y="45"/>
                    <a:pt x="64" y="43"/>
                    <a:pt x="63" y="41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0" y="29"/>
                    <a:pt x="63" y="23"/>
                    <a:pt x="68" y="2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6" y="22"/>
                    <a:pt x="76" y="22"/>
                  </a:cubicBezTo>
                  <a:lnTo>
                    <a:pt x="76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39">
              <a:extLst>
                <a:ext uri="{FF2B5EF4-FFF2-40B4-BE49-F238E27FC236}">
                  <a16:creationId xmlns:a16="http://schemas.microsoft.com/office/drawing/2014/main" id="{1A02D1DD-B75C-499C-98CB-F0F26534F4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3489326"/>
              <a:ext cx="466725" cy="384175"/>
            </a:xfrm>
            <a:custGeom>
              <a:avLst/>
              <a:gdLst>
                <a:gd name="T0" fmla="*/ 147 w 156"/>
                <a:gd name="T1" fmla="*/ 99 h 129"/>
                <a:gd name="T2" fmla="*/ 143 w 156"/>
                <a:gd name="T3" fmla="*/ 96 h 129"/>
                <a:gd name="T4" fmla="*/ 143 w 156"/>
                <a:gd name="T5" fmla="*/ 73 h 129"/>
                <a:gd name="T6" fmla="*/ 140 w 156"/>
                <a:gd name="T7" fmla="*/ 70 h 129"/>
                <a:gd name="T8" fmla="*/ 139 w 156"/>
                <a:gd name="T9" fmla="*/ 70 h 129"/>
                <a:gd name="T10" fmla="*/ 136 w 156"/>
                <a:gd name="T11" fmla="*/ 65 h 129"/>
                <a:gd name="T12" fmla="*/ 155 w 156"/>
                <a:gd name="T13" fmla="*/ 35 h 129"/>
                <a:gd name="T14" fmla="*/ 156 w 156"/>
                <a:gd name="T15" fmla="*/ 33 h 129"/>
                <a:gd name="T16" fmla="*/ 156 w 156"/>
                <a:gd name="T17" fmla="*/ 30 h 129"/>
                <a:gd name="T18" fmla="*/ 152 w 156"/>
                <a:gd name="T19" fmla="*/ 27 h 129"/>
                <a:gd name="T20" fmla="*/ 143 w 156"/>
                <a:gd name="T21" fmla="*/ 27 h 129"/>
                <a:gd name="T22" fmla="*/ 140 w 156"/>
                <a:gd name="T23" fmla="*/ 26 h 129"/>
                <a:gd name="T24" fmla="*/ 136 w 156"/>
                <a:gd name="T25" fmla="*/ 22 h 129"/>
                <a:gd name="T26" fmla="*/ 134 w 156"/>
                <a:gd name="T27" fmla="*/ 21 h 129"/>
                <a:gd name="T28" fmla="*/ 120 w 156"/>
                <a:gd name="T29" fmla="*/ 21 h 129"/>
                <a:gd name="T30" fmla="*/ 118 w 156"/>
                <a:gd name="T31" fmla="*/ 20 h 129"/>
                <a:gd name="T32" fmla="*/ 92 w 156"/>
                <a:gd name="T33" fmla="*/ 0 h 129"/>
                <a:gd name="T34" fmla="*/ 83 w 156"/>
                <a:gd name="T35" fmla="*/ 4 h 129"/>
                <a:gd name="T36" fmla="*/ 82 w 156"/>
                <a:gd name="T37" fmla="*/ 13 h 129"/>
                <a:gd name="T38" fmla="*/ 61 w 156"/>
                <a:gd name="T39" fmla="*/ 25 h 129"/>
                <a:gd name="T40" fmla="*/ 57 w 156"/>
                <a:gd name="T41" fmla="*/ 26 h 129"/>
                <a:gd name="T42" fmla="*/ 44 w 156"/>
                <a:gd name="T43" fmla="*/ 21 h 129"/>
                <a:gd name="T44" fmla="*/ 39 w 156"/>
                <a:gd name="T45" fmla="*/ 22 h 129"/>
                <a:gd name="T46" fmla="*/ 42 w 156"/>
                <a:gd name="T47" fmla="*/ 28 h 129"/>
                <a:gd name="T48" fmla="*/ 40 w 156"/>
                <a:gd name="T49" fmla="*/ 34 h 129"/>
                <a:gd name="T50" fmla="*/ 35 w 156"/>
                <a:gd name="T51" fmla="*/ 36 h 129"/>
                <a:gd name="T52" fmla="*/ 33 w 156"/>
                <a:gd name="T53" fmla="*/ 37 h 129"/>
                <a:gd name="T54" fmla="*/ 33 w 156"/>
                <a:gd name="T55" fmla="*/ 37 h 129"/>
                <a:gd name="T56" fmla="*/ 26 w 156"/>
                <a:gd name="T57" fmla="*/ 38 h 129"/>
                <a:gd name="T58" fmla="*/ 26 w 156"/>
                <a:gd name="T59" fmla="*/ 37 h 129"/>
                <a:gd name="T60" fmla="*/ 23 w 156"/>
                <a:gd name="T61" fmla="*/ 36 h 129"/>
                <a:gd name="T62" fmla="*/ 6 w 156"/>
                <a:gd name="T63" fmla="*/ 36 h 129"/>
                <a:gd name="T64" fmla="*/ 3 w 156"/>
                <a:gd name="T65" fmla="*/ 37 h 129"/>
                <a:gd name="T66" fmla="*/ 1 w 156"/>
                <a:gd name="T67" fmla="*/ 39 h 129"/>
                <a:gd name="T68" fmla="*/ 1 w 156"/>
                <a:gd name="T69" fmla="*/ 44 h 129"/>
                <a:gd name="T70" fmla="*/ 3 w 156"/>
                <a:gd name="T71" fmla="*/ 48 h 129"/>
                <a:gd name="T72" fmla="*/ 6 w 156"/>
                <a:gd name="T73" fmla="*/ 50 h 129"/>
                <a:gd name="T74" fmla="*/ 22 w 156"/>
                <a:gd name="T75" fmla="*/ 50 h 129"/>
                <a:gd name="T76" fmla="*/ 25 w 156"/>
                <a:gd name="T77" fmla="*/ 51 h 129"/>
                <a:gd name="T78" fmla="*/ 41 w 156"/>
                <a:gd name="T79" fmla="*/ 71 h 129"/>
                <a:gd name="T80" fmla="*/ 41 w 156"/>
                <a:gd name="T81" fmla="*/ 71 h 129"/>
                <a:gd name="T82" fmla="*/ 47 w 156"/>
                <a:gd name="T83" fmla="*/ 80 h 129"/>
                <a:gd name="T84" fmla="*/ 45 w 156"/>
                <a:gd name="T85" fmla="*/ 86 h 129"/>
                <a:gd name="T86" fmla="*/ 42 w 156"/>
                <a:gd name="T87" fmla="*/ 90 h 129"/>
                <a:gd name="T88" fmla="*/ 42 w 156"/>
                <a:gd name="T89" fmla="*/ 110 h 129"/>
                <a:gd name="T90" fmla="*/ 39 w 156"/>
                <a:gd name="T91" fmla="*/ 114 h 129"/>
                <a:gd name="T92" fmla="*/ 64 w 156"/>
                <a:gd name="T93" fmla="*/ 123 h 129"/>
                <a:gd name="T94" fmla="*/ 71 w 156"/>
                <a:gd name="T95" fmla="*/ 122 h 129"/>
                <a:gd name="T96" fmla="*/ 78 w 156"/>
                <a:gd name="T97" fmla="*/ 120 h 129"/>
                <a:gd name="T98" fmla="*/ 99 w 156"/>
                <a:gd name="T99" fmla="*/ 129 h 129"/>
                <a:gd name="T100" fmla="*/ 100 w 156"/>
                <a:gd name="T101" fmla="*/ 128 h 129"/>
                <a:gd name="T102" fmla="*/ 99 w 156"/>
                <a:gd name="T103" fmla="*/ 124 h 129"/>
                <a:gd name="T104" fmla="*/ 103 w 156"/>
                <a:gd name="T105" fmla="*/ 115 h 129"/>
                <a:gd name="T106" fmla="*/ 104 w 156"/>
                <a:gd name="T107" fmla="*/ 114 h 129"/>
                <a:gd name="T108" fmla="*/ 109 w 156"/>
                <a:gd name="T109" fmla="*/ 113 h 129"/>
                <a:gd name="T110" fmla="*/ 128 w 156"/>
                <a:gd name="T111" fmla="*/ 117 h 129"/>
                <a:gd name="T112" fmla="*/ 128 w 156"/>
                <a:gd name="T113" fmla="*/ 117 h 129"/>
                <a:gd name="T114" fmla="*/ 133 w 156"/>
                <a:gd name="T115" fmla="*/ 118 h 129"/>
                <a:gd name="T116" fmla="*/ 139 w 156"/>
                <a:gd name="T117" fmla="*/ 116 h 129"/>
                <a:gd name="T118" fmla="*/ 145 w 156"/>
                <a:gd name="T119" fmla="*/ 110 h 129"/>
                <a:gd name="T120" fmla="*/ 150 w 156"/>
                <a:gd name="T121" fmla="*/ 109 h 129"/>
                <a:gd name="T122" fmla="*/ 150 w 156"/>
                <a:gd name="T123" fmla="*/ 102 h 129"/>
                <a:gd name="T124" fmla="*/ 147 w 156"/>
                <a:gd name="T125" fmla="*/ 9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6" h="129">
                  <a:moveTo>
                    <a:pt x="147" y="99"/>
                  </a:moveTo>
                  <a:cubicBezTo>
                    <a:pt x="145" y="99"/>
                    <a:pt x="143" y="98"/>
                    <a:pt x="143" y="96"/>
                  </a:cubicBezTo>
                  <a:cubicBezTo>
                    <a:pt x="143" y="73"/>
                    <a:pt x="143" y="73"/>
                    <a:pt x="143" y="73"/>
                  </a:cubicBezTo>
                  <a:cubicBezTo>
                    <a:pt x="143" y="72"/>
                    <a:pt x="142" y="70"/>
                    <a:pt x="140" y="7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6" y="70"/>
                    <a:pt x="135" y="67"/>
                    <a:pt x="136" y="65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5" y="34"/>
                    <a:pt x="156" y="34"/>
                    <a:pt x="156" y="33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28"/>
                    <a:pt x="154" y="27"/>
                    <a:pt x="152" y="27"/>
                  </a:cubicBezTo>
                  <a:cubicBezTo>
                    <a:pt x="143" y="27"/>
                    <a:pt x="143" y="27"/>
                    <a:pt x="143" y="27"/>
                  </a:cubicBezTo>
                  <a:cubicBezTo>
                    <a:pt x="142" y="27"/>
                    <a:pt x="141" y="27"/>
                    <a:pt x="140" y="26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5" y="21"/>
                    <a:pt x="135" y="21"/>
                    <a:pt x="134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19" y="21"/>
                    <a:pt x="118" y="21"/>
                    <a:pt x="118" y="2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0" y="26"/>
                    <a:pt x="58" y="26"/>
                    <a:pt x="57" y="26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3" y="31"/>
                    <a:pt x="42" y="34"/>
                    <a:pt x="40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4" y="36"/>
                    <a:pt x="34" y="36"/>
                    <a:pt x="33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1" y="40"/>
                    <a:pt x="28" y="40"/>
                    <a:pt x="26" y="38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5" y="36"/>
                    <a:pt x="24" y="36"/>
                    <a:pt x="23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5" y="36"/>
                    <a:pt x="4" y="36"/>
                    <a:pt x="3" y="37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41"/>
                    <a:pt x="0" y="43"/>
                    <a:pt x="1" y="44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4" y="49"/>
                    <a:pt x="5" y="50"/>
                    <a:pt x="6" y="50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3" y="50"/>
                    <a:pt x="24" y="50"/>
                    <a:pt x="25" y="5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8" y="82"/>
                    <a:pt x="47" y="85"/>
                    <a:pt x="45" y="86"/>
                  </a:cubicBezTo>
                  <a:cubicBezTo>
                    <a:pt x="43" y="86"/>
                    <a:pt x="42" y="88"/>
                    <a:pt x="42" y="90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2"/>
                    <a:pt x="40" y="113"/>
                    <a:pt x="39" y="114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6" y="124"/>
                    <a:pt x="69" y="124"/>
                    <a:pt x="71" y="122"/>
                  </a:cubicBezTo>
                  <a:cubicBezTo>
                    <a:pt x="72" y="120"/>
                    <a:pt x="75" y="119"/>
                    <a:pt x="78" y="120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0" y="126"/>
                    <a:pt x="100" y="125"/>
                    <a:pt x="99" y="124"/>
                  </a:cubicBezTo>
                  <a:cubicBezTo>
                    <a:pt x="98" y="120"/>
                    <a:pt x="100" y="116"/>
                    <a:pt x="103" y="115"/>
                  </a:cubicBezTo>
                  <a:cubicBezTo>
                    <a:pt x="104" y="114"/>
                    <a:pt x="104" y="114"/>
                    <a:pt x="104" y="114"/>
                  </a:cubicBezTo>
                  <a:cubicBezTo>
                    <a:pt x="106" y="113"/>
                    <a:pt x="107" y="113"/>
                    <a:pt x="109" y="113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35" y="118"/>
                    <a:pt x="137" y="117"/>
                    <a:pt x="139" y="116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50" y="109"/>
                    <a:pt x="150" y="109"/>
                    <a:pt x="150" y="109"/>
                  </a:cubicBezTo>
                  <a:cubicBezTo>
                    <a:pt x="150" y="102"/>
                    <a:pt x="150" y="102"/>
                    <a:pt x="150" y="102"/>
                  </a:cubicBezTo>
                  <a:cubicBezTo>
                    <a:pt x="150" y="100"/>
                    <a:pt x="148" y="99"/>
                    <a:pt x="147" y="9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40">
              <a:extLst>
                <a:ext uri="{FF2B5EF4-FFF2-40B4-BE49-F238E27FC236}">
                  <a16:creationId xmlns:a16="http://schemas.microsoft.com/office/drawing/2014/main" id="{EA8795D0-AF5C-4DB5-8B23-BACE66C37F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5775" y="3892551"/>
              <a:ext cx="117475" cy="193675"/>
            </a:xfrm>
            <a:custGeom>
              <a:avLst/>
              <a:gdLst>
                <a:gd name="T0" fmla="*/ 27 w 39"/>
                <a:gd name="T1" fmla="*/ 44 h 65"/>
                <a:gd name="T2" fmla="*/ 25 w 39"/>
                <a:gd name="T3" fmla="*/ 41 h 65"/>
                <a:gd name="T4" fmla="*/ 27 w 39"/>
                <a:gd name="T5" fmla="*/ 39 h 65"/>
                <a:gd name="T6" fmla="*/ 28 w 39"/>
                <a:gd name="T7" fmla="*/ 36 h 65"/>
                <a:gd name="T8" fmla="*/ 31 w 39"/>
                <a:gd name="T9" fmla="*/ 17 h 65"/>
                <a:gd name="T10" fmla="*/ 34 w 39"/>
                <a:gd name="T11" fmla="*/ 12 h 65"/>
                <a:gd name="T12" fmla="*/ 35 w 39"/>
                <a:gd name="T13" fmla="*/ 12 h 65"/>
                <a:gd name="T14" fmla="*/ 37 w 39"/>
                <a:gd name="T15" fmla="*/ 10 h 65"/>
                <a:gd name="T16" fmla="*/ 38 w 39"/>
                <a:gd name="T17" fmla="*/ 9 h 65"/>
                <a:gd name="T18" fmla="*/ 37 w 39"/>
                <a:gd name="T19" fmla="*/ 2 h 65"/>
                <a:gd name="T20" fmla="*/ 32 w 39"/>
                <a:gd name="T21" fmla="*/ 0 h 65"/>
                <a:gd name="T22" fmla="*/ 16 w 39"/>
                <a:gd name="T23" fmla="*/ 3 h 65"/>
                <a:gd name="T24" fmla="*/ 9 w 39"/>
                <a:gd name="T25" fmla="*/ 1 h 65"/>
                <a:gd name="T26" fmla="*/ 9 w 39"/>
                <a:gd name="T27" fmla="*/ 2 h 65"/>
                <a:gd name="T28" fmla="*/ 9 w 39"/>
                <a:gd name="T29" fmla="*/ 22 h 65"/>
                <a:gd name="T30" fmla="*/ 8 w 39"/>
                <a:gd name="T31" fmla="*/ 24 h 65"/>
                <a:gd name="T32" fmla="*/ 4 w 39"/>
                <a:gd name="T33" fmla="*/ 32 h 65"/>
                <a:gd name="T34" fmla="*/ 4 w 39"/>
                <a:gd name="T35" fmla="*/ 32 h 65"/>
                <a:gd name="T36" fmla="*/ 1 w 39"/>
                <a:gd name="T37" fmla="*/ 37 h 65"/>
                <a:gd name="T38" fmla="*/ 2 w 39"/>
                <a:gd name="T39" fmla="*/ 43 h 65"/>
                <a:gd name="T40" fmla="*/ 4 w 39"/>
                <a:gd name="T41" fmla="*/ 46 h 65"/>
                <a:gd name="T42" fmla="*/ 5 w 39"/>
                <a:gd name="T43" fmla="*/ 49 h 65"/>
                <a:gd name="T44" fmla="*/ 6 w 39"/>
                <a:gd name="T45" fmla="*/ 60 h 65"/>
                <a:gd name="T46" fmla="*/ 11 w 39"/>
                <a:gd name="T47" fmla="*/ 65 h 65"/>
                <a:gd name="T48" fmla="*/ 14 w 39"/>
                <a:gd name="T49" fmla="*/ 65 h 65"/>
                <a:gd name="T50" fmla="*/ 15 w 39"/>
                <a:gd name="T51" fmla="*/ 65 h 65"/>
                <a:gd name="T52" fmla="*/ 26 w 39"/>
                <a:gd name="T53" fmla="*/ 65 h 65"/>
                <a:gd name="T54" fmla="*/ 26 w 39"/>
                <a:gd name="T55" fmla="*/ 65 h 65"/>
                <a:gd name="T56" fmla="*/ 28 w 39"/>
                <a:gd name="T57" fmla="*/ 47 h 65"/>
                <a:gd name="T58" fmla="*/ 27 w 39"/>
                <a:gd name="T59" fmla="*/ 4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9" h="65">
                  <a:moveTo>
                    <a:pt x="27" y="44"/>
                  </a:moveTo>
                  <a:cubicBezTo>
                    <a:pt x="25" y="41"/>
                    <a:pt x="25" y="41"/>
                    <a:pt x="25" y="41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8" y="38"/>
                    <a:pt x="28" y="37"/>
                    <a:pt x="28" y="36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5"/>
                    <a:pt x="32" y="13"/>
                    <a:pt x="34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6" y="12"/>
                    <a:pt x="36" y="11"/>
                    <a:pt x="37" y="10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9" y="7"/>
                    <a:pt x="39" y="4"/>
                    <a:pt x="37" y="2"/>
                  </a:cubicBezTo>
                  <a:cubicBezTo>
                    <a:pt x="36" y="1"/>
                    <a:pt x="34" y="0"/>
                    <a:pt x="32" y="0"/>
                  </a:cubicBezTo>
                  <a:cubicBezTo>
                    <a:pt x="26" y="1"/>
                    <a:pt x="17" y="3"/>
                    <a:pt x="16" y="3"/>
                  </a:cubicBezTo>
                  <a:cubicBezTo>
                    <a:pt x="15" y="3"/>
                    <a:pt x="12" y="2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3"/>
                    <a:pt x="8" y="24"/>
                    <a:pt x="8" y="24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0" y="38"/>
                    <a:pt x="0" y="41"/>
                    <a:pt x="2" y="43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8"/>
                    <a:pt x="5" y="49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2"/>
                    <a:pt x="8" y="64"/>
                    <a:pt x="11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5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5"/>
                    <a:pt x="27" y="4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41">
              <a:extLst>
                <a:ext uri="{FF2B5EF4-FFF2-40B4-BE49-F238E27FC236}">
                  <a16:creationId xmlns:a16="http://schemas.microsoft.com/office/drawing/2014/main" id="{36368C45-3CB6-4F27-895A-D8333362C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1263" y="3267076"/>
              <a:ext cx="41275" cy="47625"/>
            </a:xfrm>
            <a:custGeom>
              <a:avLst/>
              <a:gdLst>
                <a:gd name="T0" fmla="*/ 2 w 14"/>
                <a:gd name="T1" fmla="*/ 10 h 16"/>
                <a:gd name="T2" fmla="*/ 6 w 14"/>
                <a:gd name="T3" fmla="*/ 14 h 16"/>
                <a:gd name="T4" fmla="*/ 11 w 14"/>
                <a:gd name="T5" fmla="*/ 15 h 16"/>
                <a:gd name="T6" fmla="*/ 11 w 14"/>
                <a:gd name="T7" fmla="*/ 6 h 16"/>
                <a:gd name="T8" fmla="*/ 14 w 14"/>
                <a:gd name="T9" fmla="*/ 5 h 16"/>
                <a:gd name="T10" fmla="*/ 14 w 14"/>
                <a:gd name="T11" fmla="*/ 0 h 16"/>
                <a:gd name="T12" fmla="*/ 11 w 14"/>
                <a:gd name="T13" fmla="*/ 1 h 16"/>
                <a:gd name="T14" fmla="*/ 8 w 14"/>
                <a:gd name="T15" fmla="*/ 2 h 16"/>
                <a:gd name="T16" fmla="*/ 4 w 14"/>
                <a:gd name="T17" fmla="*/ 0 h 16"/>
                <a:gd name="T18" fmla="*/ 0 w 14"/>
                <a:gd name="T19" fmla="*/ 2 h 16"/>
                <a:gd name="T20" fmla="*/ 1 w 14"/>
                <a:gd name="T21" fmla="*/ 6 h 16"/>
                <a:gd name="T22" fmla="*/ 2 w 14"/>
                <a:gd name="T23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6">
                  <a:moveTo>
                    <a:pt x="2" y="10"/>
                  </a:moveTo>
                  <a:cubicBezTo>
                    <a:pt x="3" y="11"/>
                    <a:pt x="5" y="14"/>
                    <a:pt x="6" y="14"/>
                  </a:cubicBezTo>
                  <a:cubicBezTo>
                    <a:pt x="6" y="15"/>
                    <a:pt x="10" y="16"/>
                    <a:pt x="11" y="15"/>
                  </a:cubicBezTo>
                  <a:cubicBezTo>
                    <a:pt x="12" y="13"/>
                    <a:pt x="11" y="6"/>
                    <a:pt x="11" y="6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9"/>
                    <a:pt x="2" y="1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42">
              <a:extLst>
                <a:ext uri="{FF2B5EF4-FFF2-40B4-BE49-F238E27FC236}">
                  <a16:creationId xmlns:a16="http://schemas.microsoft.com/office/drawing/2014/main" id="{6312ACA4-048C-4E38-892C-ADCF634CB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5" y="3279776"/>
              <a:ext cx="26988" cy="26988"/>
            </a:xfrm>
            <a:custGeom>
              <a:avLst/>
              <a:gdLst>
                <a:gd name="T0" fmla="*/ 6 w 9"/>
                <a:gd name="T1" fmla="*/ 9 h 9"/>
                <a:gd name="T2" fmla="*/ 9 w 9"/>
                <a:gd name="T3" fmla="*/ 4 h 9"/>
                <a:gd name="T4" fmla="*/ 5 w 9"/>
                <a:gd name="T5" fmla="*/ 0 h 9"/>
                <a:gd name="T6" fmla="*/ 1 w 9"/>
                <a:gd name="T7" fmla="*/ 2 h 9"/>
                <a:gd name="T8" fmla="*/ 1 w 9"/>
                <a:gd name="T9" fmla="*/ 2 h 9"/>
                <a:gd name="T10" fmla="*/ 1 w 9"/>
                <a:gd name="T11" fmla="*/ 6 h 9"/>
                <a:gd name="T12" fmla="*/ 1 w 9"/>
                <a:gd name="T13" fmla="*/ 7 h 9"/>
                <a:gd name="T14" fmla="*/ 4 w 9"/>
                <a:gd name="T15" fmla="*/ 9 h 9"/>
                <a:gd name="T16" fmla="*/ 6 w 9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6" y="9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8" y="2"/>
                    <a:pt x="7" y="1"/>
                    <a:pt x="5" y="0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5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8"/>
                    <a:pt x="3" y="9"/>
                    <a:pt x="4" y="9"/>
                  </a:cubicBezTo>
                  <a:lnTo>
                    <a:pt x="6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43">
              <a:extLst>
                <a:ext uri="{FF2B5EF4-FFF2-40B4-BE49-F238E27FC236}">
                  <a16:creationId xmlns:a16="http://schemas.microsoft.com/office/drawing/2014/main" id="{73D4D915-E3F6-4E55-8236-E123949A1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1188" y="3108326"/>
              <a:ext cx="269875" cy="431800"/>
            </a:xfrm>
            <a:custGeom>
              <a:avLst/>
              <a:gdLst>
                <a:gd name="T0" fmla="*/ 84 w 90"/>
                <a:gd name="T1" fmla="*/ 98 h 144"/>
                <a:gd name="T2" fmla="*/ 78 w 90"/>
                <a:gd name="T3" fmla="*/ 99 h 144"/>
                <a:gd name="T4" fmla="*/ 72 w 90"/>
                <a:gd name="T5" fmla="*/ 95 h 144"/>
                <a:gd name="T6" fmla="*/ 67 w 90"/>
                <a:gd name="T7" fmla="*/ 80 h 144"/>
                <a:gd name="T8" fmla="*/ 53 w 90"/>
                <a:gd name="T9" fmla="*/ 66 h 144"/>
                <a:gd name="T10" fmla="*/ 50 w 90"/>
                <a:gd name="T11" fmla="*/ 55 h 144"/>
                <a:gd name="T12" fmla="*/ 41 w 90"/>
                <a:gd name="T13" fmla="*/ 50 h 144"/>
                <a:gd name="T14" fmla="*/ 28 w 90"/>
                <a:gd name="T15" fmla="*/ 50 h 144"/>
                <a:gd name="T16" fmla="*/ 31 w 90"/>
                <a:gd name="T17" fmla="*/ 42 h 144"/>
                <a:gd name="T18" fmla="*/ 43 w 90"/>
                <a:gd name="T19" fmla="*/ 29 h 144"/>
                <a:gd name="T20" fmla="*/ 28 w 90"/>
                <a:gd name="T21" fmla="*/ 20 h 144"/>
                <a:gd name="T22" fmla="*/ 30 w 90"/>
                <a:gd name="T23" fmla="*/ 6 h 144"/>
                <a:gd name="T24" fmla="*/ 15 w 90"/>
                <a:gd name="T25" fmla="*/ 0 h 144"/>
                <a:gd name="T26" fmla="*/ 9 w 90"/>
                <a:gd name="T27" fmla="*/ 12 h 144"/>
                <a:gd name="T28" fmla="*/ 4 w 90"/>
                <a:gd name="T29" fmla="*/ 15 h 144"/>
                <a:gd name="T30" fmla="*/ 0 w 90"/>
                <a:gd name="T31" fmla="*/ 27 h 144"/>
                <a:gd name="T32" fmla="*/ 5 w 90"/>
                <a:gd name="T33" fmla="*/ 34 h 144"/>
                <a:gd name="T34" fmla="*/ 5 w 90"/>
                <a:gd name="T35" fmla="*/ 38 h 144"/>
                <a:gd name="T36" fmla="*/ 6 w 90"/>
                <a:gd name="T37" fmla="*/ 47 h 144"/>
                <a:gd name="T38" fmla="*/ 12 w 90"/>
                <a:gd name="T39" fmla="*/ 49 h 144"/>
                <a:gd name="T40" fmla="*/ 13 w 90"/>
                <a:gd name="T41" fmla="*/ 58 h 144"/>
                <a:gd name="T42" fmla="*/ 12 w 90"/>
                <a:gd name="T43" fmla="*/ 64 h 144"/>
                <a:gd name="T44" fmla="*/ 18 w 90"/>
                <a:gd name="T45" fmla="*/ 68 h 144"/>
                <a:gd name="T46" fmla="*/ 25 w 90"/>
                <a:gd name="T47" fmla="*/ 67 h 144"/>
                <a:gd name="T48" fmla="*/ 32 w 90"/>
                <a:gd name="T49" fmla="*/ 66 h 144"/>
                <a:gd name="T50" fmla="*/ 31 w 90"/>
                <a:gd name="T51" fmla="*/ 72 h 144"/>
                <a:gd name="T52" fmla="*/ 36 w 90"/>
                <a:gd name="T53" fmla="*/ 80 h 144"/>
                <a:gd name="T54" fmla="*/ 34 w 90"/>
                <a:gd name="T55" fmla="*/ 85 h 144"/>
                <a:gd name="T56" fmla="*/ 30 w 90"/>
                <a:gd name="T57" fmla="*/ 90 h 144"/>
                <a:gd name="T58" fmla="*/ 18 w 90"/>
                <a:gd name="T59" fmla="*/ 93 h 144"/>
                <a:gd name="T60" fmla="*/ 21 w 90"/>
                <a:gd name="T61" fmla="*/ 96 h 144"/>
                <a:gd name="T62" fmla="*/ 23 w 90"/>
                <a:gd name="T63" fmla="*/ 102 h 144"/>
                <a:gd name="T64" fmla="*/ 13 w 90"/>
                <a:gd name="T65" fmla="*/ 108 h 144"/>
                <a:gd name="T66" fmla="*/ 13 w 90"/>
                <a:gd name="T67" fmla="*/ 117 h 144"/>
                <a:gd name="T68" fmla="*/ 21 w 90"/>
                <a:gd name="T69" fmla="*/ 116 h 144"/>
                <a:gd name="T70" fmla="*/ 25 w 90"/>
                <a:gd name="T71" fmla="*/ 118 h 144"/>
                <a:gd name="T72" fmla="*/ 38 w 90"/>
                <a:gd name="T73" fmla="*/ 118 h 144"/>
                <a:gd name="T74" fmla="*/ 44 w 90"/>
                <a:gd name="T75" fmla="*/ 116 h 144"/>
                <a:gd name="T76" fmla="*/ 38 w 90"/>
                <a:gd name="T77" fmla="*/ 121 h 144"/>
                <a:gd name="T78" fmla="*/ 26 w 90"/>
                <a:gd name="T79" fmla="*/ 123 h 144"/>
                <a:gd name="T80" fmla="*/ 6 w 90"/>
                <a:gd name="T81" fmla="*/ 139 h 144"/>
                <a:gd name="T82" fmla="*/ 16 w 90"/>
                <a:gd name="T83" fmla="*/ 138 h 144"/>
                <a:gd name="T84" fmla="*/ 23 w 90"/>
                <a:gd name="T85" fmla="*/ 138 h 144"/>
                <a:gd name="T86" fmla="*/ 28 w 90"/>
                <a:gd name="T87" fmla="*/ 132 h 144"/>
                <a:gd name="T88" fmla="*/ 73 w 90"/>
                <a:gd name="T89" fmla="*/ 131 h 144"/>
                <a:gd name="T90" fmla="*/ 82 w 90"/>
                <a:gd name="T91" fmla="*/ 123 h 144"/>
                <a:gd name="T92" fmla="*/ 86 w 90"/>
                <a:gd name="T93" fmla="*/ 113 h 144"/>
                <a:gd name="T94" fmla="*/ 90 w 90"/>
                <a:gd name="T95" fmla="*/ 104 h 144"/>
                <a:gd name="T96" fmla="*/ 87 w 90"/>
                <a:gd name="T97" fmla="*/ 9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0" h="144">
                  <a:moveTo>
                    <a:pt x="87" y="99"/>
                  </a:moveTo>
                  <a:cubicBezTo>
                    <a:pt x="87" y="98"/>
                    <a:pt x="86" y="97"/>
                    <a:pt x="84" y="98"/>
                  </a:cubicBezTo>
                  <a:cubicBezTo>
                    <a:pt x="79" y="99"/>
                    <a:pt x="79" y="99"/>
                    <a:pt x="79" y="99"/>
                  </a:cubicBezTo>
                  <a:cubicBezTo>
                    <a:pt x="79" y="99"/>
                    <a:pt x="79" y="99"/>
                    <a:pt x="78" y="99"/>
                  </a:cubicBezTo>
                  <a:cubicBezTo>
                    <a:pt x="74" y="98"/>
                    <a:pt x="74" y="98"/>
                    <a:pt x="74" y="98"/>
                  </a:cubicBezTo>
                  <a:cubicBezTo>
                    <a:pt x="73" y="97"/>
                    <a:pt x="72" y="96"/>
                    <a:pt x="72" y="95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7" y="81"/>
                    <a:pt x="67" y="80"/>
                    <a:pt x="67" y="80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4" y="68"/>
                    <a:pt x="53" y="67"/>
                    <a:pt x="53" y="66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6"/>
                    <a:pt x="50" y="55"/>
                    <a:pt x="50" y="55"/>
                  </a:cubicBezTo>
                  <a:cubicBezTo>
                    <a:pt x="43" y="51"/>
                    <a:pt x="43" y="51"/>
                    <a:pt x="43" y="51"/>
                  </a:cubicBezTo>
                  <a:cubicBezTo>
                    <a:pt x="42" y="50"/>
                    <a:pt x="41" y="50"/>
                    <a:pt x="41" y="50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3"/>
                    <a:pt x="30" y="42"/>
                    <a:pt x="31" y="42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0"/>
                    <a:pt x="43" y="30"/>
                    <a:pt x="43" y="29"/>
                  </a:cubicBezTo>
                  <a:cubicBezTo>
                    <a:pt x="44" y="25"/>
                    <a:pt x="40" y="20"/>
                    <a:pt x="36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6" y="20"/>
                    <a:pt x="24" y="17"/>
                    <a:pt x="25" y="15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1" y="4"/>
                    <a:pt x="30" y="1"/>
                    <a:pt x="27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0"/>
                    <a:pt x="11" y="1"/>
                    <a:pt x="11" y="3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4"/>
                    <a:pt x="7" y="15"/>
                    <a:pt x="6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2" y="15"/>
                    <a:pt x="1" y="16"/>
                    <a:pt x="1" y="1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0" y="29"/>
                    <a:pt x="1" y="30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6" y="35"/>
                    <a:pt x="6" y="37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1" y="40"/>
                    <a:pt x="1" y="44"/>
                    <a:pt x="3" y="47"/>
                  </a:cubicBezTo>
                  <a:cubicBezTo>
                    <a:pt x="4" y="48"/>
                    <a:pt x="5" y="48"/>
                    <a:pt x="6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0" y="46"/>
                    <a:pt x="12" y="47"/>
                    <a:pt x="12" y="49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6"/>
                    <a:pt x="14" y="57"/>
                    <a:pt x="13" y="58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1" y="60"/>
                    <a:pt x="11" y="62"/>
                    <a:pt x="12" y="64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8"/>
                    <a:pt x="17" y="68"/>
                    <a:pt x="18" y="68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3" y="69"/>
                    <a:pt x="24" y="68"/>
                    <a:pt x="25" y="67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9" y="69"/>
                    <a:pt x="29" y="71"/>
                    <a:pt x="31" y="72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8"/>
                    <a:pt x="36" y="80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4"/>
                    <a:pt x="34" y="84"/>
                    <a:pt x="34" y="85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8"/>
                    <a:pt x="32" y="90"/>
                    <a:pt x="30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19" y="90"/>
                    <a:pt x="18" y="91"/>
                    <a:pt x="18" y="93"/>
                  </a:cubicBezTo>
                  <a:cubicBezTo>
                    <a:pt x="18" y="95"/>
                    <a:pt x="19" y="96"/>
                    <a:pt x="20" y="96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23" y="97"/>
                    <a:pt x="25" y="99"/>
                    <a:pt x="24" y="101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103"/>
                    <a:pt x="23" y="103"/>
                    <a:pt x="22" y="104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9" y="109"/>
                    <a:pt x="8" y="114"/>
                    <a:pt x="11" y="117"/>
                  </a:cubicBezTo>
                  <a:cubicBezTo>
                    <a:pt x="11" y="117"/>
                    <a:pt x="12" y="117"/>
                    <a:pt x="13" y="117"/>
                  </a:cubicBezTo>
                  <a:cubicBezTo>
                    <a:pt x="18" y="115"/>
                    <a:pt x="18" y="115"/>
                    <a:pt x="18" y="115"/>
                  </a:cubicBezTo>
                  <a:cubicBezTo>
                    <a:pt x="19" y="115"/>
                    <a:pt x="21" y="115"/>
                    <a:pt x="21" y="116"/>
                  </a:cubicBezTo>
                  <a:cubicBezTo>
                    <a:pt x="23" y="117"/>
                    <a:pt x="23" y="117"/>
                    <a:pt x="23" y="117"/>
                  </a:cubicBezTo>
                  <a:cubicBezTo>
                    <a:pt x="24" y="118"/>
                    <a:pt x="25" y="118"/>
                    <a:pt x="25" y="118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6" y="119"/>
                    <a:pt x="37" y="118"/>
                    <a:pt x="38" y="118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6"/>
                    <a:pt x="44" y="116"/>
                    <a:pt x="44" y="116"/>
                  </a:cubicBezTo>
                  <a:cubicBezTo>
                    <a:pt x="44" y="117"/>
                    <a:pt x="43" y="118"/>
                    <a:pt x="42" y="119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2"/>
                    <a:pt x="37" y="122"/>
                    <a:pt x="37" y="122"/>
                  </a:cubicBezTo>
                  <a:cubicBezTo>
                    <a:pt x="26" y="123"/>
                    <a:pt x="26" y="123"/>
                    <a:pt x="26" y="123"/>
                  </a:cubicBezTo>
                  <a:cubicBezTo>
                    <a:pt x="25" y="123"/>
                    <a:pt x="25" y="123"/>
                    <a:pt x="24" y="123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7" y="143"/>
                    <a:pt x="12" y="144"/>
                    <a:pt x="14" y="140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7" y="138"/>
                    <a:pt x="17" y="138"/>
                    <a:pt x="18" y="138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5" y="139"/>
                    <a:pt x="27" y="137"/>
                    <a:pt x="27" y="135"/>
                  </a:cubicBezTo>
                  <a:cubicBezTo>
                    <a:pt x="27" y="133"/>
                    <a:pt x="27" y="132"/>
                    <a:pt x="28" y="132"/>
                  </a:cubicBezTo>
                  <a:cubicBezTo>
                    <a:pt x="30" y="132"/>
                    <a:pt x="67" y="131"/>
                    <a:pt x="72" y="131"/>
                  </a:cubicBezTo>
                  <a:cubicBezTo>
                    <a:pt x="72" y="131"/>
                    <a:pt x="73" y="131"/>
                    <a:pt x="73" y="131"/>
                  </a:cubicBezTo>
                  <a:cubicBezTo>
                    <a:pt x="75" y="130"/>
                    <a:pt x="81" y="128"/>
                    <a:pt x="82" y="127"/>
                  </a:cubicBezTo>
                  <a:cubicBezTo>
                    <a:pt x="83" y="127"/>
                    <a:pt x="82" y="123"/>
                    <a:pt x="82" y="123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86" y="113"/>
                    <a:pt x="86" y="113"/>
                    <a:pt x="86" y="113"/>
                  </a:cubicBezTo>
                  <a:cubicBezTo>
                    <a:pt x="86" y="113"/>
                    <a:pt x="87" y="112"/>
                    <a:pt x="87" y="111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0" y="103"/>
                    <a:pt x="90" y="101"/>
                    <a:pt x="89" y="100"/>
                  </a:cubicBezTo>
                  <a:lnTo>
                    <a:pt x="87" y="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44">
              <a:extLst>
                <a:ext uri="{FF2B5EF4-FFF2-40B4-BE49-F238E27FC236}">
                  <a16:creationId xmlns:a16="http://schemas.microsoft.com/office/drawing/2014/main" id="{FDF7B4BD-EBCE-4DAD-8D58-AF5241F8B6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138" y="3324226"/>
              <a:ext cx="144463" cy="141288"/>
            </a:xfrm>
            <a:custGeom>
              <a:avLst/>
              <a:gdLst>
                <a:gd name="T0" fmla="*/ 39 w 48"/>
                <a:gd name="T1" fmla="*/ 3 h 47"/>
                <a:gd name="T2" fmla="*/ 34 w 48"/>
                <a:gd name="T3" fmla="*/ 2 h 47"/>
                <a:gd name="T4" fmla="*/ 34 w 48"/>
                <a:gd name="T5" fmla="*/ 2 h 47"/>
                <a:gd name="T6" fmla="*/ 27 w 48"/>
                <a:gd name="T7" fmla="*/ 1 h 47"/>
                <a:gd name="T8" fmla="*/ 27 w 48"/>
                <a:gd name="T9" fmla="*/ 0 h 47"/>
                <a:gd name="T10" fmla="*/ 25 w 48"/>
                <a:gd name="T11" fmla="*/ 2 h 47"/>
                <a:gd name="T12" fmla="*/ 14 w 48"/>
                <a:gd name="T13" fmla="*/ 5 h 47"/>
                <a:gd name="T14" fmla="*/ 10 w 48"/>
                <a:gd name="T15" fmla="*/ 4 h 47"/>
                <a:gd name="T16" fmla="*/ 4 w 48"/>
                <a:gd name="T17" fmla="*/ 6 h 47"/>
                <a:gd name="T18" fmla="*/ 1 w 48"/>
                <a:gd name="T19" fmla="*/ 11 h 47"/>
                <a:gd name="T20" fmla="*/ 1 w 48"/>
                <a:gd name="T21" fmla="*/ 15 h 47"/>
                <a:gd name="T22" fmla="*/ 2 w 48"/>
                <a:gd name="T23" fmla="*/ 16 h 47"/>
                <a:gd name="T24" fmla="*/ 7 w 48"/>
                <a:gd name="T25" fmla="*/ 17 h 47"/>
                <a:gd name="T26" fmla="*/ 10 w 48"/>
                <a:gd name="T27" fmla="*/ 16 h 47"/>
                <a:gd name="T28" fmla="*/ 12 w 48"/>
                <a:gd name="T29" fmla="*/ 22 h 47"/>
                <a:gd name="T30" fmla="*/ 9 w 48"/>
                <a:gd name="T31" fmla="*/ 23 h 47"/>
                <a:gd name="T32" fmla="*/ 7 w 48"/>
                <a:gd name="T33" fmla="*/ 25 h 47"/>
                <a:gd name="T34" fmla="*/ 1 w 48"/>
                <a:gd name="T35" fmla="*/ 35 h 47"/>
                <a:gd name="T36" fmla="*/ 1 w 48"/>
                <a:gd name="T37" fmla="*/ 39 h 47"/>
                <a:gd name="T38" fmla="*/ 5 w 48"/>
                <a:gd name="T39" fmla="*/ 44 h 47"/>
                <a:gd name="T40" fmla="*/ 8 w 48"/>
                <a:gd name="T41" fmla="*/ 46 h 47"/>
                <a:gd name="T42" fmla="*/ 12 w 48"/>
                <a:gd name="T43" fmla="*/ 47 h 47"/>
                <a:gd name="T44" fmla="*/ 15 w 48"/>
                <a:gd name="T45" fmla="*/ 46 h 47"/>
                <a:gd name="T46" fmla="*/ 26 w 48"/>
                <a:gd name="T47" fmla="*/ 39 h 47"/>
                <a:gd name="T48" fmla="*/ 27 w 48"/>
                <a:gd name="T49" fmla="*/ 39 h 47"/>
                <a:gd name="T50" fmla="*/ 43 w 48"/>
                <a:gd name="T51" fmla="*/ 35 h 47"/>
                <a:gd name="T52" fmla="*/ 47 w 48"/>
                <a:gd name="T53" fmla="*/ 31 h 47"/>
                <a:gd name="T54" fmla="*/ 48 w 48"/>
                <a:gd name="T55" fmla="*/ 19 h 47"/>
                <a:gd name="T56" fmla="*/ 47 w 48"/>
                <a:gd name="T57" fmla="*/ 16 h 47"/>
                <a:gd name="T58" fmla="*/ 44 w 48"/>
                <a:gd name="T59" fmla="*/ 13 h 47"/>
                <a:gd name="T60" fmla="*/ 44 w 48"/>
                <a:gd name="T61" fmla="*/ 8 h 47"/>
                <a:gd name="T62" fmla="*/ 39 w 48"/>
                <a:gd name="T63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7">
                  <a:moveTo>
                    <a:pt x="39" y="3"/>
                  </a:moveTo>
                  <a:cubicBezTo>
                    <a:pt x="38" y="2"/>
                    <a:pt x="36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1" y="3"/>
                    <a:pt x="29" y="2"/>
                    <a:pt x="27" y="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6" y="1"/>
                    <a:pt x="26" y="1"/>
                    <a:pt x="25" y="2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2" y="5"/>
                    <a:pt x="11" y="5"/>
                    <a:pt x="10" y="4"/>
                  </a:cubicBezTo>
                  <a:cubicBezTo>
                    <a:pt x="8" y="3"/>
                    <a:pt x="5" y="3"/>
                    <a:pt x="4" y="6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2"/>
                    <a:pt x="0" y="14"/>
                    <a:pt x="1" y="1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8"/>
                    <a:pt x="5" y="18"/>
                    <a:pt x="7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4"/>
                    <a:pt x="7" y="24"/>
                    <a:pt x="7" y="2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6"/>
                    <a:pt x="1" y="38"/>
                    <a:pt x="1" y="39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5"/>
                    <a:pt x="6" y="46"/>
                    <a:pt x="8" y="46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3" y="47"/>
                    <a:pt x="14" y="47"/>
                    <a:pt x="15" y="46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5" y="35"/>
                    <a:pt x="47" y="33"/>
                    <a:pt x="47" y="31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8" y="18"/>
                    <a:pt x="48" y="17"/>
                    <a:pt x="47" y="16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3" y="11"/>
                    <a:pt x="43" y="10"/>
                    <a:pt x="44" y="8"/>
                  </a:cubicBezTo>
                  <a:lnTo>
                    <a:pt x="39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45">
              <a:extLst>
                <a:ext uri="{FF2B5EF4-FFF2-40B4-BE49-F238E27FC236}">
                  <a16:creationId xmlns:a16="http://schemas.microsoft.com/office/drawing/2014/main" id="{3DD95746-2AEF-4EC8-93A1-7C65231782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6100" y="3287713"/>
              <a:ext cx="77788" cy="60325"/>
            </a:xfrm>
            <a:custGeom>
              <a:avLst/>
              <a:gdLst>
                <a:gd name="T0" fmla="*/ 7 w 26"/>
                <a:gd name="T1" fmla="*/ 14 h 20"/>
                <a:gd name="T2" fmla="*/ 7 w 26"/>
                <a:gd name="T3" fmla="*/ 14 h 20"/>
                <a:gd name="T4" fmla="*/ 12 w 26"/>
                <a:gd name="T5" fmla="*/ 15 h 20"/>
                <a:gd name="T6" fmla="*/ 17 w 26"/>
                <a:gd name="T7" fmla="*/ 20 h 20"/>
                <a:gd name="T8" fmla="*/ 20 w 26"/>
                <a:gd name="T9" fmla="*/ 18 h 20"/>
                <a:gd name="T10" fmla="*/ 21 w 26"/>
                <a:gd name="T11" fmla="*/ 18 h 20"/>
                <a:gd name="T12" fmla="*/ 25 w 26"/>
                <a:gd name="T13" fmla="*/ 15 h 20"/>
                <a:gd name="T14" fmla="*/ 26 w 26"/>
                <a:gd name="T15" fmla="*/ 12 h 20"/>
                <a:gd name="T16" fmla="*/ 25 w 26"/>
                <a:gd name="T17" fmla="*/ 8 h 20"/>
                <a:gd name="T18" fmla="*/ 19 w 26"/>
                <a:gd name="T19" fmla="*/ 2 h 20"/>
                <a:gd name="T20" fmla="*/ 16 w 26"/>
                <a:gd name="T21" fmla="*/ 1 h 20"/>
                <a:gd name="T22" fmla="*/ 10 w 26"/>
                <a:gd name="T23" fmla="*/ 0 h 20"/>
                <a:gd name="T24" fmla="*/ 6 w 26"/>
                <a:gd name="T25" fmla="*/ 2 h 20"/>
                <a:gd name="T26" fmla="*/ 0 w 26"/>
                <a:gd name="T27" fmla="*/ 12 h 20"/>
                <a:gd name="T28" fmla="*/ 0 w 26"/>
                <a:gd name="T29" fmla="*/ 12 h 20"/>
                <a:gd name="T30" fmla="*/ 0 w 26"/>
                <a:gd name="T31" fmla="*/ 13 h 20"/>
                <a:gd name="T32" fmla="*/ 7 w 26"/>
                <a:gd name="T33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20">
                  <a:moveTo>
                    <a:pt x="7" y="14"/>
                  </a:moveTo>
                  <a:cubicBezTo>
                    <a:pt x="7" y="14"/>
                    <a:pt x="7" y="14"/>
                    <a:pt x="7" y="14"/>
                  </a:cubicBezTo>
                  <a:cubicBezTo>
                    <a:pt x="9" y="14"/>
                    <a:pt x="11" y="14"/>
                    <a:pt x="12" y="15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19"/>
                    <a:pt x="18" y="18"/>
                    <a:pt x="20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3" y="18"/>
                    <a:pt x="24" y="17"/>
                    <a:pt x="25" y="15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1"/>
                    <a:pt x="26" y="9"/>
                    <a:pt x="25" y="8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7" y="1"/>
                    <a:pt x="16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6" y="1"/>
                    <a:pt x="6" y="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4"/>
                    <a:pt x="4" y="15"/>
                    <a:pt x="7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46">
              <a:extLst>
                <a:ext uri="{FF2B5EF4-FFF2-40B4-BE49-F238E27FC236}">
                  <a16:creationId xmlns:a16="http://schemas.microsoft.com/office/drawing/2014/main" id="{B13E059C-F537-47E9-A382-966C403C1F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3663" y="3713163"/>
              <a:ext cx="128588" cy="128588"/>
            </a:xfrm>
            <a:custGeom>
              <a:avLst/>
              <a:gdLst>
                <a:gd name="T0" fmla="*/ 43 w 43"/>
                <a:gd name="T1" fmla="*/ 25 h 43"/>
                <a:gd name="T2" fmla="*/ 33 w 43"/>
                <a:gd name="T3" fmla="*/ 43 h 43"/>
                <a:gd name="T4" fmla="*/ 33 w 43"/>
                <a:gd name="T5" fmla="*/ 43 h 43"/>
                <a:gd name="T6" fmla="*/ 4 w 43"/>
                <a:gd name="T7" fmla="*/ 19 h 43"/>
                <a:gd name="T8" fmla="*/ 7 w 43"/>
                <a:gd name="T9" fmla="*/ 14 h 43"/>
                <a:gd name="T10" fmla="*/ 0 w 43"/>
                <a:gd name="T11" fmla="*/ 9 h 43"/>
                <a:gd name="T12" fmla="*/ 2 w 43"/>
                <a:gd name="T13" fmla="*/ 4 h 43"/>
                <a:gd name="T14" fmla="*/ 7 w 43"/>
                <a:gd name="T15" fmla="*/ 4 h 43"/>
                <a:gd name="T16" fmla="*/ 11 w 43"/>
                <a:gd name="T17" fmla="*/ 0 h 43"/>
                <a:gd name="T18" fmla="*/ 31 w 43"/>
                <a:gd name="T19" fmla="*/ 3 h 43"/>
                <a:gd name="T20" fmla="*/ 40 w 43"/>
                <a:gd name="T21" fmla="*/ 9 h 43"/>
                <a:gd name="T22" fmla="*/ 39 w 43"/>
                <a:gd name="T23" fmla="*/ 10 h 43"/>
                <a:gd name="T24" fmla="*/ 39 w 43"/>
                <a:gd name="T25" fmla="*/ 14 h 43"/>
                <a:gd name="T26" fmla="*/ 43 w 43"/>
                <a:gd name="T27" fmla="*/ 23 h 43"/>
                <a:gd name="T28" fmla="*/ 43 w 43"/>
                <a:gd name="T29" fmla="*/ 2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43">
                  <a:moveTo>
                    <a:pt x="43" y="25"/>
                  </a:move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8" y="11"/>
                    <a:pt x="38" y="13"/>
                    <a:pt x="39" y="14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4"/>
                    <a:pt x="43" y="25"/>
                    <a:pt x="43" y="2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47">
              <a:extLst>
                <a:ext uri="{FF2B5EF4-FFF2-40B4-BE49-F238E27FC236}">
                  <a16:creationId xmlns:a16="http://schemas.microsoft.com/office/drawing/2014/main" id="{8A26554B-4F5E-456A-93A2-08248C701A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6200" y="2636838"/>
              <a:ext cx="338138" cy="182563"/>
            </a:xfrm>
            <a:custGeom>
              <a:avLst/>
              <a:gdLst>
                <a:gd name="T0" fmla="*/ 101 w 113"/>
                <a:gd name="T1" fmla="*/ 45 h 61"/>
                <a:gd name="T2" fmla="*/ 108 w 113"/>
                <a:gd name="T3" fmla="*/ 37 h 61"/>
                <a:gd name="T4" fmla="*/ 109 w 113"/>
                <a:gd name="T5" fmla="*/ 17 h 61"/>
                <a:gd name="T6" fmla="*/ 101 w 113"/>
                <a:gd name="T7" fmla="*/ 6 h 61"/>
                <a:gd name="T8" fmla="*/ 89 w 113"/>
                <a:gd name="T9" fmla="*/ 0 h 61"/>
                <a:gd name="T10" fmla="*/ 69 w 113"/>
                <a:gd name="T11" fmla="*/ 2 h 61"/>
                <a:gd name="T12" fmla="*/ 61 w 113"/>
                <a:gd name="T13" fmla="*/ 6 h 61"/>
                <a:gd name="T14" fmla="*/ 54 w 113"/>
                <a:gd name="T15" fmla="*/ 11 h 61"/>
                <a:gd name="T16" fmla="*/ 48 w 113"/>
                <a:gd name="T17" fmla="*/ 11 h 61"/>
                <a:gd name="T18" fmla="*/ 41 w 113"/>
                <a:gd name="T19" fmla="*/ 10 h 61"/>
                <a:gd name="T20" fmla="*/ 35 w 113"/>
                <a:gd name="T21" fmla="*/ 15 h 61"/>
                <a:gd name="T22" fmla="*/ 28 w 113"/>
                <a:gd name="T23" fmla="*/ 15 h 61"/>
                <a:gd name="T24" fmla="*/ 24 w 113"/>
                <a:gd name="T25" fmla="*/ 10 h 61"/>
                <a:gd name="T26" fmla="*/ 5 w 113"/>
                <a:gd name="T27" fmla="*/ 11 h 61"/>
                <a:gd name="T28" fmla="*/ 3 w 113"/>
                <a:gd name="T29" fmla="*/ 13 h 61"/>
                <a:gd name="T30" fmla="*/ 3 w 113"/>
                <a:gd name="T31" fmla="*/ 25 h 61"/>
                <a:gd name="T32" fmla="*/ 11 w 113"/>
                <a:gd name="T33" fmla="*/ 38 h 61"/>
                <a:gd name="T34" fmla="*/ 20 w 113"/>
                <a:gd name="T35" fmla="*/ 42 h 61"/>
                <a:gd name="T36" fmla="*/ 22 w 113"/>
                <a:gd name="T37" fmla="*/ 42 h 61"/>
                <a:gd name="T38" fmla="*/ 40 w 113"/>
                <a:gd name="T39" fmla="*/ 55 h 61"/>
                <a:gd name="T40" fmla="*/ 58 w 113"/>
                <a:gd name="T41" fmla="*/ 61 h 61"/>
                <a:gd name="T42" fmla="*/ 64 w 113"/>
                <a:gd name="T43" fmla="*/ 61 h 61"/>
                <a:gd name="T44" fmla="*/ 66 w 113"/>
                <a:gd name="T45" fmla="*/ 61 h 61"/>
                <a:gd name="T46" fmla="*/ 99 w 113"/>
                <a:gd name="T47" fmla="*/ 46 h 61"/>
                <a:gd name="T48" fmla="*/ 101 w 113"/>
                <a:gd name="T49" fmla="*/ 4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3" h="61">
                  <a:moveTo>
                    <a:pt x="101" y="45"/>
                  </a:moveTo>
                  <a:cubicBezTo>
                    <a:pt x="108" y="37"/>
                    <a:pt x="108" y="37"/>
                    <a:pt x="108" y="37"/>
                  </a:cubicBezTo>
                  <a:cubicBezTo>
                    <a:pt x="113" y="31"/>
                    <a:pt x="113" y="23"/>
                    <a:pt x="109" y="17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98" y="2"/>
                    <a:pt x="93" y="0"/>
                    <a:pt x="89" y="0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6" y="3"/>
                    <a:pt x="63" y="4"/>
                    <a:pt x="61" y="6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2" y="13"/>
                    <a:pt x="49" y="13"/>
                    <a:pt x="48" y="11"/>
                  </a:cubicBezTo>
                  <a:cubicBezTo>
                    <a:pt x="46" y="9"/>
                    <a:pt x="43" y="8"/>
                    <a:pt x="41" y="10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3" y="17"/>
                    <a:pt x="30" y="17"/>
                    <a:pt x="28" y="15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18" y="4"/>
                    <a:pt x="9" y="4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17"/>
                    <a:pt x="0" y="21"/>
                    <a:pt x="3" y="25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3" y="41"/>
                    <a:pt x="17" y="42"/>
                    <a:pt x="20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2" y="43"/>
                    <a:pt x="33" y="50"/>
                    <a:pt x="40" y="55"/>
                  </a:cubicBezTo>
                  <a:cubicBezTo>
                    <a:pt x="45" y="59"/>
                    <a:pt x="52" y="61"/>
                    <a:pt x="58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1"/>
                    <a:pt x="66" y="61"/>
                    <a:pt x="66" y="61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100" y="46"/>
                    <a:pt x="100" y="45"/>
                    <a:pt x="101" y="4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48">
              <a:extLst>
                <a:ext uri="{FF2B5EF4-FFF2-40B4-BE49-F238E27FC236}">
                  <a16:creationId xmlns:a16="http://schemas.microsoft.com/office/drawing/2014/main" id="{36DF6D6C-32C7-4286-B3CB-E8C6DBB43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1475" y="4157663"/>
              <a:ext cx="117475" cy="36513"/>
            </a:xfrm>
            <a:custGeom>
              <a:avLst/>
              <a:gdLst>
                <a:gd name="T0" fmla="*/ 38 w 39"/>
                <a:gd name="T1" fmla="*/ 6 h 12"/>
                <a:gd name="T2" fmla="*/ 38 w 39"/>
                <a:gd name="T3" fmla="*/ 6 h 12"/>
                <a:gd name="T4" fmla="*/ 34 w 39"/>
                <a:gd name="T5" fmla="*/ 3 h 12"/>
                <a:gd name="T6" fmla="*/ 22 w 39"/>
                <a:gd name="T7" fmla="*/ 1 h 12"/>
                <a:gd name="T8" fmla="*/ 21 w 39"/>
                <a:gd name="T9" fmla="*/ 1 h 12"/>
                <a:gd name="T10" fmla="*/ 11 w 39"/>
                <a:gd name="T11" fmla="*/ 0 h 12"/>
                <a:gd name="T12" fmla="*/ 0 w 39"/>
                <a:gd name="T13" fmla="*/ 6 h 12"/>
                <a:gd name="T14" fmla="*/ 17 w 39"/>
                <a:gd name="T15" fmla="*/ 6 h 12"/>
                <a:gd name="T16" fmla="*/ 17 w 39"/>
                <a:gd name="T17" fmla="*/ 8 h 12"/>
                <a:gd name="T18" fmla="*/ 22 w 39"/>
                <a:gd name="T19" fmla="*/ 7 h 12"/>
                <a:gd name="T20" fmla="*/ 25 w 39"/>
                <a:gd name="T21" fmla="*/ 7 h 12"/>
                <a:gd name="T22" fmla="*/ 34 w 39"/>
                <a:gd name="T23" fmla="*/ 11 h 12"/>
                <a:gd name="T24" fmla="*/ 38 w 39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12">
                  <a:moveTo>
                    <a:pt x="38" y="6"/>
                  </a:moveTo>
                  <a:cubicBezTo>
                    <a:pt x="38" y="6"/>
                    <a:pt x="38" y="6"/>
                    <a:pt x="38" y="6"/>
                  </a:cubicBezTo>
                  <a:cubicBezTo>
                    <a:pt x="37" y="4"/>
                    <a:pt x="36" y="3"/>
                    <a:pt x="34" y="3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0" y="0"/>
                    <a:pt x="0" y="6"/>
                  </a:cubicBezTo>
                  <a:cubicBezTo>
                    <a:pt x="0" y="7"/>
                    <a:pt x="17" y="6"/>
                    <a:pt x="17" y="6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3" y="7"/>
                    <a:pt x="24" y="7"/>
                    <a:pt x="25" y="7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6" y="12"/>
                    <a:pt x="39" y="9"/>
                    <a:pt x="38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52">
              <a:extLst>
                <a:ext uri="{FF2B5EF4-FFF2-40B4-BE49-F238E27FC236}">
                  <a16:creationId xmlns:a16="http://schemas.microsoft.com/office/drawing/2014/main" id="{2128FA3B-1F67-43CD-AEF5-4F2B27AC8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4170363"/>
              <a:ext cx="76200" cy="50800"/>
            </a:xfrm>
            <a:custGeom>
              <a:avLst/>
              <a:gdLst>
                <a:gd name="T0" fmla="*/ 25 w 25"/>
                <a:gd name="T1" fmla="*/ 1 h 17"/>
                <a:gd name="T2" fmla="*/ 25 w 25"/>
                <a:gd name="T3" fmla="*/ 1 h 17"/>
                <a:gd name="T4" fmla="*/ 25 w 25"/>
                <a:gd name="T5" fmla="*/ 2 h 17"/>
                <a:gd name="T6" fmla="*/ 19 w 25"/>
                <a:gd name="T7" fmla="*/ 7 h 17"/>
                <a:gd name="T8" fmla="*/ 19 w 25"/>
                <a:gd name="T9" fmla="*/ 8 h 17"/>
                <a:gd name="T10" fmla="*/ 18 w 25"/>
                <a:gd name="T11" fmla="*/ 10 h 17"/>
                <a:gd name="T12" fmla="*/ 17 w 25"/>
                <a:gd name="T13" fmla="*/ 10 h 17"/>
                <a:gd name="T14" fmla="*/ 12 w 25"/>
                <a:gd name="T15" fmla="*/ 15 h 17"/>
                <a:gd name="T16" fmla="*/ 12 w 25"/>
                <a:gd name="T17" fmla="*/ 15 h 17"/>
                <a:gd name="T18" fmla="*/ 3 w 25"/>
                <a:gd name="T19" fmla="*/ 17 h 17"/>
                <a:gd name="T20" fmla="*/ 2 w 25"/>
                <a:gd name="T21" fmla="*/ 16 h 17"/>
                <a:gd name="T22" fmla="*/ 0 w 25"/>
                <a:gd name="T23" fmla="*/ 10 h 17"/>
                <a:gd name="T24" fmla="*/ 1 w 25"/>
                <a:gd name="T25" fmla="*/ 8 h 17"/>
                <a:gd name="T26" fmla="*/ 7 w 25"/>
                <a:gd name="T27" fmla="*/ 7 h 17"/>
                <a:gd name="T28" fmla="*/ 8 w 25"/>
                <a:gd name="T29" fmla="*/ 6 h 17"/>
                <a:gd name="T30" fmla="*/ 8 w 25"/>
                <a:gd name="T31" fmla="*/ 4 h 17"/>
                <a:gd name="T32" fmla="*/ 9 w 25"/>
                <a:gd name="T33" fmla="*/ 3 h 17"/>
                <a:gd name="T34" fmla="*/ 14 w 25"/>
                <a:gd name="T35" fmla="*/ 3 h 17"/>
                <a:gd name="T36" fmla="*/ 16 w 25"/>
                <a:gd name="T37" fmla="*/ 2 h 17"/>
                <a:gd name="T38" fmla="*/ 17 w 25"/>
                <a:gd name="T39" fmla="*/ 1 h 17"/>
                <a:gd name="T40" fmla="*/ 24 w 25"/>
                <a:gd name="T41" fmla="*/ 0 h 17"/>
                <a:gd name="T42" fmla="*/ 25 w 25"/>
                <a:gd name="T43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17">
                  <a:moveTo>
                    <a:pt x="25" y="1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5" y="1"/>
                    <a:pt x="25" y="2"/>
                    <a:pt x="25" y="2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8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7" y="1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2" y="16"/>
                    <a:pt x="2" y="1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8" y="7"/>
                    <a:pt x="8" y="6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6" y="3"/>
                    <a:pt x="16" y="2"/>
                  </a:cubicBezTo>
                  <a:cubicBezTo>
                    <a:pt x="16" y="1"/>
                    <a:pt x="16" y="1"/>
                    <a:pt x="17" y="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5" y="0"/>
                    <a:pt x="25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BD3BB9-7494-4054-ABD5-BF4DEDF50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7AEFA-B56B-463F-809E-4A0CAC2C214B}" type="datetime1">
              <a:rPr lang="en-US" sz="1000" smtClean="0">
                <a:solidFill>
                  <a:schemeClr val="tx1"/>
                </a:solidFill>
              </a:rPr>
              <a:t>8/17/2020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4D9497-D6ED-4F5D-9AF8-723FC8208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z="1000" smtClean="0">
                <a:solidFill>
                  <a:schemeClr val="tx1"/>
                </a:solidFill>
              </a:rPr>
              <a:t>5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4" name="Rectangle 70">
            <a:extLst>
              <a:ext uri="{FF2B5EF4-FFF2-40B4-BE49-F238E27FC236}">
                <a16:creationId xmlns:a16="http://schemas.microsoft.com/office/drawing/2014/main" id="{2C7F6899-AA89-4ACF-BBC6-9182A564A0B3}"/>
              </a:ext>
            </a:extLst>
          </p:cNvPr>
          <p:cNvSpPr/>
          <p:nvPr/>
        </p:nvSpPr>
        <p:spPr>
          <a:xfrm>
            <a:off x="2054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70">
            <a:extLst>
              <a:ext uri="{FF2B5EF4-FFF2-40B4-BE49-F238E27FC236}">
                <a16:creationId xmlns:a16="http://schemas.microsoft.com/office/drawing/2014/main" id="{46EBEB8D-01EC-4B1A-B44A-BDF60EEB1BDB}"/>
              </a:ext>
            </a:extLst>
          </p:cNvPr>
          <p:cNvSpPr/>
          <p:nvPr/>
        </p:nvSpPr>
        <p:spPr>
          <a:xfrm rot="10800000">
            <a:off x="114830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70">
            <a:extLst>
              <a:ext uri="{FF2B5EF4-FFF2-40B4-BE49-F238E27FC236}">
                <a16:creationId xmlns:a16="http://schemas.microsoft.com/office/drawing/2014/main" id="{0EFEE770-1BB8-4BC8-92D5-8B8941EDBE25}"/>
              </a:ext>
            </a:extLst>
          </p:cNvPr>
          <p:cNvSpPr/>
          <p:nvPr/>
        </p:nvSpPr>
        <p:spPr>
          <a:xfrm flipV="1">
            <a:off x="2054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70">
            <a:extLst>
              <a:ext uri="{FF2B5EF4-FFF2-40B4-BE49-F238E27FC236}">
                <a16:creationId xmlns:a16="http://schemas.microsoft.com/office/drawing/2014/main" id="{68FA4209-A2EF-480B-BBDC-DE5322790CE7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FE3DD1-8761-4FA2-A00F-4C407ED92CBC}"/>
              </a:ext>
            </a:extLst>
          </p:cNvPr>
          <p:cNvSpPr txBox="1"/>
          <p:nvPr/>
        </p:nvSpPr>
        <p:spPr>
          <a:xfrm>
            <a:off x="708963" y="250833"/>
            <a:ext cx="10774074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/>
              <a:t>EUROPE MAP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F96D8F3-1828-4EE7-87B9-E1ADC3835C56}"/>
              </a:ext>
            </a:extLst>
          </p:cNvPr>
          <p:cNvGrpSpPr/>
          <p:nvPr/>
        </p:nvGrpSpPr>
        <p:grpSpPr>
          <a:xfrm>
            <a:off x="5237964" y="1924175"/>
            <a:ext cx="364776" cy="364776"/>
            <a:chOff x="3200032" y="3001912"/>
            <a:chExt cx="587476" cy="587476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019CCF90-4825-4D7B-9289-BFC3AC352093}"/>
                </a:ext>
              </a:extLst>
            </p:cNvPr>
            <p:cNvSpPr/>
            <p:nvPr/>
          </p:nvSpPr>
          <p:spPr>
            <a:xfrm>
              <a:off x="3200032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14" name="Group 313">
              <a:extLst>
                <a:ext uri="{FF2B5EF4-FFF2-40B4-BE49-F238E27FC236}">
                  <a16:creationId xmlns:a16="http://schemas.microsoft.com/office/drawing/2014/main" id="{0E8EE52C-7CBF-425C-83BA-7D2A5355E15D}"/>
                </a:ext>
              </a:extLst>
            </p:cNvPr>
            <p:cNvGrpSpPr/>
            <p:nvPr/>
          </p:nvGrpSpPr>
          <p:grpSpPr>
            <a:xfrm>
              <a:off x="3350101" y="3151981"/>
              <a:ext cx="287338" cy="287338"/>
              <a:chOff x="8736013" y="1925638"/>
              <a:chExt cx="287338" cy="287338"/>
            </a:xfrm>
            <a:solidFill>
              <a:schemeClr val="accent1"/>
            </a:solidFill>
          </p:grpSpPr>
          <p:sp>
            <p:nvSpPr>
              <p:cNvPr id="315" name="Freeform 97">
                <a:extLst>
                  <a:ext uri="{FF2B5EF4-FFF2-40B4-BE49-F238E27FC236}">
                    <a16:creationId xmlns:a16="http://schemas.microsoft.com/office/drawing/2014/main" id="{EBF6CD6C-6153-41FD-B07F-E0811D37E7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98">
                <a:extLst>
                  <a:ext uri="{FF2B5EF4-FFF2-40B4-BE49-F238E27FC236}">
                    <a16:creationId xmlns:a16="http://schemas.microsoft.com/office/drawing/2014/main" id="{C0954760-1A97-47FD-B3DA-EDAB1FAE94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F5035D8-7E32-4941-8F54-71FF58335317}"/>
              </a:ext>
            </a:extLst>
          </p:cNvPr>
          <p:cNvGrpSpPr/>
          <p:nvPr/>
        </p:nvGrpSpPr>
        <p:grpSpPr>
          <a:xfrm>
            <a:off x="8921927" y="1214716"/>
            <a:ext cx="364776" cy="364776"/>
            <a:chOff x="2053199" y="3001912"/>
            <a:chExt cx="587476" cy="587476"/>
          </a:xfrm>
        </p:grpSpPr>
        <p:sp>
          <p:nvSpPr>
            <p:cNvPr id="317" name="Oval 316">
              <a:extLst>
                <a:ext uri="{FF2B5EF4-FFF2-40B4-BE49-F238E27FC236}">
                  <a16:creationId xmlns:a16="http://schemas.microsoft.com/office/drawing/2014/main" id="{346440B0-0F18-48F1-AE5B-996E4072BFED}"/>
                </a:ext>
              </a:extLst>
            </p:cNvPr>
            <p:cNvSpPr/>
            <p:nvPr/>
          </p:nvSpPr>
          <p:spPr>
            <a:xfrm>
              <a:off x="2053199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19" name="Group 318">
              <a:extLst>
                <a:ext uri="{FF2B5EF4-FFF2-40B4-BE49-F238E27FC236}">
                  <a16:creationId xmlns:a16="http://schemas.microsoft.com/office/drawing/2014/main" id="{3346A8A3-32B2-495A-A376-A17C0D3D67E4}"/>
                </a:ext>
              </a:extLst>
            </p:cNvPr>
            <p:cNvGrpSpPr/>
            <p:nvPr/>
          </p:nvGrpSpPr>
          <p:grpSpPr>
            <a:xfrm>
              <a:off x="2203268" y="3151981"/>
              <a:ext cx="287338" cy="287338"/>
              <a:chOff x="8736013" y="1925638"/>
              <a:chExt cx="287338" cy="287338"/>
            </a:xfrm>
            <a:solidFill>
              <a:schemeClr val="accent2"/>
            </a:solidFill>
          </p:grpSpPr>
          <p:sp>
            <p:nvSpPr>
              <p:cNvPr id="320" name="Freeform 97">
                <a:extLst>
                  <a:ext uri="{FF2B5EF4-FFF2-40B4-BE49-F238E27FC236}">
                    <a16:creationId xmlns:a16="http://schemas.microsoft.com/office/drawing/2014/main" id="{4EAA1A4A-4007-4E32-8D67-30F7FEE917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Freeform 98">
                <a:extLst>
                  <a:ext uri="{FF2B5EF4-FFF2-40B4-BE49-F238E27FC236}">
                    <a16:creationId xmlns:a16="http://schemas.microsoft.com/office/drawing/2014/main" id="{13F47208-0C4C-4453-B01F-9C697FECBE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BFAB121-B371-4066-9BA4-BA636EDDAD96}"/>
              </a:ext>
            </a:extLst>
          </p:cNvPr>
          <p:cNvGrpSpPr/>
          <p:nvPr/>
        </p:nvGrpSpPr>
        <p:grpSpPr>
          <a:xfrm>
            <a:off x="6355416" y="3175262"/>
            <a:ext cx="364776" cy="364776"/>
            <a:chOff x="2053199" y="3732947"/>
            <a:chExt cx="587476" cy="587476"/>
          </a:xfrm>
        </p:grpSpPr>
        <p:sp>
          <p:nvSpPr>
            <p:cNvPr id="322" name="Oval 321">
              <a:extLst>
                <a:ext uri="{FF2B5EF4-FFF2-40B4-BE49-F238E27FC236}">
                  <a16:creationId xmlns:a16="http://schemas.microsoft.com/office/drawing/2014/main" id="{3796ACED-C0CF-4665-940C-DD8831A9FFFD}"/>
                </a:ext>
              </a:extLst>
            </p:cNvPr>
            <p:cNvSpPr/>
            <p:nvPr/>
          </p:nvSpPr>
          <p:spPr>
            <a:xfrm>
              <a:off x="2053199" y="3732947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3" name="Group 322">
              <a:extLst>
                <a:ext uri="{FF2B5EF4-FFF2-40B4-BE49-F238E27FC236}">
                  <a16:creationId xmlns:a16="http://schemas.microsoft.com/office/drawing/2014/main" id="{3C981CE7-C006-44B0-B4DA-E2FEDCDDA84A}"/>
                </a:ext>
              </a:extLst>
            </p:cNvPr>
            <p:cNvGrpSpPr/>
            <p:nvPr/>
          </p:nvGrpSpPr>
          <p:grpSpPr>
            <a:xfrm>
              <a:off x="2203268" y="3883016"/>
              <a:ext cx="287338" cy="287338"/>
              <a:chOff x="8736013" y="1925638"/>
              <a:chExt cx="287338" cy="287338"/>
            </a:xfrm>
            <a:solidFill>
              <a:schemeClr val="accent3"/>
            </a:solidFill>
          </p:grpSpPr>
          <p:sp>
            <p:nvSpPr>
              <p:cNvPr id="324" name="Freeform 97">
                <a:extLst>
                  <a:ext uri="{FF2B5EF4-FFF2-40B4-BE49-F238E27FC236}">
                    <a16:creationId xmlns:a16="http://schemas.microsoft.com/office/drawing/2014/main" id="{D70BE71F-246D-4BA6-A7B2-8C9D4EB7C0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98">
                <a:extLst>
                  <a:ext uri="{FF2B5EF4-FFF2-40B4-BE49-F238E27FC236}">
                    <a16:creationId xmlns:a16="http://schemas.microsoft.com/office/drawing/2014/main" id="{1B56C7E7-19AD-4508-9047-A3DE54862E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26" name="Group 325">
            <a:extLst>
              <a:ext uri="{FF2B5EF4-FFF2-40B4-BE49-F238E27FC236}">
                <a16:creationId xmlns:a16="http://schemas.microsoft.com/office/drawing/2014/main" id="{66556217-72F8-44B4-998F-2566B1F4CE33}"/>
              </a:ext>
            </a:extLst>
          </p:cNvPr>
          <p:cNvGrpSpPr/>
          <p:nvPr/>
        </p:nvGrpSpPr>
        <p:grpSpPr>
          <a:xfrm>
            <a:off x="9238063" y="2327377"/>
            <a:ext cx="364776" cy="364776"/>
            <a:chOff x="3200032" y="3001912"/>
            <a:chExt cx="587476" cy="587476"/>
          </a:xfrm>
        </p:grpSpPr>
        <p:sp>
          <p:nvSpPr>
            <p:cNvPr id="327" name="Oval 326">
              <a:extLst>
                <a:ext uri="{FF2B5EF4-FFF2-40B4-BE49-F238E27FC236}">
                  <a16:creationId xmlns:a16="http://schemas.microsoft.com/office/drawing/2014/main" id="{3B14E88B-3729-43DB-8E68-56BC38B1AC78}"/>
                </a:ext>
              </a:extLst>
            </p:cNvPr>
            <p:cNvSpPr/>
            <p:nvPr/>
          </p:nvSpPr>
          <p:spPr>
            <a:xfrm>
              <a:off x="3200032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8" name="Group 327">
              <a:extLst>
                <a:ext uri="{FF2B5EF4-FFF2-40B4-BE49-F238E27FC236}">
                  <a16:creationId xmlns:a16="http://schemas.microsoft.com/office/drawing/2014/main" id="{48608E09-F111-4909-94F8-D5DBE242EC71}"/>
                </a:ext>
              </a:extLst>
            </p:cNvPr>
            <p:cNvGrpSpPr/>
            <p:nvPr/>
          </p:nvGrpSpPr>
          <p:grpSpPr>
            <a:xfrm>
              <a:off x="3350101" y="3151981"/>
              <a:ext cx="287338" cy="287338"/>
              <a:chOff x="8736013" y="1925638"/>
              <a:chExt cx="287338" cy="287338"/>
            </a:xfrm>
            <a:solidFill>
              <a:schemeClr val="accent1"/>
            </a:solidFill>
          </p:grpSpPr>
          <p:sp>
            <p:nvSpPr>
              <p:cNvPr id="329" name="Freeform 97">
                <a:extLst>
                  <a:ext uri="{FF2B5EF4-FFF2-40B4-BE49-F238E27FC236}">
                    <a16:creationId xmlns:a16="http://schemas.microsoft.com/office/drawing/2014/main" id="{765A7E13-6CD1-481F-B453-D81A77997F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98">
                <a:extLst>
                  <a:ext uri="{FF2B5EF4-FFF2-40B4-BE49-F238E27FC236}">
                    <a16:creationId xmlns:a16="http://schemas.microsoft.com/office/drawing/2014/main" id="{71ACDAB6-155B-4A6F-A22B-988B4EE42F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31" name="Group 330">
            <a:extLst>
              <a:ext uri="{FF2B5EF4-FFF2-40B4-BE49-F238E27FC236}">
                <a16:creationId xmlns:a16="http://schemas.microsoft.com/office/drawing/2014/main" id="{FDEDD8EB-349D-4CC7-8764-C8FCBBE266A9}"/>
              </a:ext>
            </a:extLst>
          </p:cNvPr>
          <p:cNvGrpSpPr/>
          <p:nvPr/>
        </p:nvGrpSpPr>
        <p:grpSpPr>
          <a:xfrm>
            <a:off x="7575445" y="3925978"/>
            <a:ext cx="364776" cy="364776"/>
            <a:chOff x="3200032" y="3001912"/>
            <a:chExt cx="587476" cy="587476"/>
          </a:xfrm>
        </p:grpSpPr>
        <p:sp>
          <p:nvSpPr>
            <p:cNvPr id="332" name="Oval 331">
              <a:extLst>
                <a:ext uri="{FF2B5EF4-FFF2-40B4-BE49-F238E27FC236}">
                  <a16:creationId xmlns:a16="http://schemas.microsoft.com/office/drawing/2014/main" id="{2693A01C-475E-4FA4-9237-6446F99A4408}"/>
                </a:ext>
              </a:extLst>
            </p:cNvPr>
            <p:cNvSpPr/>
            <p:nvPr/>
          </p:nvSpPr>
          <p:spPr>
            <a:xfrm>
              <a:off x="3200032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3" name="Group 332">
              <a:extLst>
                <a:ext uri="{FF2B5EF4-FFF2-40B4-BE49-F238E27FC236}">
                  <a16:creationId xmlns:a16="http://schemas.microsoft.com/office/drawing/2014/main" id="{B1B6A031-5955-40AB-9391-6E2B606FD403}"/>
                </a:ext>
              </a:extLst>
            </p:cNvPr>
            <p:cNvGrpSpPr/>
            <p:nvPr/>
          </p:nvGrpSpPr>
          <p:grpSpPr>
            <a:xfrm>
              <a:off x="3350101" y="3151981"/>
              <a:ext cx="287338" cy="287338"/>
              <a:chOff x="8736013" y="1925638"/>
              <a:chExt cx="287338" cy="287338"/>
            </a:xfrm>
            <a:solidFill>
              <a:schemeClr val="accent1"/>
            </a:solidFill>
          </p:grpSpPr>
          <p:sp>
            <p:nvSpPr>
              <p:cNvPr id="334" name="Freeform 97">
                <a:extLst>
                  <a:ext uri="{FF2B5EF4-FFF2-40B4-BE49-F238E27FC236}">
                    <a16:creationId xmlns:a16="http://schemas.microsoft.com/office/drawing/2014/main" id="{861707A8-D60E-4C9D-B491-EBD4B9DCEB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98">
                <a:extLst>
                  <a:ext uri="{FF2B5EF4-FFF2-40B4-BE49-F238E27FC236}">
                    <a16:creationId xmlns:a16="http://schemas.microsoft.com/office/drawing/2014/main" id="{0C0D9251-1043-4DA6-905E-E70D267529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36" name="Group 335">
            <a:extLst>
              <a:ext uri="{FF2B5EF4-FFF2-40B4-BE49-F238E27FC236}">
                <a16:creationId xmlns:a16="http://schemas.microsoft.com/office/drawing/2014/main" id="{BF65B24E-A16A-4DE6-A6E9-E0214ACC9358}"/>
              </a:ext>
            </a:extLst>
          </p:cNvPr>
          <p:cNvGrpSpPr/>
          <p:nvPr/>
        </p:nvGrpSpPr>
        <p:grpSpPr>
          <a:xfrm>
            <a:off x="8099648" y="2787366"/>
            <a:ext cx="364776" cy="364776"/>
            <a:chOff x="2053199" y="3001912"/>
            <a:chExt cx="587476" cy="587476"/>
          </a:xfrm>
        </p:grpSpPr>
        <p:sp>
          <p:nvSpPr>
            <p:cNvPr id="337" name="Oval 336">
              <a:extLst>
                <a:ext uri="{FF2B5EF4-FFF2-40B4-BE49-F238E27FC236}">
                  <a16:creationId xmlns:a16="http://schemas.microsoft.com/office/drawing/2014/main" id="{9619D3DF-64DB-4FD2-86A1-0429A3C3BF55}"/>
                </a:ext>
              </a:extLst>
            </p:cNvPr>
            <p:cNvSpPr/>
            <p:nvPr/>
          </p:nvSpPr>
          <p:spPr>
            <a:xfrm>
              <a:off x="2053199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8" name="Group 337">
              <a:extLst>
                <a:ext uri="{FF2B5EF4-FFF2-40B4-BE49-F238E27FC236}">
                  <a16:creationId xmlns:a16="http://schemas.microsoft.com/office/drawing/2014/main" id="{188FD7B0-5BB7-4407-941B-07A128A7076B}"/>
                </a:ext>
              </a:extLst>
            </p:cNvPr>
            <p:cNvGrpSpPr/>
            <p:nvPr/>
          </p:nvGrpSpPr>
          <p:grpSpPr>
            <a:xfrm>
              <a:off x="2203268" y="3151981"/>
              <a:ext cx="287338" cy="287338"/>
              <a:chOff x="8736013" y="1925638"/>
              <a:chExt cx="287338" cy="287338"/>
            </a:xfrm>
            <a:solidFill>
              <a:schemeClr val="accent2"/>
            </a:solidFill>
          </p:grpSpPr>
          <p:sp>
            <p:nvSpPr>
              <p:cNvPr id="339" name="Freeform 97">
                <a:extLst>
                  <a:ext uri="{FF2B5EF4-FFF2-40B4-BE49-F238E27FC236}">
                    <a16:creationId xmlns:a16="http://schemas.microsoft.com/office/drawing/2014/main" id="{D9AC93DA-FB90-4E84-9B4C-27D206CA5F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98">
                <a:extLst>
                  <a:ext uri="{FF2B5EF4-FFF2-40B4-BE49-F238E27FC236}">
                    <a16:creationId xmlns:a16="http://schemas.microsoft.com/office/drawing/2014/main" id="{5A1E1849-BB2B-43B1-9870-E9876BCB32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41" name="Group 340">
            <a:extLst>
              <a:ext uri="{FF2B5EF4-FFF2-40B4-BE49-F238E27FC236}">
                <a16:creationId xmlns:a16="http://schemas.microsoft.com/office/drawing/2014/main" id="{03C98586-B830-44BE-A7DE-88FFF8708AB5}"/>
              </a:ext>
            </a:extLst>
          </p:cNvPr>
          <p:cNvGrpSpPr/>
          <p:nvPr/>
        </p:nvGrpSpPr>
        <p:grpSpPr>
          <a:xfrm>
            <a:off x="9174468" y="3630757"/>
            <a:ext cx="364776" cy="364776"/>
            <a:chOff x="2053199" y="3732947"/>
            <a:chExt cx="587476" cy="587476"/>
          </a:xfrm>
        </p:grpSpPr>
        <p:sp>
          <p:nvSpPr>
            <p:cNvPr id="342" name="Oval 341">
              <a:extLst>
                <a:ext uri="{FF2B5EF4-FFF2-40B4-BE49-F238E27FC236}">
                  <a16:creationId xmlns:a16="http://schemas.microsoft.com/office/drawing/2014/main" id="{F3449573-2901-417B-9535-E0DE568B1E8F}"/>
                </a:ext>
              </a:extLst>
            </p:cNvPr>
            <p:cNvSpPr/>
            <p:nvPr/>
          </p:nvSpPr>
          <p:spPr>
            <a:xfrm>
              <a:off x="2053199" y="3732947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43" name="Group 342">
              <a:extLst>
                <a:ext uri="{FF2B5EF4-FFF2-40B4-BE49-F238E27FC236}">
                  <a16:creationId xmlns:a16="http://schemas.microsoft.com/office/drawing/2014/main" id="{FF060CC5-92FF-4F6C-9C7D-E0BE1D1E70BD}"/>
                </a:ext>
              </a:extLst>
            </p:cNvPr>
            <p:cNvGrpSpPr/>
            <p:nvPr/>
          </p:nvGrpSpPr>
          <p:grpSpPr>
            <a:xfrm>
              <a:off x="2203268" y="3883016"/>
              <a:ext cx="287338" cy="287338"/>
              <a:chOff x="8736013" y="1925638"/>
              <a:chExt cx="287338" cy="287338"/>
            </a:xfrm>
            <a:solidFill>
              <a:schemeClr val="accent3"/>
            </a:solidFill>
          </p:grpSpPr>
          <p:sp>
            <p:nvSpPr>
              <p:cNvPr id="344" name="Freeform 97">
                <a:extLst>
                  <a:ext uri="{FF2B5EF4-FFF2-40B4-BE49-F238E27FC236}">
                    <a16:creationId xmlns:a16="http://schemas.microsoft.com/office/drawing/2014/main" id="{F885865F-FE78-4668-918E-331D19D6BC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98">
                <a:extLst>
                  <a:ext uri="{FF2B5EF4-FFF2-40B4-BE49-F238E27FC236}">
                    <a16:creationId xmlns:a16="http://schemas.microsoft.com/office/drawing/2014/main" id="{7AEFB6A6-EE53-4775-990D-AFBFF11BD6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46" name="Group 345">
            <a:extLst>
              <a:ext uri="{FF2B5EF4-FFF2-40B4-BE49-F238E27FC236}">
                <a16:creationId xmlns:a16="http://schemas.microsoft.com/office/drawing/2014/main" id="{097C5B49-6C2E-4F9D-8747-31AC29962047}"/>
              </a:ext>
            </a:extLst>
          </p:cNvPr>
          <p:cNvGrpSpPr/>
          <p:nvPr/>
        </p:nvGrpSpPr>
        <p:grpSpPr>
          <a:xfrm>
            <a:off x="6891238" y="4452380"/>
            <a:ext cx="364776" cy="364776"/>
            <a:chOff x="2053199" y="3732947"/>
            <a:chExt cx="587476" cy="587476"/>
          </a:xfrm>
        </p:grpSpPr>
        <p:sp>
          <p:nvSpPr>
            <p:cNvPr id="347" name="Oval 346">
              <a:extLst>
                <a:ext uri="{FF2B5EF4-FFF2-40B4-BE49-F238E27FC236}">
                  <a16:creationId xmlns:a16="http://schemas.microsoft.com/office/drawing/2014/main" id="{0A69AB03-20C1-4E19-87F9-A03184B0B243}"/>
                </a:ext>
              </a:extLst>
            </p:cNvPr>
            <p:cNvSpPr/>
            <p:nvPr/>
          </p:nvSpPr>
          <p:spPr>
            <a:xfrm>
              <a:off x="2053199" y="3732947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48" name="Group 347">
              <a:extLst>
                <a:ext uri="{FF2B5EF4-FFF2-40B4-BE49-F238E27FC236}">
                  <a16:creationId xmlns:a16="http://schemas.microsoft.com/office/drawing/2014/main" id="{BB0165AD-F660-453F-B87B-64390BA99C9A}"/>
                </a:ext>
              </a:extLst>
            </p:cNvPr>
            <p:cNvGrpSpPr/>
            <p:nvPr/>
          </p:nvGrpSpPr>
          <p:grpSpPr>
            <a:xfrm>
              <a:off x="2203268" y="3883016"/>
              <a:ext cx="287338" cy="287338"/>
              <a:chOff x="8736013" y="1925638"/>
              <a:chExt cx="287338" cy="287338"/>
            </a:xfrm>
            <a:solidFill>
              <a:schemeClr val="accent3"/>
            </a:solidFill>
          </p:grpSpPr>
          <p:sp>
            <p:nvSpPr>
              <p:cNvPr id="349" name="Freeform 97">
                <a:extLst>
                  <a:ext uri="{FF2B5EF4-FFF2-40B4-BE49-F238E27FC236}">
                    <a16:creationId xmlns:a16="http://schemas.microsoft.com/office/drawing/2014/main" id="{4D7569EA-2360-41F2-92EA-F5D4DA185F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98">
                <a:extLst>
                  <a:ext uri="{FF2B5EF4-FFF2-40B4-BE49-F238E27FC236}">
                    <a16:creationId xmlns:a16="http://schemas.microsoft.com/office/drawing/2014/main" id="{4D7AF70A-5AF7-462B-A288-995B74F717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51" name="Group 350">
            <a:extLst>
              <a:ext uri="{FF2B5EF4-FFF2-40B4-BE49-F238E27FC236}">
                <a16:creationId xmlns:a16="http://schemas.microsoft.com/office/drawing/2014/main" id="{83EFD42F-8C3B-4393-9473-2B100B83D1CF}"/>
              </a:ext>
            </a:extLst>
          </p:cNvPr>
          <p:cNvGrpSpPr/>
          <p:nvPr/>
        </p:nvGrpSpPr>
        <p:grpSpPr>
          <a:xfrm>
            <a:off x="9705637" y="4073416"/>
            <a:ext cx="364776" cy="364776"/>
            <a:chOff x="2053199" y="3001912"/>
            <a:chExt cx="587476" cy="587476"/>
          </a:xfrm>
        </p:grpSpPr>
        <p:sp>
          <p:nvSpPr>
            <p:cNvPr id="352" name="Oval 351">
              <a:extLst>
                <a:ext uri="{FF2B5EF4-FFF2-40B4-BE49-F238E27FC236}">
                  <a16:creationId xmlns:a16="http://schemas.microsoft.com/office/drawing/2014/main" id="{1E44271F-D8F5-40E6-92D9-3E70FE550C38}"/>
                </a:ext>
              </a:extLst>
            </p:cNvPr>
            <p:cNvSpPr/>
            <p:nvPr/>
          </p:nvSpPr>
          <p:spPr>
            <a:xfrm>
              <a:off x="2053199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53" name="Group 352">
              <a:extLst>
                <a:ext uri="{FF2B5EF4-FFF2-40B4-BE49-F238E27FC236}">
                  <a16:creationId xmlns:a16="http://schemas.microsoft.com/office/drawing/2014/main" id="{2B35B02E-E7BC-45A2-8EA4-DA19CCF88275}"/>
                </a:ext>
              </a:extLst>
            </p:cNvPr>
            <p:cNvGrpSpPr/>
            <p:nvPr/>
          </p:nvGrpSpPr>
          <p:grpSpPr>
            <a:xfrm>
              <a:off x="2203268" y="3151981"/>
              <a:ext cx="287338" cy="287338"/>
              <a:chOff x="8736013" y="1925638"/>
              <a:chExt cx="287338" cy="287338"/>
            </a:xfrm>
            <a:solidFill>
              <a:schemeClr val="accent2"/>
            </a:solidFill>
          </p:grpSpPr>
          <p:sp>
            <p:nvSpPr>
              <p:cNvPr id="354" name="Freeform 97">
                <a:extLst>
                  <a:ext uri="{FF2B5EF4-FFF2-40B4-BE49-F238E27FC236}">
                    <a16:creationId xmlns:a16="http://schemas.microsoft.com/office/drawing/2014/main" id="{3BCCE668-8BA0-4D6C-9675-B22084F516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98">
                <a:extLst>
                  <a:ext uri="{FF2B5EF4-FFF2-40B4-BE49-F238E27FC236}">
                    <a16:creationId xmlns:a16="http://schemas.microsoft.com/office/drawing/2014/main" id="{B3DACA77-483C-4959-95EF-743147FE96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56" name="Group 355">
            <a:extLst>
              <a:ext uri="{FF2B5EF4-FFF2-40B4-BE49-F238E27FC236}">
                <a16:creationId xmlns:a16="http://schemas.microsoft.com/office/drawing/2014/main" id="{4B85D758-A67F-4756-94E0-81900F93E172}"/>
              </a:ext>
            </a:extLst>
          </p:cNvPr>
          <p:cNvGrpSpPr/>
          <p:nvPr/>
        </p:nvGrpSpPr>
        <p:grpSpPr>
          <a:xfrm>
            <a:off x="8060715" y="4648568"/>
            <a:ext cx="364776" cy="364776"/>
            <a:chOff x="2053199" y="3001912"/>
            <a:chExt cx="587476" cy="587476"/>
          </a:xfrm>
        </p:grpSpPr>
        <p:sp>
          <p:nvSpPr>
            <p:cNvPr id="357" name="Oval 356">
              <a:extLst>
                <a:ext uri="{FF2B5EF4-FFF2-40B4-BE49-F238E27FC236}">
                  <a16:creationId xmlns:a16="http://schemas.microsoft.com/office/drawing/2014/main" id="{3710361F-37E7-4F57-9865-190B6570C7A6}"/>
                </a:ext>
              </a:extLst>
            </p:cNvPr>
            <p:cNvSpPr/>
            <p:nvPr/>
          </p:nvSpPr>
          <p:spPr>
            <a:xfrm>
              <a:off x="2053199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58" name="Group 357">
              <a:extLst>
                <a:ext uri="{FF2B5EF4-FFF2-40B4-BE49-F238E27FC236}">
                  <a16:creationId xmlns:a16="http://schemas.microsoft.com/office/drawing/2014/main" id="{AA08B789-C698-4522-AD19-8D10648139EC}"/>
                </a:ext>
              </a:extLst>
            </p:cNvPr>
            <p:cNvGrpSpPr/>
            <p:nvPr/>
          </p:nvGrpSpPr>
          <p:grpSpPr>
            <a:xfrm>
              <a:off x="2203268" y="3151981"/>
              <a:ext cx="287338" cy="287338"/>
              <a:chOff x="8736013" y="1925638"/>
              <a:chExt cx="287338" cy="287338"/>
            </a:xfrm>
            <a:solidFill>
              <a:schemeClr val="accent2"/>
            </a:solidFill>
          </p:grpSpPr>
          <p:sp>
            <p:nvSpPr>
              <p:cNvPr id="359" name="Freeform 97">
                <a:extLst>
                  <a:ext uri="{FF2B5EF4-FFF2-40B4-BE49-F238E27FC236}">
                    <a16:creationId xmlns:a16="http://schemas.microsoft.com/office/drawing/2014/main" id="{16C7FFB2-75A8-40D9-B6E5-37AA3FBD1D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98">
                <a:extLst>
                  <a:ext uri="{FF2B5EF4-FFF2-40B4-BE49-F238E27FC236}">
                    <a16:creationId xmlns:a16="http://schemas.microsoft.com/office/drawing/2014/main" id="{4A9B8CF0-0813-4F69-B7DB-63E5A47ED2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61" name="Group 360">
            <a:extLst>
              <a:ext uri="{FF2B5EF4-FFF2-40B4-BE49-F238E27FC236}">
                <a16:creationId xmlns:a16="http://schemas.microsoft.com/office/drawing/2014/main" id="{EF160627-5489-4881-A71A-A22C1E7F8AF5}"/>
              </a:ext>
            </a:extLst>
          </p:cNvPr>
          <p:cNvGrpSpPr/>
          <p:nvPr/>
        </p:nvGrpSpPr>
        <p:grpSpPr>
          <a:xfrm>
            <a:off x="6379406" y="5231273"/>
            <a:ext cx="364776" cy="364776"/>
            <a:chOff x="2053199" y="3001912"/>
            <a:chExt cx="587476" cy="587476"/>
          </a:xfrm>
        </p:grpSpPr>
        <p:sp>
          <p:nvSpPr>
            <p:cNvPr id="362" name="Oval 361">
              <a:extLst>
                <a:ext uri="{FF2B5EF4-FFF2-40B4-BE49-F238E27FC236}">
                  <a16:creationId xmlns:a16="http://schemas.microsoft.com/office/drawing/2014/main" id="{547294FE-012E-4403-8380-AA9E1013C93C}"/>
                </a:ext>
              </a:extLst>
            </p:cNvPr>
            <p:cNvSpPr/>
            <p:nvPr/>
          </p:nvSpPr>
          <p:spPr>
            <a:xfrm>
              <a:off x="2053199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63" name="Group 362">
              <a:extLst>
                <a:ext uri="{FF2B5EF4-FFF2-40B4-BE49-F238E27FC236}">
                  <a16:creationId xmlns:a16="http://schemas.microsoft.com/office/drawing/2014/main" id="{219BE066-79AE-44F4-8403-47718B6FAFA9}"/>
                </a:ext>
              </a:extLst>
            </p:cNvPr>
            <p:cNvGrpSpPr/>
            <p:nvPr/>
          </p:nvGrpSpPr>
          <p:grpSpPr>
            <a:xfrm>
              <a:off x="2203268" y="3151981"/>
              <a:ext cx="287338" cy="287338"/>
              <a:chOff x="8736013" y="1925638"/>
              <a:chExt cx="287338" cy="287338"/>
            </a:xfrm>
            <a:solidFill>
              <a:schemeClr val="accent2"/>
            </a:solidFill>
          </p:grpSpPr>
          <p:sp>
            <p:nvSpPr>
              <p:cNvPr id="364" name="Freeform 97">
                <a:extLst>
                  <a:ext uri="{FF2B5EF4-FFF2-40B4-BE49-F238E27FC236}">
                    <a16:creationId xmlns:a16="http://schemas.microsoft.com/office/drawing/2014/main" id="{2FCC878E-EE34-4A7E-897C-8AFA71D922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98">
                <a:extLst>
                  <a:ext uri="{FF2B5EF4-FFF2-40B4-BE49-F238E27FC236}">
                    <a16:creationId xmlns:a16="http://schemas.microsoft.com/office/drawing/2014/main" id="{E615B199-2EE1-4A41-B118-03F40B3A19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C92E5A1-8113-4D60-B4D4-A24CE5CB02F7}"/>
              </a:ext>
            </a:extLst>
          </p:cNvPr>
          <p:cNvGrpSpPr/>
          <p:nvPr/>
        </p:nvGrpSpPr>
        <p:grpSpPr>
          <a:xfrm>
            <a:off x="2022422" y="1316151"/>
            <a:ext cx="939300" cy="939298"/>
            <a:chOff x="2219325" y="1540493"/>
            <a:chExt cx="659013" cy="659013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E1912D1-8756-40E5-A5B6-FC20EE154FCB}"/>
                </a:ext>
              </a:extLst>
            </p:cNvPr>
            <p:cNvSpPr/>
            <p:nvPr/>
          </p:nvSpPr>
          <p:spPr>
            <a:xfrm>
              <a:off x="2219325" y="1540493"/>
              <a:ext cx="659013" cy="65901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66" name="Group 365">
              <a:extLst>
                <a:ext uri="{FF2B5EF4-FFF2-40B4-BE49-F238E27FC236}">
                  <a16:creationId xmlns:a16="http://schemas.microsoft.com/office/drawing/2014/main" id="{574D2A0D-0B14-4D71-A396-0EE330BFB491}"/>
                </a:ext>
              </a:extLst>
            </p:cNvPr>
            <p:cNvGrpSpPr/>
            <p:nvPr/>
          </p:nvGrpSpPr>
          <p:grpSpPr>
            <a:xfrm>
              <a:off x="2405956" y="1727124"/>
              <a:ext cx="285750" cy="285750"/>
              <a:chOff x="9891713" y="1344613"/>
              <a:chExt cx="285750" cy="285750"/>
            </a:xfrm>
            <a:solidFill>
              <a:schemeClr val="bg1"/>
            </a:solidFill>
          </p:grpSpPr>
          <p:sp>
            <p:nvSpPr>
              <p:cNvPr id="367" name="Freeform 298">
                <a:extLst>
                  <a:ext uri="{FF2B5EF4-FFF2-40B4-BE49-F238E27FC236}">
                    <a16:creationId xmlns:a16="http://schemas.microsoft.com/office/drawing/2014/main" id="{E9B700D2-7ED1-4CE1-B29C-67C34BF90D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91713" y="1344613"/>
                <a:ext cx="285750" cy="285750"/>
              </a:xfrm>
              <a:custGeom>
                <a:avLst/>
                <a:gdLst>
                  <a:gd name="T0" fmla="*/ 542 w 903"/>
                  <a:gd name="T1" fmla="*/ 707 h 903"/>
                  <a:gd name="T2" fmla="*/ 540 w 903"/>
                  <a:gd name="T3" fmla="*/ 702 h 903"/>
                  <a:gd name="T4" fmla="*/ 537 w 903"/>
                  <a:gd name="T5" fmla="*/ 696 h 903"/>
                  <a:gd name="T6" fmla="*/ 533 w 903"/>
                  <a:gd name="T7" fmla="*/ 693 h 903"/>
                  <a:gd name="T8" fmla="*/ 526 w 903"/>
                  <a:gd name="T9" fmla="*/ 692 h 903"/>
                  <a:gd name="T10" fmla="*/ 373 w 903"/>
                  <a:gd name="T11" fmla="*/ 692 h 903"/>
                  <a:gd name="T12" fmla="*/ 367 w 903"/>
                  <a:gd name="T13" fmla="*/ 694 h 903"/>
                  <a:gd name="T14" fmla="*/ 364 w 903"/>
                  <a:gd name="T15" fmla="*/ 698 h 903"/>
                  <a:gd name="T16" fmla="*/ 361 w 903"/>
                  <a:gd name="T17" fmla="*/ 704 h 903"/>
                  <a:gd name="T18" fmla="*/ 361 w 903"/>
                  <a:gd name="T19" fmla="*/ 872 h 903"/>
                  <a:gd name="T20" fmla="*/ 181 w 903"/>
                  <a:gd name="T21" fmla="*/ 210 h 903"/>
                  <a:gd name="T22" fmla="*/ 722 w 903"/>
                  <a:gd name="T23" fmla="*/ 872 h 903"/>
                  <a:gd name="T24" fmla="*/ 391 w 903"/>
                  <a:gd name="T25" fmla="*/ 872 h 903"/>
                  <a:gd name="T26" fmla="*/ 511 w 903"/>
                  <a:gd name="T27" fmla="*/ 722 h 903"/>
                  <a:gd name="T28" fmla="*/ 391 w 903"/>
                  <a:gd name="T29" fmla="*/ 872 h 903"/>
                  <a:gd name="T30" fmla="*/ 451 w 903"/>
                  <a:gd name="T31" fmla="*/ 31 h 903"/>
                  <a:gd name="T32" fmla="*/ 783 w 903"/>
                  <a:gd name="T33" fmla="*/ 180 h 903"/>
                  <a:gd name="T34" fmla="*/ 166 w 903"/>
                  <a:gd name="T35" fmla="*/ 180 h 903"/>
                  <a:gd name="T36" fmla="*/ 121 w 903"/>
                  <a:gd name="T37" fmla="*/ 160 h 903"/>
                  <a:gd name="T38" fmla="*/ 753 w 903"/>
                  <a:gd name="T39" fmla="*/ 872 h 903"/>
                  <a:gd name="T40" fmla="*/ 798 w 903"/>
                  <a:gd name="T41" fmla="*/ 210 h 903"/>
                  <a:gd name="T42" fmla="*/ 804 w 903"/>
                  <a:gd name="T43" fmla="*/ 209 h 903"/>
                  <a:gd name="T44" fmla="*/ 808 w 903"/>
                  <a:gd name="T45" fmla="*/ 206 h 903"/>
                  <a:gd name="T46" fmla="*/ 811 w 903"/>
                  <a:gd name="T47" fmla="*/ 201 h 903"/>
                  <a:gd name="T48" fmla="*/ 813 w 903"/>
                  <a:gd name="T49" fmla="*/ 195 h 903"/>
                  <a:gd name="T50" fmla="*/ 813 w 903"/>
                  <a:gd name="T51" fmla="*/ 146 h 903"/>
                  <a:gd name="T52" fmla="*/ 807 w 903"/>
                  <a:gd name="T53" fmla="*/ 138 h 903"/>
                  <a:gd name="T54" fmla="*/ 456 w 903"/>
                  <a:gd name="T55" fmla="*/ 0 h 903"/>
                  <a:gd name="T56" fmla="*/ 446 w 903"/>
                  <a:gd name="T57" fmla="*/ 0 h 903"/>
                  <a:gd name="T58" fmla="*/ 96 w 903"/>
                  <a:gd name="T59" fmla="*/ 138 h 903"/>
                  <a:gd name="T60" fmla="*/ 91 w 903"/>
                  <a:gd name="T61" fmla="*/ 146 h 903"/>
                  <a:gd name="T62" fmla="*/ 90 w 903"/>
                  <a:gd name="T63" fmla="*/ 195 h 903"/>
                  <a:gd name="T64" fmla="*/ 92 w 903"/>
                  <a:gd name="T65" fmla="*/ 201 h 903"/>
                  <a:gd name="T66" fmla="*/ 95 w 903"/>
                  <a:gd name="T67" fmla="*/ 206 h 903"/>
                  <a:gd name="T68" fmla="*/ 99 w 903"/>
                  <a:gd name="T69" fmla="*/ 209 h 903"/>
                  <a:gd name="T70" fmla="*/ 106 w 903"/>
                  <a:gd name="T71" fmla="*/ 210 h 903"/>
                  <a:gd name="T72" fmla="*/ 151 w 903"/>
                  <a:gd name="T73" fmla="*/ 872 h 903"/>
                  <a:gd name="T74" fmla="*/ 11 w 903"/>
                  <a:gd name="T75" fmla="*/ 873 h 903"/>
                  <a:gd name="T76" fmla="*/ 6 w 903"/>
                  <a:gd name="T77" fmla="*/ 876 h 903"/>
                  <a:gd name="T78" fmla="*/ 3 w 903"/>
                  <a:gd name="T79" fmla="*/ 880 h 903"/>
                  <a:gd name="T80" fmla="*/ 1 w 903"/>
                  <a:gd name="T81" fmla="*/ 885 h 903"/>
                  <a:gd name="T82" fmla="*/ 1 w 903"/>
                  <a:gd name="T83" fmla="*/ 891 h 903"/>
                  <a:gd name="T84" fmla="*/ 3 w 903"/>
                  <a:gd name="T85" fmla="*/ 896 h 903"/>
                  <a:gd name="T86" fmla="*/ 6 w 903"/>
                  <a:gd name="T87" fmla="*/ 900 h 903"/>
                  <a:gd name="T88" fmla="*/ 11 w 903"/>
                  <a:gd name="T89" fmla="*/ 902 h 903"/>
                  <a:gd name="T90" fmla="*/ 166 w 903"/>
                  <a:gd name="T91" fmla="*/ 902 h 903"/>
                  <a:gd name="T92" fmla="*/ 527 w 903"/>
                  <a:gd name="T93" fmla="*/ 902 h 903"/>
                  <a:gd name="T94" fmla="*/ 888 w 903"/>
                  <a:gd name="T95" fmla="*/ 902 h 903"/>
                  <a:gd name="T96" fmla="*/ 894 w 903"/>
                  <a:gd name="T97" fmla="*/ 901 h 903"/>
                  <a:gd name="T98" fmla="*/ 898 w 903"/>
                  <a:gd name="T99" fmla="*/ 898 h 903"/>
                  <a:gd name="T100" fmla="*/ 902 w 903"/>
                  <a:gd name="T101" fmla="*/ 894 h 903"/>
                  <a:gd name="T102" fmla="*/ 903 w 903"/>
                  <a:gd name="T103" fmla="*/ 888 h 903"/>
                  <a:gd name="T104" fmla="*/ 902 w 903"/>
                  <a:gd name="T105" fmla="*/ 882 h 903"/>
                  <a:gd name="T106" fmla="*/ 898 w 903"/>
                  <a:gd name="T107" fmla="*/ 878 h 903"/>
                  <a:gd name="T108" fmla="*/ 894 w 903"/>
                  <a:gd name="T109" fmla="*/ 874 h 903"/>
                  <a:gd name="T110" fmla="*/ 888 w 903"/>
                  <a:gd name="T111" fmla="*/ 873 h 9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03" h="903">
                    <a:moveTo>
                      <a:pt x="542" y="872"/>
                    </a:moveTo>
                    <a:lnTo>
                      <a:pt x="542" y="707"/>
                    </a:lnTo>
                    <a:lnTo>
                      <a:pt x="541" y="704"/>
                    </a:lnTo>
                    <a:lnTo>
                      <a:pt x="540" y="702"/>
                    </a:lnTo>
                    <a:lnTo>
                      <a:pt x="539" y="698"/>
                    </a:lnTo>
                    <a:lnTo>
                      <a:pt x="537" y="696"/>
                    </a:lnTo>
                    <a:lnTo>
                      <a:pt x="535" y="695"/>
                    </a:lnTo>
                    <a:lnTo>
                      <a:pt x="533" y="693"/>
                    </a:lnTo>
                    <a:lnTo>
                      <a:pt x="529" y="692"/>
                    </a:lnTo>
                    <a:lnTo>
                      <a:pt x="526" y="692"/>
                    </a:lnTo>
                    <a:lnTo>
                      <a:pt x="376" y="692"/>
                    </a:lnTo>
                    <a:lnTo>
                      <a:pt x="373" y="692"/>
                    </a:lnTo>
                    <a:lnTo>
                      <a:pt x="371" y="693"/>
                    </a:lnTo>
                    <a:lnTo>
                      <a:pt x="367" y="694"/>
                    </a:lnTo>
                    <a:lnTo>
                      <a:pt x="365" y="696"/>
                    </a:lnTo>
                    <a:lnTo>
                      <a:pt x="364" y="698"/>
                    </a:lnTo>
                    <a:lnTo>
                      <a:pt x="362" y="702"/>
                    </a:lnTo>
                    <a:lnTo>
                      <a:pt x="361" y="704"/>
                    </a:lnTo>
                    <a:lnTo>
                      <a:pt x="361" y="707"/>
                    </a:lnTo>
                    <a:lnTo>
                      <a:pt x="361" y="872"/>
                    </a:lnTo>
                    <a:lnTo>
                      <a:pt x="181" y="872"/>
                    </a:lnTo>
                    <a:lnTo>
                      <a:pt x="181" y="210"/>
                    </a:lnTo>
                    <a:lnTo>
                      <a:pt x="722" y="210"/>
                    </a:lnTo>
                    <a:lnTo>
                      <a:pt x="722" y="872"/>
                    </a:lnTo>
                    <a:lnTo>
                      <a:pt x="542" y="872"/>
                    </a:lnTo>
                    <a:close/>
                    <a:moveTo>
                      <a:pt x="391" y="872"/>
                    </a:moveTo>
                    <a:lnTo>
                      <a:pt x="391" y="722"/>
                    </a:lnTo>
                    <a:lnTo>
                      <a:pt x="511" y="722"/>
                    </a:lnTo>
                    <a:lnTo>
                      <a:pt x="511" y="872"/>
                    </a:lnTo>
                    <a:lnTo>
                      <a:pt x="391" y="872"/>
                    </a:lnTo>
                    <a:close/>
                    <a:moveTo>
                      <a:pt x="121" y="160"/>
                    </a:moveTo>
                    <a:lnTo>
                      <a:pt x="451" y="31"/>
                    </a:lnTo>
                    <a:lnTo>
                      <a:pt x="783" y="160"/>
                    </a:lnTo>
                    <a:lnTo>
                      <a:pt x="783" y="180"/>
                    </a:lnTo>
                    <a:lnTo>
                      <a:pt x="737" y="180"/>
                    </a:lnTo>
                    <a:lnTo>
                      <a:pt x="166" y="180"/>
                    </a:lnTo>
                    <a:lnTo>
                      <a:pt x="121" y="180"/>
                    </a:lnTo>
                    <a:lnTo>
                      <a:pt x="121" y="160"/>
                    </a:lnTo>
                    <a:close/>
                    <a:moveTo>
                      <a:pt x="888" y="872"/>
                    </a:moveTo>
                    <a:lnTo>
                      <a:pt x="753" y="872"/>
                    </a:lnTo>
                    <a:lnTo>
                      <a:pt x="753" y="210"/>
                    </a:lnTo>
                    <a:lnTo>
                      <a:pt x="798" y="210"/>
                    </a:lnTo>
                    <a:lnTo>
                      <a:pt x="801" y="210"/>
                    </a:lnTo>
                    <a:lnTo>
                      <a:pt x="804" y="209"/>
                    </a:lnTo>
                    <a:lnTo>
                      <a:pt x="806" y="208"/>
                    </a:lnTo>
                    <a:lnTo>
                      <a:pt x="808" y="206"/>
                    </a:lnTo>
                    <a:lnTo>
                      <a:pt x="810" y="204"/>
                    </a:lnTo>
                    <a:lnTo>
                      <a:pt x="811" y="201"/>
                    </a:lnTo>
                    <a:lnTo>
                      <a:pt x="813" y="198"/>
                    </a:lnTo>
                    <a:lnTo>
                      <a:pt x="813" y="195"/>
                    </a:lnTo>
                    <a:lnTo>
                      <a:pt x="813" y="150"/>
                    </a:lnTo>
                    <a:lnTo>
                      <a:pt x="813" y="146"/>
                    </a:lnTo>
                    <a:lnTo>
                      <a:pt x="810" y="142"/>
                    </a:lnTo>
                    <a:lnTo>
                      <a:pt x="807" y="138"/>
                    </a:lnTo>
                    <a:lnTo>
                      <a:pt x="803" y="136"/>
                    </a:lnTo>
                    <a:lnTo>
                      <a:pt x="456" y="0"/>
                    </a:lnTo>
                    <a:lnTo>
                      <a:pt x="451" y="0"/>
                    </a:lnTo>
                    <a:lnTo>
                      <a:pt x="446" y="0"/>
                    </a:lnTo>
                    <a:lnTo>
                      <a:pt x="99" y="136"/>
                    </a:lnTo>
                    <a:lnTo>
                      <a:pt x="96" y="138"/>
                    </a:lnTo>
                    <a:lnTo>
                      <a:pt x="93" y="142"/>
                    </a:lnTo>
                    <a:lnTo>
                      <a:pt x="91" y="146"/>
                    </a:lnTo>
                    <a:lnTo>
                      <a:pt x="90" y="150"/>
                    </a:lnTo>
                    <a:lnTo>
                      <a:pt x="90" y="195"/>
                    </a:lnTo>
                    <a:lnTo>
                      <a:pt x="91" y="198"/>
                    </a:lnTo>
                    <a:lnTo>
                      <a:pt x="92" y="201"/>
                    </a:lnTo>
                    <a:lnTo>
                      <a:pt x="93" y="204"/>
                    </a:lnTo>
                    <a:lnTo>
                      <a:pt x="95" y="206"/>
                    </a:lnTo>
                    <a:lnTo>
                      <a:pt x="97" y="208"/>
                    </a:lnTo>
                    <a:lnTo>
                      <a:pt x="99" y="209"/>
                    </a:lnTo>
                    <a:lnTo>
                      <a:pt x="103" y="210"/>
                    </a:lnTo>
                    <a:lnTo>
                      <a:pt x="106" y="210"/>
                    </a:lnTo>
                    <a:lnTo>
                      <a:pt x="151" y="210"/>
                    </a:lnTo>
                    <a:lnTo>
                      <a:pt x="151" y="872"/>
                    </a:lnTo>
                    <a:lnTo>
                      <a:pt x="15" y="872"/>
                    </a:lnTo>
                    <a:lnTo>
                      <a:pt x="11" y="873"/>
                    </a:lnTo>
                    <a:lnTo>
                      <a:pt x="9" y="874"/>
                    </a:lnTo>
                    <a:lnTo>
                      <a:pt x="6" y="876"/>
                    </a:lnTo>
                    <a:lnTo>
                      <a:pt x="4" y="878"/>
                    </a:lnTo>
                    <a:lnTo>
                      <a:pt x="3" y="880"/>
                    </a:lnTo>
                    <a:lnTo>
                      <a:pt x="1" y="882"/>
                    </a:lnTo>
                    <a:lnTo>
                      <a:pt x="1" y="885"/>
                    </a:lnTo>
                    <a:lnTo>
                      <a:pt x="0" y="888"/>
                    </a:lnTo>
                    <a:lnTo>
                      <a:pt x="1" y="891"/>
                    </a:lnTo>
                    <a:lnTo>
                      <a:pt x="1" y="894"/>
                    </a:lnTo>
                    <a:lnTo>
                      <a:pt x="3" y="896"/>
                    </a:lnTo>
                    <a:lnTo>
                      <a:pt x="4" y="898"/>
                    </a:lnTo>
                    <a:lnTo>
                      <a:pt x="6" y="900"/>
                    </a:lnTo>
                    <a:lnTo>
                      <a:pt x="9" y="901"/>
                    </a:lnTo>
                    <a:lnTo>
                      <a:pt x="11" y="902"/>
                    </a:lnTo>
                    <a:lnTo>
                      <a:pt x="15" y="903"/>
                    </a:lnTo>
                    <a:lnTo>
                      <a:pt x="166" y="902"/>
                    </a:lnTo>
                    <a:lnTo>
                      <a:pt x="376" y="902"/>
                    </a:lnTo>
                    <a:lnTo>
                      <a:pt x="527" y="902"/>
                    </a:lnTo>
                    <a:lnTo>
                      <a:pt x="737" y="902"/>
                    </a:lnTo>
                    <a:lnTo>
                      <a:pt x="888" y="902"/>
                    </a:lnTo>
                    <a:lnTo>
                      <a:pt x="891" y="902"/>
                    </a:lnTo>
                    <a:lnTo>
                      <a:pt x="894" y="901"/>
                    </a:lnTo>
                    <a:lnTo>
                      <a:pt x="896" y="900"/>
                    </a:lnTo>
                    <a:lnTo>
                      <a:pt x="898" y="898"/>
                    </a:lnTo>
                    <a:lnTo>
                      <a:pt x="901" y="896"/>
                    </a:lnTo>
                    <a:lnTo>
                      <a:pt x="902" y="894"/>
                    </a:lnTo>
                    <a:lnTo>
                      <a:pt x="903" y="891"/>
                    </a:lnTo>
                    <a:lnTo>
                      <a:pt x="903" y="888"/>
                    </a:lnTo>
                    <a:lnTo>
                      <a:pt x="903" y="885"/>
                    </a:lnTo>
                    <a:lnTo>
                      <a:pt x="902" y="882"/>
                    </a:lnTo>
                    <a:lnTo>
                      <a:pt x="901" y="880"/>
                    </a:lnTo>
                    <a:lnTo>
                      <a:pt x="898" y="878"/>
                    </a:lnTo>
                    <a:lnTo>
                      <a:pt x="896" y="876"/>
                    </a:lnTo>
                    <a:lnTo>
                      <a:pt x="894" y="874"/>
                    </a:lnTo>
                    <a:lnTo>
                      <a:pt x="891" y="873"/>
                    </a:lnTo>
                    <a:lnTo>
                      <a:pt x="888" y="873"/>
                    </a:lnTo>
                    <a:lnTo>
                      <a:pt x="888" y="87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Freeform 299">
                <a:extLst>
                  <a:ext uri="{FF2B5EF4-FFF2-40B4-BE49-F238E27FC236}">
                    <a16:creationId xmlns:a16="http://schemas.microsoft.com/office/drawing/2014/main" id="{FD1160A7-25F0-49BB-9051-7F6E47F742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06013" y="1516063"/>
                <a:ext cx="57150" cy="38100"/>
              </a:xfrm>
              <a:custGeom>
                <a:avLst/>
                <a:gdLst>
                  <a:gd name="T0" fmla="*/ 150 w 181"/>
                  <a:gd name="T1" fmla="*/ 90 h 120"/>
                  <a:gd name="T2" fmla="*/ 30 w 181"/>
                  <a:gd name="T3" fmla="*/ 90 h 120"/>
                  <a:gd name="T4" fmla="*/ 30 w 181"/>
                  <a:gd name="T5" fmla="*/ 30 h 120"/>
                  <a:gd name="T6" fmla="*/ 150 w 181"/>
                  <a:gd name="T7" fmla="*/ 30 h 120"/>
                  <a:gd name="T8" fmla="*/ 150 w 181"/>
                  <a:gd name="T9" fmla="*/ 90 h 120"/>
                  <a:gd name="T10" fmla="*/ 166 w 181"/>
                  <a:gd name="T11" fmla="*/ 0 h 120"/>
                  <a:gd name="T12" fmla="*/ 15 w 181"/>
                  <a:gd name="T13" fmla="*/ 0 h 120"/>
                  <a:gd name="T14" fmla="*/ 12 w 181"/>
                  <a:gd name="T15" fmla="*/ 0 h 120"/>
                  <a:gd name="T16" fmla="*/ 10 w 181"/>
                  <a:gd name="T17" fmla="*/ 1 h 120"/>
                  <a:gd name="T18" fmla="*/ 6 w 181"/>
                  <a:gd name="T19" fmla="*/ 2 h 120"/>
                  <a:gd name="T20" fmla="*/ 4 w 181"/>
                  <a:gd name="T21" fmla="*/ 4 h 120"/>
                  <a:gd name="T22" fmla="*/ 3 w 181"/>
                  <a:gd name="T23" fmla="*/ 6 h 120"/>
                  <a:gd name="T24" fmla="*/ 1 w 181"/>
                  <a:gd name="T25" fmla="*/ 8 h 120"/>
                  <a:gd name="T26" fmla="*/ 0 w 181"/>
                  <a:gd name="T27" fmla="*/ 12 h 120"/>
                  <a:gd name="T28" fmla="*/ 0 w 181"/>
                  <a:gd name="T29" fmla="*/ 15 h 120"/>
                  <a:gd name="T30" fmla="*/ 0 w 181"/>
                  <a:gd name="T31" fmla="*/ 105 h 120"/>
                  <a:gd name="T32" fmla="*/ 0 w 181"/>
                  <a:gd name="T33" fmla="*/ 108 h 120"/>
                  <a:gd name="T34" fmla="*/ 1 w 181"/>
                  <a:gd name="T35" fmla="*/ 110 h 120"/>
                  <a:gd name="T36" fmla="*/ 3 w 181"/>
                  <a:gd name="T37" fmla="*/ 114 h 120"/>
                  <a:gd name="T38" fmla="*/ 4 w 181"/>
                  <a:gd name="T39" fmla="*/ 116 h 120"/>
                  <a:gd name="T40" fmla="*/ 6 w 181"/>
                  <a:gd name="T41" fmla="*/ 118 h 120"/>
                  <a:gd name="T42" fmla="*/ 10 w 181"/>
                  <a:gd name="T43" fmla="*/ 119 h 120"/>
                  <a:gd name="T44" fmla="*/ 12 w 181"/>
                  <a:gd name="T45" fmla="*/ 120 h 120"/>
                  <a:gd name="T46" fmla="*/ 15 w 181"/>
                  <a:gd name="T47" fmla="*/ 120 h 120"/>
                  <a:gd name="T48" fmla="*/ 166 w 181"/>
                  <a:gd name="T49" fmla="*/ 120 h 120"/>
                  <a:gd name="T50" fmla="*/ 168 w 181"/>
                  <a:gd name="T51" fmla="*/ 120 h 120"/>
                  <a:gd name="T52" fmla="*/ 172 w 181"/>
                  <a:gd name="T53" fmla="*/ 119 h 120"/>
                  <a:gd name="T54" fmla="*/ 174 w 181"/>
                  <a:gd name="T55" fmla="*/ 118 h 120"/>
                  <a:gd name="T56" fmla="*/ 176 w 181"/>
                  <a:gd name="T57" fmla="*/ 116 h 120"/>
                  <a:gd name="T58" fmla="*/ 178 w 181"/>
                  <a:gd name="T59" fmla="*/ 114 h 120"/>
                  <a:gd name="T60" fmla="*/ 179 w 181"/>
                  <a:gd name="T61" fmla="*/ 110 h 120"/>
                  <a:gd name="T62" fmla="*/ 180 w 181"/>
                  <a:gd name="T63" fmla="*/ 108 h 120"/>
                  <a:gd name="T64" fmla="*/ 181 w 181"/>
                  <a:gd name="T65" fmla="*/ 105 h 120"/>
                  <a:gd name="T66" fmla="*/ 181 w 181"/>
                  <a:gd name="T67" fmla="*/ 15 h 120"/>
                  <a:gd name="T68" fmla="*/ 180 w 181"/>
                  <a:gd name="T69" fmla="*/ 12 h 120"/>
                  <a:gd name="T70" fmla="*/ 179 w 181"/>
                  <a:gd name="T71" fmla="*/ 8 h 120"/>
                  <a:gd name="T72" fmla="*/ 178 w 181"/>
                  <a:gd name="T73" fmla="*/ 6 h 120"/>
                  <a:gd name="T74" fmla="*/ 176 w 181"/>
                  <a:gd name="T75" fmla="*/ 4 h 120"/>
                  <a:gd name="T76" fmla="*/ 174 w 181"/>
                  <a:gd name="T77" fmla="*/ 2 h 120"/>
                  <a:gd name="T78" fmla="*/ 172 w 181"/>
                  <a:gd name="T79" fmla="*/ 1 h 120"/>
                  <a:gd name="T80" fmla="*/ 168 w 181"/>
                  <a:gd name="T81" fmla="*/ 0 h 120"/>
                  <a:gd name="T82" fmla="*/ 166 w 181"/>
                  <a:gd name="T8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1" h="120">
                    <a:moveTo>
                      <a:pt x="15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150" y="30"/>
                    </a:lnTo>
                    <a:lnTo>
                      <a:pt x="150" y="90"/>
                    </a:lnTo>
                    <a:close/>
                    <a:moveTo>
                      <a:pt x="166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10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8"/>
                    </a:lnTo>
                    <a:lnTo>
                      <a:pt x="1" y="110"/>
                    </a:lnTo>
                    <a:lnTo>
                      <a:pt x="3" y="114"/>
                    </a:lnTo>
                    <a:lnTo>
                      <a:pt x="4" y="116"/>
                    </a:lnTo>
                    <a:lnTo>
                      <a:pt x="6" y="118"/>
                    </a:lnTo>
                    <a:lnTo>
                      <a:pt x="10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66" y="120"/>
                    </a:lnTo>
                    <a:lnTo>
                      <a:pt x="168" y="120"/>
                    </a:lnTo>
                    <a:lnTo>
                      <a:pt x="172" y="119"/>
                    </a:lnTo>
                    <a:lnTo>
                      <a:pt x="174" y="118"/>
                    </a:lnTo>
                    <a:lnTo>
                      <a:pt x="176" y="116"/>
                    </a:lnTo>
                    <a:lnTo>
                      <a:pt x="178" y="114"/>
                    </a:lnTo>
                    <a:lnTo>
                      <a:pt x="179" y="110"/>
                    </a:lnTo>
                    <a:lnTo>
                      <a:pt x="180" y="108"/>
                    </a:lnTo>
                    <a:lnTo>
                      <a:pt x="181" y="105"/>
                    </a:lnTo>
                    <a:lnTo>
                      <a:pt x="181" y="15"/>
                    </a:lnTo>
                    <a:lnTo>
                      <a:pt x="180" y="12"/>
                    </a:lnTo>
                    <a:lnTo>
                      <a:pt x="179" y="8"/>
                    </a:lnTo>
                    <a:lnTo>
                      <a:pt x="178" y="6"/>
                    </a:lnTo>
                    <a:lnTo>
                      <a:pt x="176" y="4"/>
                    </a:lnTo>
                    <a:lnTo>
                      <a:pt x="174" y="2"/>
                    </a:lnTo>
                    <a:lnTo>
                      <a:pt x="172" y="1"/>
                    </a:lnTo>
                    <a:lnTo>
                      <a:pt x="168" y="0"/>
                    </a:lnTo>
                    <a:lnTo>
                      <a:pt x="16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Freeform 300">
                <a:extLst>
                  <a:ext uri="{FF2B5EF4-FFF2-40B4-BE49-F238E27FC236}">
                    <a16:creationId xmlns:a16="http://schemas.microsoft.com/office/drawing/2014/main" id="{948E0732-589E-4ADB-BA94-CE5166036F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06013" y="1468438"/>
                <a:ext cx="57150" cy="38100"/>
              </a:xfrm>
              <a:custGeom>
                <a:avLst/>
                <a:gdLst>
                  <a:gd name="T0" fmla="*/ 150 w 181"/>
                  <a:gd name="T1" fmla="*/ 91 h 121"/>
                  <a:gd name="T2" fmla="*/ 30 w 181"/>
                  <a:gd name="T3" fmla="*/ 91 h 121"/>
                  <a:gd name="T4" fmla="*/ 30 w 181"/>
                  <a:gd name="T5" fmla="*/ 30 h 121"/>
                  <a:gd name="T6" fmla="*/ 150 w 181"/>
                  <a:gd name="T7" fmla="*/ 30 h 121"/>
                  <a:gd name="T8" fmla="*/ 150 w 181"/>
                  <a:gd name="T9" fmla="*/ 91 h 121"/>
                  <a:gd name="T10" fmla="*/ 166 w 181"/>
                  <a:gd name="T11" fmla="*/ 0 h 121"/>
                  <a:gd name="T12" fmla="*/ 15 w 181"/>
                  <a:gd name="T13" fmla="*/ 0 h 121"/>
                  <a:gd name="T14" fmla="*/ 12 w 181"/>
                  <a:gd name="T15" fmla="*/ 1 h 121"/>
                  <a:gd name="T16" fmla="*/ 10 w 181"/>
                  <a:gd name="T17" fmla="*/ 2 h 121"/>
                  <a:gd name="T18" fmla="*/ 6 w 181"/>
                  <a:gd name="T19" fmla="*/ 3 h 121"/>
                  <a:gd name="T20" fmla="*/ 4 w 181"/>
                  <a:gd name="T21" fmla="*/ 5 h 121"/>
                  <a:gd name="T22" fmla="*/ 3 w 181"/>
                  <a:gd name="T23" fmla="*/ 7 h 121"/>
                  <a:gd name="T24" fmla="*/ 1 w 181"/>
                  <a:gd name="T25" fmla="*/ 9 h 121"/>
                  <a:gd name="T26" fmla="*/ 0 w 181"/>
                  <a:gd name="T27" fmla="*/ 12 h 121"/>
                  <a:gd name="T28" fmla="*/ 0 w 181"/>
                  <a:gd name="T29" fmla="*/ 15 h 121"/>
                  <a:gd name="T30" fmla="*/ 0 w 181"/>
                  <a:gd name="T31" fmla="*/ 106 h 121"/>
                  <a:gd name="T32" fmla="*/ 0 w 181"/>
                  <a:gd name="T33" fmla="*/ 108 h 121"/>
                  <a:gd name="T34" fmla="*/ 1 w 181"/>
                  <a:gd name="T35" fmla="*/ 111 h 121"/>
                  <a:gd name="T36" fmla="*/ 3 w 181"/>
                  <a:gd name="T37" fmla="*/ 113 h 121"/>
                  <a:gd name="T38" fmla="*/ 4 w 181"/>
                  <a:gd name="T39" fmla="*/ 116 h 121"/>
                  <a:gd name="T40" fmla="*/ 6 w 181"/>
                  <a:gd name="T41" fmla="*/ 118 h 121"/>
                  <a:gd name="T42" fmla="*/ 10 w 181"/>
                  <a:gd name="T43" fmla="*/ 120 h 121"/>
                  <a:gd name="T44" fmla="*/ 12 w 181"/>
                  <a:gd name="T45" fmla="*/ 120 h 121"/>
                  <a:gd name="T46" fmla="*/ 15 w 181"/>
                  <a:gd name="T47" fmla="*/ 121 h 121"/>
                  <a:gd name="T48" fmla="*/ 166 w 181"/>
                  <a:gd name="T49" fmla="*/ 121 h 121"/>
                  <a:gd name="T50" fmla="*/ 168 w 181"/>
                  <a:gd name="T51" fmla="*/ 120 h 121"/>
                  <a:gd name="T52" fmla="*/ 172 w 181"/>
                  <a:gd name="T53" fmla="*/ 120 h 121"/>
                  <a:gd name="T54" fmla="*/ 174 w 181"/>
                  <a:gd name="T55" fmla="*/ 118 h 121"/>
                  <a:gd name="T56" fmla="*/ 176 w 181"/>
                  <a:gd name="T57" fmla="*/ 116 h 121"/>
                  <a:gd name="T58" fmla="*/ 178 w 181"/>
                  <a:gd name="T59" fmla="*/ 113 h 121"/>
                  <a:gd name="T60" fmla="*/ 179 w 181"/>
                  <a:gd name="T61" fmla="*/ 111 h 121"/>
                  <a:gd name="T62" fmla="*/ 180 w 181"/>
                  <a:gd name="T63" fmla="*/ 108 h 121"/>
                  <a:gd name="T64" fmla="*/ 181 w 181"/>
                  <a:gd name="T65" fmla="*/ 106 h 121"/>
                  <a:gd name="T66" fmla="*/ 181 w 181"/>
                  <a:gd name="T67" fmla="*/ 15 h 121"/>
                  <a:gd name="T68" fmla="*/ 180 w 181"/>
                  <a:gd name="T69" fmla="*/ 12 h 121"/>
                  <a:gd name="T70" fmla="*/ 179 w 181"/>
                  <a:gd name="T71" fmla="*/ 9 h 121"/>
                  <a:gd name="T72" fmla="*/ 178 w 181"/>
                  <a:gd name="T73" fmla="*/ 7 h 121"/>
                  <a:gd name="T74" fmla="*/ 176 w 181"/>
                  <a:gd name="T75" fmla="*/ 5 h 121"/>
                  <a:gd name="T76" fmla="*/ 174 w 181"/>
                  <a:gd name="T77" fmla="*/ 3 h 121"/>
                  <a:gd name="T78" fmla="*/ 172 w 181"/>
                  <a:gd name="T79" fmla="*/ 2 h 121"/>
                  <a:gd name="T80" fmla="*/ 168 w 181"/>
                  <a:gd name="T81" fmla="*/ 1 h 121"/>
                  <a:gd name="T82" fmla="*/ 166 w 181"/>
                  <a:gd name="T8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1" h="121">
                    <a:moveTo>
                      <a:pt x="150" y="91"/>
                    </a:moveTo>
                    <a:lnTo>
                      <a:pt x="30" y="91"/>
                    </a:lnTo>
                    <a:lnTo>
                      <a:pt x="30" y="30"/>
                    </a:lnTo>
                    <a:lnTo>
                      <a:pt x="150" y="30"/>
                    </a:lnTo>
                    <a:lnTo>
                      <a:pt x="150" y="91"/>
                    </a:lnTo>
                    <a:close/>
                    <a:moveTo>
                      <a:pt x="166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10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6"/>
                    </a:lnTo>
                    <a:lnTo>
                      <a:pt x="0" y="108"/>
                    </a:lnTo>
                    <a:lnTo>
                      <a:pt x="1" y="111"/>
                    </a:lnTo>
                    <a:lnTo>
                      <a:pt x="3" y="113"/>
                    </a:lnTo>
                    <a:lnTo>
                      <a:pt x="4" y="116"/>
                    </a:lnTo>
                    <a:lnTo>
                      <a:pt x="6" y="118"/>
                    </a:lnTo>
                    <a:lnTo>
                      <a:pt x="10" y="120"/>
                    </a:lnTo>
                    <a:lnTo>
                      <a:pt x="12" y="120"/>
                    </a:lnTo>
                    <a:lnTo>
                      <a:pt x="15" y="121"/>
                    </a:lnTo>
                    <a:lnTo>
                      <a:pt x="166" y="121"/>
                    </a:lnTo>
                    <a:lnTo>
                      <a:pt x="168" y="120"/>
                    </a:lnTo>
                    <a:lnTo>
                      <a:pt x="172" y="120"/>
                    </a:lnTo>
                    <a:lnTo>
                      <a:pt x="174" y="118"/>
                    </a:lnTo>
                    <a:lnTo>
                      <a:pt x="176" y="116"/>
                    </a:lnTo>
                    <a:lnTo>
                      <a:pt x="178" y="113"/>
                    </a:lnTo>
                    <a:lnTo>
                      <a:pt x="179" y="111"/>
                    </a:lnTo>
                    <a:lnTo>
                      <a:pt x="180" y="108"/>
                    </a:lnTo>
                    <a:lnTo>
                      <a:pt x="181" y="106"/>
                    </a:lnTo>
                    <a:lnTo>
                      <a:pt x="181" y="15"/>
                    </a:lnTo>
                    <a:lnTo>
                      <a:pt x="180" y="12"/>
                    </a:lnTo>
                    <a:lnTo>
                      <a:pt x="179" y="9"/>
                    </a:lnTo>
                    <a:lnTo>
                      <a:pt x="178" y="7"/>
                    </a:lnTo>
                    <a:lnTo>
                      <a:pt x="176" y="5"/>
                    </a:lnTo>
                    <a:lnTo>
                      <a:pt x="174" y="3"/>
                    </a:lnTo>
                    <a:lnTo>
                      <a:pt x="172" y="2"/>
                    </a:lnTo>
                    <a:lnTo>
                      <a:pt x="168" y="1"/>
                    </a:lnTo>
                    <a:lnTo>
                      <a:pt x="16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Freeform 301">
                <a:extLst>
                  <a:ext uri="{FF2B5EF4-FFF2-40B4-BE49-F238E27FC236}">
                    <a16:creationId xmlns:a16="http://schemas.microsoft.com/office/drawing/2014/main" id="{B0E8074F-C0B4-4C1E-8F91-373CBF82CA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06013" y="1420813"/>
                <a:ext cx="57150" cy="38100"/>
              </a:xfrm>
              <a:custGeom>
                <a:avLst/>
                <a:gdLst>
                  <a:gd name="T0" fmla="*/ 150 w 181"/>
                  <a:gd name="T1" fmla="*/ 90 h 120"/>
                  <a:gd name="T2" fmla="*/ 30 w 181"/>
                  <a:gd name="T3" fmla="*/ 90 h 120"/>
                  <a:gd name="T4" fmla="*/ 30 w 181"/>
                  <a:gd name="T5" fmla="*/ 30 h 120"/>
                  <a:gd name="T6" fmla="*/ 150 w 181"/>
                  <a:gd name="T7" fmla="*/ 30 h 120"/>
                  <a:gd name="T8" fmla="*/ 150 w 181"/>
                  <a:gd name="T9" fmla="*/ 90 h 120"/>
                  <a:gd name="T10" fmla="*/ 166 w 181"/>
                  <a:gd name="T11" fmla="*/ 0 h 120"/>
                  <a:gd name="T12" fmla="*/ 15 w 181"/>
                  <a:gd name="T13" fmla="*/ 0 h 120"/>
                  <a:gd name="T14" fmla="*/ 12 w 181"/>
                  <a:gd name="T15" fmla="*/ 0 h 120"/>
                  <a:gd name="T16" fmla="*/ 10 w 181"/>
                  <a:gd name="T17" fmla="*/ 1 h 120"/>
                  <a:gd name="T18" fmla="*/ 6 w 181"/>
                  <a:gd name="T19" fmla="*/ 2 h 120"/>
                  <a:gd name="T20" fmla="*/ 4 w 181"/>
                  <a:gd name="T21" fmla="*/ 5 h 120"/>
                  <a:gd name="T22" fmla="*/ 3 w 181"/>
                  <a:gd name="T23" fmla="*/ 7 h 120"/>
                  <a:gd name="T24" fmla="*/ 1 w 181"/>
                  <a:gd name="T25" fmla="*/ 10 h 120"/>
                  <a:gd name="T26" fmla="*/ 0 w 181"/>
                  <a:gd name="T27" fmla="*/ 12 h 120"/>
                  <a:gd name="T28" fmla="*/ 0 w 181"/>
                  <a:gd name="T29" fmla="*/ 15 h 120"/>
                  <a:gd name="T30" fmla="*/ 0 w 181"/>
                  <a:gd name="T31" fmla="*/ 105 h 120"/>
                  <a:gd name="T32" fmla="*/ 0 w 181"/>
                  <a:gd name="T33" fmla="*/ 109 h 120"/>
                  <a:gd name="T34" fmla="*/ 1 w 181"/>
                  <a:gd name="T35" fmla="*/ 112 h 120"/>
                  <a:gd name="T36" fmla="*/ 3 w 181"/>
                  <a:gd name="T37" fmla="*/ 114 h 120"/>
                  <a:gd name="T38" fmla="*/ 4 w 181"/>
                  <a:gd name="T39" fmla="*/ 116 h 120"/>
                  <a:gd name="T40" fmla="*/ 6 w 181"/>
                  <a:gd name="T41" fmla="*/ 118 h 120"/>
                  <a:gd name="T42" fmla="*/ 10 w 181"/>
                  <a:gd name="T43" fmla="*/ 119 h 120"/>
                  <a:gd name="T44" fmla="*/ 12 w 181"/>
                  <a:gd name="T45" fmla="*/ 120 h 120"/>
                  <a:gd name="T46" fmla="*/ 15 w 181"/>
                  <a:gd name="T47" fmla="*/ 120 h 120"/>
                  <a:gd name="T48" fmla="*/ 166 w 181"/>
                  <a:gd name="T49" fmla="*/ 120 h 120"/>
                  <a:gd name="T50" fmla="*/ 168 w 181"/>
                  <a:gd name="T51" fmla="*/ 120 h 120"/>
                  <a:gd name="T52" fmla="*/ 172 w 181"/>
                  <a:gd name="T53" fmla="*/ 119 h 120"/>
                  <a:gd name="T54" fmla="*/ 174 w 181"/>
                  <a:gd name="T55" fmla="*/ 118 h 120"/>
                  <a:gd name="T56" fmla="*/ 176 w 181"/>
                  <a:gd name="T57" fmla="*/ 116 h 120"/>
                  <a:gd name="T58" fmla="*/ 178 w 181"/>
                  <a:gd name="T59" fmla="*/ 114 h 120"/>
                  <a:gd name="T60" fmla="*/ 179 w 181"/>
                  <a:gd name="T61" fmla="*/ 112 h 120"/>
                  <a:gd name="T62" fmla="*/ 180 w 181"/>
                  <a:gd name="T63" fmla="*/ 109 h 120"/>
                  <a:gd name="T64" fmla="*/ 181 w 181"/>
                  <a:gd name="T65" fmla="*/ 105 h 120"/>
                  <a:gd name="T66" fmla="*/ 181 w 181"/>
                  <a:gd name="T67" fmla="*/ 15 h 120"/>
                  <a:gd name="T68" fmla="*/ 180 w 181"/>
                  <a:gd name="T69" fmla="*/ 12 h 120"/>
                  <a:gd name="T70" fmla="*/ 179 w 181"/>
                  <a:gd name="T71" fmla="*/ 10 h 120"/>
                  <a:gd name="T72" fmla="*/ 178 w 181"/>
                  <a:gd name="T73" fmla="*/ 7 h 120"/>
                  <a:gd name="T74" fmla="*/ 176 w 181"/>
                  <a:gd name="T75" fmla="*/ 5 h 120"/>
                  <a:gd name="T76" fmla="*/ 174 w 181"/>
                  <a:gd name="T77" fmla="*/ 2 h 120"/>
                  <a:gd name="T78" fmla="*/ 172 w 181"/>
                  <a:gd name="T79" fmla="*/ 1 h 120"/>
                  <a:gd name="T80" fmla="*/ 168 w 181"/>
                  <a:gd name="T81" fmla="*/ 0 h 120"/>
                  <a:gd name="T82" fmla="*/ 166 w 181"/>
                  <a:gd name="T8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1" h="120">
                    <a:moveTo>
                      <a:pt x="15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150" y="30"/>
                    </a:lnTo>
                    <a:lnTo>
                      <a:pt x="150" y="90"/>
                    </a:lnTo>
                    <a:close/>
                    <a:moveTo>
                      <a:pt x="166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10" y="1"/>
                    </a:lnTo>
                    <a:lnTo>
                      <a:pt x="6" y="2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1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9"/>
                    </a:lnTo>
                    <a:lnTo>
                      <a:pt x="1" y="112"/>
                    </a:lnTo>
                    <a:lnTo>
                      <a:pt x="3" y="114"/>
                    </a:lnTo>
                    <a:lnTo>
                      <a:pt x="4" y="116"/>
                    </a:lnTo>
                    <a:lnTo>
                      <a:pt x="6" y="118"/>
                    </a:lnTo>
                    <a:lnTo>
                      <a:pt x="10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66" y="120"/>
                    </a:lnTo>
                    <a:lnTo>
                      <a:pt x="168" y="120"/>
                    </a:lnTo>
                    <a:lnTo>
                      <a:pt x="172" y="119"/>
                    </a:lnTo>
                    <a:lnTo>
                      <a:pt x="174" y="118"/>
                    </a:lnTo>
                    <a:lnTo>
                      <a:pt x="176" y="116"/>
                    </a:lnTo>
                    <a:lnTo>
                      <a:pt x="178" y="114"/>
                    </a:lnTo>
                    <a:lnTo>
                      <a:pt x="179" y="112"/>
                    </a:lnTo>
                    <a:lnTo>
                      <a:pt x="180" y="109"/>
                    </a:lnTo>
                    <a:lnTo>
                      <a:pt x="181" y="105"/>
                    </a:lnTo>
                    <a:lnTo>
                      <a:pt x="181" y="15"/>
                    </a:lnTo>
                    <a:lnTo>
                      <a:pt x="180" y="12"/>
                    </a:lnTo>
                    <a:lnTo>
                      <a:pt x="179" y="10"/>
                    </a:lnTo>
                    <a:lnTo>
                      <a:pt x="178" y="7"/>
                    </a:lnTo>
                    <a:lnTo>
                      <a:pt x="176" y="5"/>
                    </a:lnTo>
                    <a:lnTo>
                      <a:pt x="174" y="2"/>
                    </a:lnTo>
                    <a:lnTo>
                      <a:pt x="172" y="1"/>
                    </a:lnTo>
                    <a:lnTo>
                      <a:pt x="168" y="0"/>
                    </a:lnTo>
                    <a:lnTo>
                      <a:pt x="16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Freeform 302">
                <a:extLst>
                  <a:ext uri="{FF2B5EF4-FFF2-40B4-BE49-F238E27FC236}">
                    <a16:creationId xmlns:a16="http://schemas.microsoft.com/office/drawing/2014/main" id="{5893F5AF-C1F0-4EC7-A8D5-75BBCF5365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72688" y="1563688"/>
                <a:ext cx="38100" cy="38100"/>
              </a:xfrm>
              <a:custGeom>
                <a:avLst/>
                <a:gdLst>
                  <a:gd name="T0" fmla="*/ 90 w 120"/>
                  <a:gd name="T1" fmla="*/ 90 h 120"/>
                  <a:gd name="T2" fmla="*/ 30 w 120"/>
                  <a:gd name="T3" fmla="*/ 90 h 120"/>
                  <a:gd name="T4" fmla="*/ 30 w 120"/>
                  <a:gd name="T5" fmla="*/ 30 h 120"/>
                  <a:gd name="T6" fmla="*/ 90 w 120"/>
                  <a:gd name="T7" fmla="*/ 30 h 120"/>
                  <a:gd name="T8" fmla="*/ 90 w 120"/>
                  <a:gd name="T9" fmla="*/ 90 h 120"/>
                  <a:gd name="T10" fmla="*/ 105 w 120"/>
                  <a:gd name="T11" fmla="*/ 0 h 120"/>
                  <a:gd name="T12" fmla="*/ 15 w 120"/>
                  <a:gd name="T13" fmla="*/ 0 h 120"/>
                  <a:gd name="T14" fmla="*/ 12 w 120"/>
                  <a:gd name="T15" fmla="*/ 0 h 120"/>
                  <a:gd name="T16" fmla="*/ 9 w 120"/>
                  <a:gd name="T17" fmla="*/ 1 h 120"/>
                  <a:gd name="T18" fmla="*/ 7 w 120"/>
                  <a:gd name="T19" fmla="*/ 2 h 120"/>
                  <a:gd name="T20" fmla="*/ 5 w 120"/>
                  <a:gd name="T21" fmla="*/ 4 h 120"/>
                  <a:gd name="T22" fmla="*/ 2 w 120"/>
                  <a:gd name="T23" fmla="*/ 6 h 120"/>
                  <a:gd name="T24" fmla="*/ 1 w 120"/>
                  <a:gd name="T25" fmla="*/ 10 h 120"/>
                  <a:gd name="T26" fmla="*/ 0 w 120"/>
                  <a:gd name="T27" fmla="*/ 12 h 120"/>
                  <a:gd name="T28" fmla="*/ 0 w 120"/>
                  <a:gd name="T29" fmla="*/ 15 h 120"/>
                  <a:gd name="T30" fmla="*/ 0 w 120"/>
                  <a:gd name="T31" fmla="*/ 105 h 120"/>
                  <a:gd name="T32" fmla="*/ 0 w 120"/>
                  <a:gd name="T33" fmla="*/ 108 h 120"/>
                  <a:gd name="T34" fmla="*/ 1 w 120"/>
                  <a:gd name="T35" fmla="*/ 112 h 120"/>
                  <a:gd name="T36" fmla="*/ 2 w 120"/>
                  <a:gd name="T37" fmla="*/ 114 h 120"/>
                  <a:gd name="T38" fmla="*/ 5 w 120"/>
                  <a:gd name="T39" fmla="*/ 116 h 120"/>
                  <a:gd name="T40" fmla="*/ 7 w 120"/>
                  <a:gd name="T41" fmla="*/ 118 h 120"/>
                  <a:gd name="T42" fmla="*/ 9 w 120"/>
                  <a:gd name="T43" fmla="*/ 119 h 120"/>
                  <a:gd name="T44" fmla="*/ 12 w 120"/>
                  <a:gd name="T45" fmla="*/ 120 h 120"/>
                  <a:gd name="T46" fmla="*/ 15 w 120"/>
                  <a:gd name="T47" fmla="*/ 120 h 120"/>
                  <a:gd name="T48" fmla="*/ 105 w 120"/>
                  <a:gd name="T49" fmla="*/ 120 h 120"/>
                  <a:gd name="T50" fmla="*/ 109 w 120"/>
                  <a:gd name="T51" fmla="*/ 120 h 120"/>
                  <a:gd name="T52" fmla="*/ 111 w 120"/>
                  <a:gd name="T53" fmla="*/ 119 h 120"/>
                  <a:gd name="T54" fmla="*/ 114 w 120"/>
                  <a:gd name="T55" fmla="*/ 118 h 120"/>
                  <a:gd name="T56" fmla="*/ 116 w 120"/>
                  <a:gd name="T57" fmla="*/ 116 h 120"/>
                  <a:gd name="T58" fmla="*/ 117 w 120"/>
                  <a:gd name="T59" fmla="*/ 114 h 120"/>
                  <a:gd name="T60" fmla="*/ 119 w 120"/>
                  <a:gd name="T61" fmla="*/ 112 h 120"/>
                  <a:gd name="T62" fmla="*/ 120 w 120"/>
                  <a:gd name="T63" fmla="*/ 108 h 120"/>
                  <a:gd name="T64" fmla="*/ 120 w 120"/>
                  <a:gd name="T65" fmla="*/ 105 h 120"/>
                  <a:gd name="T66" fmla="*/ 120 w 120"/>
                  <a:gd name="T67" fmla="*/ 15 h 120"/>
                  <a:gd name="T68" fmla="*/ 120 w 120"/>
                  <a:gd name="T69" fmla="*/ 12 h 120"/>
                  <a:gd name="T70" fmla="*/ 119 w 120"/>
                  <a:gd name="T71" fmla="*/ 10 h 120"/>
                  <a:gd name="T72" fmla="*/ 117 w 120"/>
                  <a:gd name="T73" fmla="*/ 6 h 120"/>
                  <a:gd name="T74" fmla="*/ 116 w 120"/>
                  <a:gd name="T75" fmla="*/ 4 h 120"/>
                  <a:gd name="T76" fmla="*/ 114 w 120"/>
                  <a:gd name="T77" fmla="*/ 2 h 120"/>
                  <a:gd name="T78" fmla="*/ 111 w 120"/>
                  <a:gd name="T79" fmla="*/ 1 h 120"/>
                  <a:gd name="T80" fmla="*/ 109 w 120"/>
                  <a:gd name="T81" fmla="*/ 0 h 120"/>
                  <a:gd name="T82" fmla="*/ 105 w 120"/>
                  <a:gd name="T8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0" h="120">
                    <a:moveTo>
                      <a:pt x="9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0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9" y="1"/>
                    </a:lnTo>
                    <a:lnTo>
                      <a:pt x="7" y="2"/>
                    </a:lnTo>
                    <a:lnTo>
                      <a:pt x="5" y="4"/>
                    </a:lnTo>
                    <a:lnTo>
                      <a:pt x="2" y="6"/>
                    </a:lnTo>
                    <a:lnTo>
                      <a:pt x="1" y="1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8"/>
                    </a:lnTo>
                    <a:lnTo>
                      <a:pt x="1" y="112"/>
                    </a:lnTo>
                    <a:lnTo>
                      <a:pt x="2" y="114"/>
                    </a:lnTo>
                    <a:lnTo>
                      <a:pt x="5" y="116"/>
                    </a:lnTo>
                    <a:lnTo>
                      <a:pt x="7" y="118"/>
                    </a:lnTo>
                    <a:lnTo>
                      <a:pt x="9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05" y="120"/>
                    </a:lnTo>
                    <a:lnTo>
                      <a:pt x="109" y="120"/>
                    </a:lnTo>
                    <a:lnTo>
                      <a:pt x="111" y="119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7" y="114"/>
                    </a:lnTo>
                    <a:lnTo>
                      <a:pt x="119" y="112"/>
                    </a:lnTo>
                    <a:lnTo>
                      <a:pt x="120" y="108"/>
                    </a:lnTo>
                    <a:lnTo>
                      <a:pt x="120" y="105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10"/>
                    </a:lnTo>
                    <a:lnTo>
                      <a:pt x="117" y="6"/>
                    </a:lnTo>
                    <a:lnTo>
                      <a:pt x="116" y="4"/>
                    </a:lnTo>
                    <a:lnTo>
                      <a:pt x="114" y="2"/>
                    </a:lnTo>
                    <a:lnTo>
                      <a:pt x="111" y="1"/>
                    </a:lnTo>
                    <a:lnTo>
                      <a:pt x="109" y="0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Freeform 303">
                <a:extLst>
                  <a:ext uri="{FF2B5EF4-FFF2-40B4-BE49-F238E27FC236}">
                    <a16:creationId xmlns:a16="http://schemas.microsoft.com/office/drawing/2014/main" id="{70CC22DE-76F4-4EC9-BEDA-23324DA661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58388" y="1563688"/>
                <a:ext cx="38100" cy="38100"/>
              </a:xfrm>
              <a:custGeom>
                <a:avLst/>
                <a:gdLst>
                  <a:gd name="T0" fmla="*/ 90 w 120"/>
                  <a:gd name="T1" fmla="*/ 90 h 120"/>
                  <a:gd name="T2" fmla="*/ 30 w 120"/>
                  <a:gd name="T3" fmla="*/ 90 h 120"/>
                  <a:gd name="T4" fmla="*/ 30 w 120"/>
                  <a:gd name="T5" fmla="*/ 30 h 120"/>
                  <a:gd name="T6" fmla="*/ 90 w 120"/>
                  <a:gd name="T7" fmla="*/ 30 h 120"/>
                  <a:gd name="T8" fmla="*/ 90 w 120"/>
                  <a:gd name="T9" fmla="*/ 90 h 120"/>
                  <a:gd name="T10" fmla="*/ 105 w 120"/>
                  <a:gd name="T11" fmla="*/ 0 h 120"/>
                  <a:gd name="T12" fmla="*/ 15 w 120"/>
                  <a:gd name="T13" fmla="*/ 0 h 120"/>
                  <a:gd name="T14" fmla="*/ 12 w 120"/>
                  <a:gd name="T15" fmla="*/ 0 h 120"/>
                  <a:gd name="T16" fmla="*/ 8 w 120"/>
                  <a:gd name="T17" fmla="*/ 1 h 120"/>
                  <a:gd name="T18" fmla="*/ 6 w 120"/>
                  <a:gd name="T19" fmla="*/ 2 h 120"/>
                  <a:gd name="T20" fmla="*/ 4 w 120"/>
                  <a:gd name="T21" fmla="*/ 4 h 120"/>
                  <a:gd name="T22" fmla="*/ 2 w 120"/>
                  <a:gd name="T23" fmla="*/ 6 h 120"/>
                  <a:gd name="T24" fmla="*/ 1 w 120"/>
                  <a:gd name="T25" fmla="*/ 10 h 120"/>
                  <a:gd name="T26" fmla="*/ 0 w 120"/>
                  <a:gd name="T27" fmla="*/ 12 h 120"/>
                  <a:gd name="T28" fmla="*/ 0 w 120"/>
                  <a:gd name="T29" fmla="*/ 15 h 120"/>
                  <a:gd name="T30" fmla="*/ 0 w 120"/>
                  <a:gd name="T31" fmla="*/ 105 h 120"/>
                  <a:gd name="T32" fmla="*/ 0 w 120"/>
                  <a:gd name="T33" fmla="*/ 108 h 120"/>
                  <a:gd name="T34" fmla="*/ 1 w 120"/>
                  <a:gd name="T35" fmla="*/ 112 h 120"/>
                  <a:gd name="T36" fmla="*/ 2 w 120"/>
                  <a:gd name="T37" fmla="*/ 114 h 120"/>
                  <a:gd name="T38" fmla="*/ 4 w 120"/>
                  <a:gd name="T39" fmla="*/ 116 h 120"/>
                  <a:gd name="T40" fmla="*/ 6 w 120"/>
                  <a:gd name="T41" fmla="*/ 118 h 120"/>
                  <a:gd name="T42" fmla="*/ 8 w 120"/>
                  <a:gd name="T43" fmla="*/ 119 h 120"/>
                  <a:gd name="T44" fmla="*/ 12 w 120"/>
                  <a:gd name="T45" fmla="*/ 120 h 120"/>
                  <a:gd name="T46" fmla="*/ 15 w 120"/>
                  <a:gd name="T47" fmla="*/ 120 h 120"/>
                  <a:gd name="T48" fmla="*/ 105 w 120"/>
                  <a:gd name="T49" fmla="*/ 120 h 120"/>
                  <a:gd name="T50" fmla="*/ 108 w 120"/>
                  <a:gd name="T51" fmla="*/ 120 h 120"/>
                  <a:gd name="T52" fmla="*/ 110 w 120"/>
                  <a:gd name="T53" fmla="*/ 119 h 120"/>
                  <a:gd name="T54" fmla="*/ 114 w 120"/>
                  <a:gd name="T55" fmla="*/ 118 h 120"/>
                  <a:gd name="T56" fmla="*/ 116 w 120"/>
                  <a:gd name="T57" fmla="*/ 116 h 120"/>
                  <a:gd name="T58" fmla="*/ 118 w 120"/>
                  <a:gd name="T59" fmla="*/ 114 h 120"/>
                  <a:gd name="T60" fmla="*/ 119 w 120"/>
                  <a:gd name="T61" fmla="*/ 112 h 120"/>
                  <a:gd name="T62" fmla="*/ 120 w 120"/>
                  <a:gd name="T63" fmla="*/ 108 h 120"/>
                  <a:gd name="T64" fmla="*/ 120 w 120"/>
                  <a:gd name="T65" fmla="*/ 105 h 120"/>
                  <a:gd name="T66" fmla="*/ 120 w 120"/>
                  <a:gd name="T67" fmla="*/ 15 h 120"/>
                  <a:gd name="T68" fmla="*/ 120 w 120"/>
                  <a:gd name="T69" fmla="*/ 12 h 120"/>
                  <a:gd name="T70" fmla="*/ 119 w 120"/>
                  <a:gd name="T71" fmla="*/ 10 h 120"/>
                  <a:gd name="T72" fmla="*/ 118 w 120"/>
                  <a:gd name="T73" fmla="*/ 6 h 120"/>
                  <a:gd name="T74" fmla="*/ 116 w 120"/>
                  <a:gd name="T75" fmla="*/ 4 h 120"/>
                  <a:gd name="T76" fmla="*/ 114 w 120"/>
                  <a:gd name="T77" fmla="*/ 3 h 120"/>
                  <a:gd name="T78" fmla="*/ 110 w 120"/>
                  <a:gd name="T79" fmla="*/ 1 h 120"/>
                  <a:gd name="T80" fmla="*/ 108 w 120"/>
                  <a:gd name="T81" fmla="*/ 0 h 120"/>
                  <a:gd name="T82" fmla="*/ 105 w 120"/>
                  <a:gd name="T83" fmla="*/ 0 h 120"/>
                  <a:gd name="T84" fmla="*/ 105 w 120"/>
                  <a:gd name="T85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0" h="120">
                    <a:moveTo>
                      <a:pt x="9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0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1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8"/>
                    </a:lnTo>
                    <a:lnTo>
                      <a:pt x="1" y="112"/>
                    </a:lnTo>
                    <a:lnTo>
                      <a:pt x="2" y="114"/>
                    </a:lnTo>
                    <a:lnTo>
                      <a:pt x="4" y="116"/>
                    </a:lnTo>
                    <a:lnTo>
                      <a:pt x="6" y="118"/>
                    </a:lnTo>
                    <a:lnTo>
                      <a:pt x="8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05" y="120"/>
                    </a:lnTo>
                    <a:lnTo>
                      <a:pt x="108" y="120"/>
                    </a:lnTo>
                    <a:lnTo>
                      <a:pt x="110" y="119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8" y="114"/>
                    </a:lnTo>
                    <a:lnTo>
                      <a:pt x="119" y="112"/>
                    </a:lnTo>
                    <a:lnTo>
                      <a:pt x="120" y="108"/>
                    </a:lnTo>
                    <a:lnTo>
                      <a:pt x="120" y="105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10"/>
                    </a:lnTo>
                    <a:lnTo>
                      <a:pt x="118" y="6"/>
                    </a:lnTo>
                    <a:lnTo>
                      <a:pt x="116" y="4"/>
                    </a:lnTo>
                    <a:lnTo>
                      <a:pt x="114" y="3"/>
                    </a:lnTo>
                    <a:lnTo>
                      <a:pt x="110" y="1"/>
                    </a:lnTo>
                    <a:lnTo>
                      <a:pt x="108" y="0"/>
                    </a:lnTo>
                    <a:lnTo>
                      <a:pt x="105" y="0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Freeform 304">
                <a:extLst>
                  <a:ext uri="{FF2B5EF4-FFF2-40B4-BE49-F238E27FC236}">
                    <a16:creationId xmlns:a16="http://schemas.microsoft.com/office/drawing/2014/main" id="{AB859B84-A2AC-453F-9714-D3557C5623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72688" y="1516063"/>
                <a:ext cx="38100" cy="38100"/>
              </a:xfrm>
              <a:custGeom>
                <a:avLst/>
                <a:gdLst>
                  <a:gd name="T0" fmla="*/ 90 w 120"/>
                  <a:gd name="T1" fmla="*/ 90 h 120"/>
                  <a:gd name="T2" fmla="*/ 30 w 120"/>
                  <a:gd name="T3" fmla="*/ 90 h 120"/>
                  <a:gd name="T4" fmla="*/ 30 w 120"/>
                  <a:gd name="T5" fmla="*/ 30 h 120"/>
                  <a:gd name="T6" fmla="*/ 90 w 120"/>
                  <a:gd name="T7" fmla="*/ 30 h 120"/>
                  <a:gd name="T8" fmla="*/ 90 w 120"/>
                  <a:gd name="T9" fmla="*/ 90 h 120"/>
                  <a:gd name="T10" fmla="*/ 105 w 120"/>
                  <a:gd name="T11" fmla="*/ 0 h 120"/>
                  <a:gd name="T12" fmla="*/ 15 w 120"/>
                  <a:gd name="T13" fmla="*/ 0 h 120"/>
                  <a:gd name="T14" fmla="*/ 12 w 120"/>
                  <a:gd name="T15" fmla="*/ 0 h 120"/>
                  <a:gd name="T16" fmla="*/ 9 w 120"/>
                  <a:gd name="T17" fmla="*/ 1 h 120"/>
                  <a:gd name="T18" fmla="*/ 7 w 120"/>
                  <a:gd name="T19" fmla="*/ 2 h 120"/>
                  <a:gd name="T20" fmla="*/ 5 w 120"/>
                  <a:gd name="T21" fmla="*/ 4 h 120"/>
                  <a:gd name="T22" fmla="*/ 2 w 120"/>
                  <a:gd name="T23" fmla="*/ 6 h 120"/>
                  <a:gd name="T24" fmla="*/ 1 w 120"/>
                  <a:gd name="T25" fmla="*/ 8 h 120"/>
                  <a:gd name="T26" fmla="*/ 0 w 120"/>
                  <a:gd name="T27" fmla="*/ 12 h 120"/>
                  <a:gd name="T28" fmla="*/ 0 w 120"/>
                  <a:gd name="T29" fmla="*/ 15 h 120"/>
                  <a:gd name="T30" fmla="*/ 0 w 120"/>
                  <a:gd name="T31" fmla="*/ 105 h 120"/>
                  <a:gd name="T32" fmla="*/ 0 w 120"/>
                  <a:gd name="T33" fmla="*/ 108 h 120"/>
                  <a:gd name="T34" fmla="*/ 1 w 120"/>
                  <a:gd name="T35" fmla="*/ 110 h 120"/>
                  <a:gd name="T36" fmla="*/ 2 w 120"/>
                  <a:gd name="T37" fmla="*/ 114 h 120"/>
                  <a:gd name="T38" fmla="*/ 5 w 120"/>
                  <a:gd name="T39" fmla="*/ 116 h 120"/>
                  <a:gd name="T40" fmla="*/ 7 w 120"/>
                  <a:gd name="T41" fmla="*/ 118 h 120"/>
                  <a:gd name="T42" fmla="*/ 9 w 120"/>
                  <a:gd name="T43" fmla="*/ 119 h 120"/>
                  <a:gd name="T44" fmla="*/ 12 w 120"/>
                  <a:gd name="T45" fmla="*/ 120 h 120"/>
                  <a:gd name="T46" fmla="*/ 15 w 120"/>
                  <a:gd name="T47" fmla="*/ 120 h 120"/>
                  <a:gd name="T48" fmla="*/ 105 w 120"/>
                  <a:gd name="T49" fmla="*/ 120 h 120"/>
                  <a:gd name="T50" fmla="*/ 109 w 120"/>
                  <a:gd name="T51" fmla="*/ 120 h 120"/>
                  <a:gd name="T52" fmla="*/ 111 w 120"/>
                  <a:gd name="T53" fmla="*/ 119 h 120"/>
                  <a:gd name="T54" fmla="*/ 114 w 120"/>
                  <a:gd name="T55" fmla="*/ 118 h 120"/>
                  <a:gd name="T56" fmla="*/ 116 w 120"/>
                  <a:gd name="T57" fmla="*/ 116 h 120"/>
                  <a:gd name="T58" fmla="*/ 117 w 120"/>
                  <a:gd name="T59" fmla="*/ 114 h 120"/>
                  <a:gd name="T60" fmla="*/ 119 w 120"/>
                  <a:gd name="T61" fmla="*/ 110 h 120"/>
                  <a:gd name="T62" fmla="*/ 120 w 120"/>
                  <a:gd name="T63" fmla="*/ 108 h 120"/>
                  <a:gd name="T64" fmla="*/ 120 w 120"/>
                  <a:gd name="T65" fmla="*/ 105 h 120"/>
                  <a:gd name="T66" fmla="*/ 120 w 120"/>
                  <a:gd name="T67" fmla="*/ 15 h 120"/>
                  <a:gd name="T68" fmla="*/ 120 w 120"/>
                  <a:gd name="T69" fmla="*/ 12 h 120"/>
                  <a:gd name="T70" fmla="*/ 119 w 120"/>
                  <a:gd name="T71" fmla="*/ 8 h 120"/>
                  <a:gd name="T72" fmla="*/ 117 w 120"/>
                  <a:gd name="T73" fmla="*/ 6 h 120"/>
                  <a:gd name="T74" fmla="*/ 116 w 120"/>
                  <a:gd name="T75" fmla="*/ 4 h 120"/>
                  <a:gd name="T76" fmla="*/ 114 w 120"/>
                  <a:gd name="T77" fmla="*/ 2 h 120"/>
                  <a:gd name="T78" fmla="*/ 111 w 120"/>
                  <a:gd name="T79" fmla="*/ 1 h 120"/>
                  <a:gd name="T80" fmla="*/ 109 w 120"/>
                  <a:gd name="T81" fmla="*/ 0 h 120"/>
                  <a:gd name="T82" fmla="*/ 105 w 120"/>
                  <a:gd name="T8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0" h="120">
                    <a:moveTo>
                      <a:pt x="9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0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9" y="1"/>
                    </a:lnTo>
                    <a:lnTo>
                      <a:pt x="7" y="2"/>
                    </a:lnTo>
                    <a:lnTo>
                      <a:pt x="5" y="4"/>
                    </a:lnTo>
                    <a:lnTo>
                      <a:pt x="2" y="6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8"/>
                    </a:lnTo>
                    <a:lnTo>
                      <a:pt x="1" y="110"/>
                    </a:lnTo>
                    <a:lnTo>
                      <a:pt x="2" y="114"/>
                    </a:lnTo>
                    <a:lnTo>
                      <a:pt x="5" y="116"/>
                    </a:lnTo>
                    <a:lnTo>
                      <a:pt x="7" y="118"/>
                    </a:lnTo>
                    <a:lnTo>
                      <a:pt x="9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05" y="120"/>
                    </a:lnTo>
                    <a:lnTo>
                      <a:pt x="109" y="120"/>
                    </a:lnTo>
                    <a:lnTo>
                      <a:pt x="111" y="119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7" y="114"/>
                    </a:lnTo>
                    <a:lnTo>
                      <a:pt x="119" y="110"/>
                    </a:lnTo>
                    <a:lnTo>
                      <a:pt x="120" y="108"/>
                    </a:lnTo>
                    <a:lnTo>
                      <a:pt x="120" y="105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8"/>
                    </a:lnTo>
                    <a:lnTo>
                      <a:pt x="117" y="6"/>
                    </a:lnTo>
                    <a:lnTo>
                      <a:pt x="116" y="4"/>
                    </a:lnTo>
                    <a:lnTo>
                      <a:pt x="114" y="2"/>
                    </a:lnTo>
                    <a:lnTo>
                      <a:pt x="111" y="1"/>
                    </a:lnTo>
                    <a:lnTo>
                      <a:pt x="109" y="0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Freeform 305">
                <a:extLst>
                  <a:ext uri="{FF2B5EF4-FFF2-40B4-BE49-F238E27FC236}">
                    <a16:creationId xmlns:a16="http://schemas.microsoft.com/office/drawing/2014/main" id="{51233D8E-C8BC-493B-B1A7-F944720237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58388" y="1516063"/>
                <a:ext cx="38100" cy="38100"/>
              </a:xfrm>
              <a:custGeom>
                <a:avLst/>
                <a:gdLst>
                  <a:gd name="T0" fmla="*/ 90 w 120"/>
                  <a:gd name="T1" fmla="*/ 90 h 120"/>
                  <a:gd name="T2" fmla="*/ 30 w 120"/>
                  <a:gd name="T3" fmla="*/ 90 h 120"/>
                  <a:gd name="T4" fmla="*/ 30 w 120"/>
                  <a:gd name="T5" fmla="*/ 30 h 120"/>
                  <a:gd name="T6" fmla="*/ 90 w 120"/>
                  <a:gd name="T7" fmla="*/ 30 h 120"/>
                  <a:gd name="T8" fmla="*/ 90 w 120"/>
                  <a:gd name="T9" fmla="*/ 90 h 120"/>
                  <a:gd name="T10" fmla="*/ 105 w 120"/>
                  <a:gd name="T11" fmla="*/ 0 h 120"/>
                  <a:gd name="T12" fmla="*/ 15 w 120"/>
                  <a:gd name="T13" fmla="*/ 0 h 120"/>
                  <a:gd name="T14" fmla="*/ 12 w 120"/>
                  <a:gd name="T15" fmla="*/ 0 h 120"/>
                  <a:gd name="T16" fmla="*/ 8 w 120"/>
                  <a:gd name="T17" fmla="*/ 1 h 120"/>
                  <a:gd name="T18" fmla="*/ 6 w 120"/>
                  <a:gd name="T19" fmla="*/ 2 h 120"/>
                  <a:gd name="T20" fmla="*/ 4 w 120"/>
                  <a:gd name="T21" fmla="*/ 4 h 120"/>
                  <a:gd name="T22" fmla="*/ 2 w 120"/>
                  <a:gd name="T23" fmla="*/ 6 h 120"/>
                  <a:gd name="T24" fmla="*/ 1 w 120"/>
                  <a:gd name="T25" fmla="*/ 8 h 120"/>
                  <a:gd name="T26" fmla="*/ 0 w 120"/>
                  <a:gd name="T27" fmla="*/ 12 h 120"/>
                  <a:gd name="T28" fmla="*/ 0 w 120"/>
                  <a:gd name="T29" fmla="*/ 15 h 120"/>
                  <a:gd name="T30" fmla="*/ 0 w 120"/>
                  <a:gd name="T31" fmla="*/ 105 h 120"/>
                  <a:gd name="T32" fmla="*/ 0 w 120"/>
                  <a:gd name="T33" fmla="*/ 108 h 120"/>
                  <a:gd name="T34" fmla="*/ 1 w 120"/>
                  <a:gd name="T35" fmla="*/ 110 h 120"/>
                  <a:gd name="T36" fmla="*/ 2 w 120"/>
                  <a:gd name="T37" fmla="*/ 114 h 120"/>
                  <a:gd name="T38" fmla="*/ 4 w 120"/>
                  <a:gd name="T39" fmla="*/ 116 h 120"/>
                  <a:gd name="T40" fmla="*/ 6 w 120"/>
                  <a:gd name="T41" fmla="*/ 118 h 120"/>
                  <a:gd name="T42" fmla="*/ 8 w 120"/>
                  <a:gd name="T43" fmla="*/ 119 h 120"/>
                  <a:gd name="T44" fmla="*/ 12 w 120"/>
                  <a:gd name="T45" fmla="*/ 120 h 120"/>
                  <a:gd name="T46" fmla="*/ 15 w 120"/>
                  <a:gd name="T47" fmla="*/ 120 h 120"/>
                  <a:gd name="T48" fmla="*/ 105 w 120"/>
                  <a:gd name="T49" fmla="*/ 120 h 120"/>
                  <a:gd name="T50" fmla="*/ 108 w 120"/>
                  <a:gd name="T51" fmla="*/ 120 h 120"/>
                  <a:gd name="T52" fmla="*/ 110 w 120"/>
                  <a:gd name="T53" fmla="*/ 119 h 120"/>
                  <a:gd name="T54" fmla="*/ 114 w 120"/>
                  <a:gd name="T55" fmla="*/ 118 h 120"/>
                  <a:gd name="T56" fmla="*/ 116 w 120"/>
                  <a:gd name="T57" fmla="*/ 116 h 120"/>
                  <a:gd name="T58" fmla="*/ 118 w 120"/>
                  <a:gd name="T59" fmla="*/ 114 h 120"/>
                  <a:gd name="T60" fmla="*/ 119 w 120"/>
                  <a:gd name="T61" fmla="*/ 110 h 120"/>
                  <a:gd name="T62" fmla="*/ 120 w 120"/>
                  <a:gd name="T63" fmla="*/ 108 h 120"/>
                  <a:gd name="T64" fmla="*/ 120 w 120"/>
                  <a:gd name="T65" fmla="*/ 105 h 120"/>
                  <a:gd name="T66" fmla="*/ 120 w 120"/>
                  <a:gd name="T67" fmla="*/ 15 h 120"/>
                  <a:gd name="T68" fmla="*/ 120 w 120"/>
                  <a:gd name="T69" fmla="*/ 12 h 120"/>
                  <a:gd name="T70" fmla="*/ 119 w 120"/>
                  <a:gd name="T71" fmla="*/ 8 h 120"/>
                  <a:gd name="T72" fmla="*/ 118 w 120"/>
                  <a:gd name="T73" fmla="*/ 6 h 120"/>
                  <a:gd name="T74" fmla="*/ 116 w 120"/>
                  <a:gd name="T75" fmla="*/ 4 h 120"/>
                  <a:gd name="T76" fmla="*/ 114 w 120"/>
                  <a:gd name="T77" fmla="*/ 2 h 120"/>
                  <a:gd name="T78" fmla="*/ 110 w 120"/>
                  <a:gd name="T79" fmla="*/ 1 h 120"/>
                  <a:gd name="T80" fmla="*/ 108 w 120"/>
                  <a:gd name="T81" fmla="*/ 0 h 120"/>
                  <a:gd name="T82" fmla="*/ 105 w 120"/>
                  <a:gd name="T8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0" h="120">
                    <a:moveTo>
                      <a:pt x="9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0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8"/>
                    </a:lnTo>
                    <a:lnTo>
                      <a:pt x="1" y="110"/>
                    </a:lnTo>
                    <a:lnTo>
                      <a:pt x="2" y="114"/>
                    </a:lnTo>
                    <a:lnTo>
                      <a:pt x="4" y="116"/>
                    </a:lnTo>
                    <a:lnTo>
                      <a:pt x="6" y="118"/>
                    </a:lnTo>
                    <a:lnTo>
                      <a:pt x="8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05" y="120"/>
                    </a:lnTo>
                    <a:lnTo>
                      <a:pt x="108" y="120"/>
                    </a:lnTo>
                    <a:lnTo>
                      <a:pt x="110" y="119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8" y="114"/>
                    </a:lnTo>
                    <a:lnTo>
                      <a:pt x="119" y="110"/>
                    </a:lnTo>
                    <a:lnTo>
                      <a:pt x="120" y="108"/>
                    </a:lnTo>
                    <a:lnTo>
                      <a:pt x="120" y="105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8"/>
                    </a:lnTo>
                    <a:lnTo>
                      <a:pt x="118" y="6"/>
                    </a:lnTo>
                    <a:lnTo>
                      <a:pt x="116" y="4"/>
                    </a:lnTo>
                    <a:lnTo>
                      <a:pt x="114" y="2"/>
                    </a:lnTo>
                    <a:lnTo>
                      <a:pt x="110" y="1"/>
                    </a:lnTo>
                    <a:lnTo>
                      <a:pt x="108" y="0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Freeform 306">
                <a:extLst>
                  <a:ext uri="{FF2B5EF4-FFF2-40B4-BE49-F238E27FC236}">
                    <a16:creationId xmlns:a16="http://schemas.microsoft.com/office/drawing/2014/main" id="{BA6D123C-467E-4846-93CB-A20068CB73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72688" y="1468438"/>
                <a:ext cx="38100" cy="38100"/>
              </a:xfrm>
              <a:custGeom>
                <a:avLst/>
                <a:gdLst>
                  <a:gd name="T0" fmla="*/ 90 w 120"/>
                  <a:gd name="T1" fmla="*/ 91 h 121"/>
                  <a:gd name="T2" fmla="*/ 30 w 120"/>
                  <a:gd name="T3" fmla="*/ 91 h 121"/>
                  <a:gd name="T4" fmla="*/ 30 w 120"/>
                  <a:gd name="T5" fmla="*/ 30 h 121"/>
                  <a:gd name="T6" fmla="*/ 90 w 120"/>
                  <a:gd name="T7" fmla="*/ 30 h 121"/>
                  <a:gd name="T8" fmla="*/ 90 w 120"/>
                  <a:gd name="T9" fmla="*/ 91 h 121"/>
                  <a:gd name="T10" fmla="*/ 105 w 120"/>
                  <a:gd name="T11" fmla="*/ 0 h 121"/>
                  <a:gd name="T12" fmla="*/ 15 w 120"/>
                  <a:gd name="T13" fmla="*/ 0 h 121"/>
                  <a:gd name="T14" fmla="*/ 12 w 120"/>
                  <a:gd name="T15" fmla="*/ 1 h 121"/>
                  <a:gd name="T16" fmla="*/ 9 w 120"/>
                  <a:gd name="T17" fmla="*/ 2 h 121"/>
                  <a:gd name="T18" fmla="*/ 7 w 120"/>
                  <a:gd name="T19" fmla="*/ 3 h 121"/>
                  <a:gd name="T20" fmla="*/ 5 w 120"/>
                  <a:gd name="T21" fmla="*/ 5 h 121"/>
                  <a:gd name="T22" fmla="*/ 2 w 120"/>
                  <a:gd name="T23" fmla="*/ 7 h 121"/>
                  <a:gd name="T24" fmla="*/ 1 w 120"/>
                  <a:gd name="T25" fmla="*/ 9 h 121"/>
                  <a:gd name="T26" fmla="*/ 0 w 120"/>
                  <a:gd name="T27" fmla="*/ 12 h 121"/>
                  <a:gd name="T28" fmla="*/ 0 w 120"/>
                  <a:gd name="T29" fmla="*/ 15 h 121"/>
                  <a:gd name="T30" fmla="*/ 0 w 120"/>
                  <a:gd name="T31" fmla="*/ 106 h 121"/>
                  <a:gd name="T32" fmla="*/ 0 w 120"/>
                  <a:gd name="T33" fmla="*/ 108 h 121"/>
                  <a:gd name="T34" fmla="*/ 1 w 120"/>
                  <a:gd name="T35" fmla="*/ 111 h 121"/>
                  <a:gd name="T36" fmla="*/ 2 w 120"/>
                  <a:gd name="T37" fmla="*/ 113 h 121"/>
                  <a:gd name="T38" fmla="*/ 5 w 120"/>
                  <a:gd name="T39" fmla="*/ 116 h 121"/>
                  <a:gd name="T40" fmla="*/ 7 w 120"/>
                  <a:gd name="T41" fmla="*/ 118 h 121"/>
                  <a:gd name="T42" fmla="*/ 9 w 120"/>
                  <a:gd name="T43" fmla="*/ 120 h 121"/>
                  <a:gd name="T44" fmla="*/ 12 w 120"/>
                  <a:gd name="T45" fmla="*/ 120 h 121"/>
                  <a:gd name="T46" fmla="*/ 15 w 120"/>
                  <a:gd name="T47" fmla="*/ 121 h 121"/>
                  <a:gd name="T48" fmla="*/ 105 w 120"/>
                  <a:gd name="T49" fmla="*/ 121 h 121"/>
                  <a:gd name="T50" fmla="*/ 109 w 120"/>
                  <a:gd name="T51" fmla="*/ 120 h 121"/>
                  <a:gd name="T52" fmla="*/ 111 w 120"/>
                  <a:gd name="T53" fmla="*/ 120 h 121"/>
                  <a:gd name="T54" fmla="*/ 114 w 120"/>
                  <a:gd name="T55" fmla="*/ 118 h 121"/>
                  <a:gd name="T56" fmla="*/ 116 w 120"/>
                  <a:gd name="T57" fmla="*/ 116 h 121"/>
                  <a:gd name="T58" fmla="*/ 117 w 120"/>
                  <a:gd name="T59" fmla="*/ 113 h 121"/>
                  <a:gd name="T60" fmla="*/ 119 w 120"/>
                  <a:gd name="T61" fmla="*/ 111 h 121"/>
                  <a:gd name="T62" fmla="*/ 120 w 120"/>
                  <a:gd name="T63" fmla="*/ 108 h 121"/>
                  <a:gd name="T64" fmla="*/ 120 w 120"/>
                  <a:gd name="T65" fmla="*/ 106 h 121"/>
                  <a:gd name="T66" fmla="*/ 120 w 120"/>
                  <a:gd name="T67" fmla="*/ 15 h 121"/>
                  <a:gd name="T68" fmla="*/ 120 w 120"/>
                  <a:gd name="T69" fmla="*/ 12 h 121"/>
                  <a:gd name="T70" fmla="*/ 119 w 120"/>
                  <a:gd name="T71" fmla="*/ 9 h 121"/>
                  <a:gd name="T72" fmla="*/ 117 w 120"/>
                  <a:gd name="T73" fmla="*/ 7 h 121"/>
                  <a:gd name="T74" fmla="*/ 116 w 120"/>
                  <a:gd name="T75" fmla="*/ 5 h 121"/>
                  <a:gd name="T76" fmla="*/ 114 w 120"/>
                  <a:gd name="T77" fmla="*/ 3 h 121"/>
                  <a:gd name="T78" fmla="*/ 111 w 120"/>
                  <a:gd name="T79" fmla="*/ 2 h 121"/>
                  <a:gd name="T80" fmla="*/ 109 w 120"/>
                  <a:gd name="T81" fmla="*/ 1 h 121"/>
                  <a:gd name="T82" fmla="*/ 105 w 120"/>
                  <a:gd name="T8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0" h="121">
                    <a:moveTo>
                      <a:pt x="90" y="91"/>
                    </a:moveTo>
                    <a:lnTo>
                      <a:pt x="30" y="91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1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9" y="2"/>
                    </a:lnTo>
                    <a:lnTo>
                      <a:pt x="7" y="3"/>
                    </a:lnTo>
                    <a:lnTo>
                      <a:pt x="5" y="5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6"/>
                    </a:lnTo>
                    <a:lnTo>
                      <a:pt x="0" y="108"/>
                    </a:lnTo>
                    <a:lnTo>
                      <a:pt x="1" y="111"/>
                    </a:lnTo>
                    <a:lnTo>
                      <a:pt x="2" y="113"/>
                    </a:lnTo>
                    <a:lnTo>
                      <a:pt x="5" y="116"/>
                    </a:lnTo>
                    <a:lnTo>
                      <a:pt x="7" y="118"/>
                    </a:lnTo>
                    <a:lnTo>
                      <a:pt x="9" y="120"/>
                    </a:lnTo>
                    <a:lnTo>
                      <a:pt x="12" y="120"/>
                    </a:lnTo>
                    <a:lnTo>
                      <a:pt x="15" y="121"/>
                    </a:lnTo>
                    <a:lnTo>
                      <a:pt x="105" y="121"/>
                    </a:lnTo>
                    <a:lnTo>
                      <a:pt x="109" y="120"/>
                    </a:lnTo>
                    <a:lnTo>
                      <a:pt x="111" y="120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7" y="113"/>
                    </a:lnTo>
                    <a:lnTo>
                      <a:pt x="119" y="111"/>
                    </a:lnTo>
                    <a:lnTo>
                      <a:pt x="120" y="108"/>
                    </a:lnTo>
                    <a:lnTo>
                      <a:pt x="120" y="106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9"/>
                    </a:lnTo>
                    <a:lnTo>
                      <a:pt x="117" y="7"/>
                    </a:lnTo>
                    <a:lnTo>
                      <a:pt x="116" y="5"/>
                    </a:lnTo>
                    <a:lnTo>
                      <a:pt x="114" y="3"/>
                    </a:lnTo>
                    <a:lnTo>
                      <a:pt x="111" y="2"/>
                    </a:lnTo>
                    <a:lnTo>
                      <a:pt x="109" y="1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6" name="Freeform 307">
                <a:extLst>
                  <a:ext uri="{FF2B5EF4-FFF2-40B4-BE49-F238E27FC236}">
                    <a16:creationId xmlns:a16="http://schemas.microsoft.com/office/drawing/2014/main" id="{1DA98105-58ED-4A5B-9A07-806FA84F9F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58388" y="1468438"/>
                <a:ext cx="38100" cy="38100"/>
              </a:xfrm>
              <a:custGeom>
                <a:avLst/>
                <a:gdLst>
                  <a:gd name="T0" fmla="*/ 90 w 120"/>
                  <a:gd name="T1" fmla="*/ 91 h 121"/>
                  <a:gd name="T2" fmla="*/ 30 w 120"/>
                  <a:gd name="T3" fmla="*/ 91 h 121"/>
                  <a:gd name="T4" fmla="*/ 30 w 120"/>
                  <a:gd name="T5" fmla="*/ 30 h 121"/>
                  <a:gd name="T6" fmla="*/ 90 w 120"/>
                  <a:gd name="T7" fmla="*/ 30 h 121"/>
                  <a:gd name="T8" fmla="*/ 90 w 120"/>
                  <a:gd name="T9" fmla="*/ 91 h 121"/>
                  <a:gd name="T10" fmla="*/ 105 w 120"/>
                  <a:gd name="T11" fmla="*/ 0 h 121"/>
                  <a:gd name="T12" fmla="*/ 15 w 120"/>
                  <a:gd name="T13" fmla="*/ 0 h 121"/>
                  <a:gd name="T14" fmla="*/ 12 w 120"/>
                  <a:gd name="T15" fmla="*/ 1 h 121"/>
                  <a:gd name="T16" fmla="*/ 8 w 120"/>
                  <a:gd name="T17" fmla="*/ 2 h 121"/>
                  <a:gd name="T18" fmla="*/ 6 w 120"/>
                  <a:gd name="T19" fmla="*/ 3 h 121"/>
                  <a:gd name="T20" fmla="*/ 4 w 120"/>
                  <a:gd name="T21" fmla="*/ 5 h 121"/>
                  <a:gd name="T22" fmla="*/ 2 w 120"/>
                  <a:gd name="T23" fmla="*/ 7 h 121"/>
                  <a:gd name="T24" fmla="*/ 1 w 120"/>
                  <a:gd name="T25" fmla="*/ 9 h 121"/>
                  <a:gd name="T26" fmla="*/ 0 w 120"/>
                  <a:gd name="T27" fmla="*/ 12 h 121"/>
                  <a:gd name="T28" fmla="*/ 0 w 120"/>
                  <a:gd name="T29" fmla="*/ 15 h 121"/>
                  <a:gd name="T30" fmla="*/ 0 w 120"/>
                  <a:gd name="T31" fmla="*/ 106 h 121"/>
                  <a:gd name="T32" fmla="*/ 0 w 120"/>
                  <a:gd name="T33" fmla="*/ 108 h 121"/>
                  <a:gd name="T34" fmla="*/ 1 w 120"/>
                  <a:gd name="T35" fmla="*/ 111 h 121"/>
                  <a:gd name="T36" fmla="*/ 2 w 120"/>
                  <a:gd name="T37" fmla="*/ 113 h 121"/>
                  <a:gd name="T38" fmla="*/ 4 w 120"/>
                  <a:gd name="T39" fmla="*/ 116 h 121"/>
                  <a:gd name="T40" fmla="*/ 6 w 120"/>
                  <a:gd name="T41" fmla="*/ 118 h 121"/>
                  <a:gd name="T42" fmla="*/ 8 w 120"/>
                  <a:gd name="T43" fmla="*/ 120 h 121"/>
                  <a:gd name="T44" fmla="*/ 12 w 120"/>
                  <a:gd name="T45" fmla="*/ 120 h 121"/>
                  <a:gd name="T46" fmla="*/ 15 w 120"/>
                  <a:gd name="T47" fmla="*/ 121 h 121"/>
                  <a:gd name="T48" fmla="*/ 105 w 120"/>
                  <a:gd name="T49" fmla="*/ 121 h 121"/>
                  <a:gd name="T50" fmla="*/ 108 w 120"/>
                  <a:gd name="T51" fmla="*/ 120 h 121"/>
                  <a:gd name="T52" fmla="*/ 110 w 120"/>
                  <a:gd name="T53" fmla="*/ 120 h 121"/>
                  <a:gd name="T54" fmla="*/ 114 w 120"/>
                  <a:gd name="T55" fmla="*/ 118 h 121"/>
                  <a:gd name="T56" fmla="*/ 116 w 120"/>
                  <a:gd name="T57" fmla="*/ 116 h 121"/>
                  <a:gd name="T58" fmla="*/ 118 w 120"/>
                  <a:gd name="T59" fmla="*/ 113 h 121"/>
                  <a:gd name="T60" fmla="*/ 119 w 120"/>
                  <a:gd name="T61" fmla="*/ 111 h 121"/>
                  <a:gd name="T62" fmla="*/ 120 w 120"/>
                  <a:gd name="T63" fmla="*/ 108 h 121"/>
                  <a:gd name="T64" fmla="*/ 120 w 120"/>
                  <a:gd name="T65" fmla="*/ 106 h 121"/>
                  <a:gd name="T66" fmla="*/ 120 w 120"/>
                  <a:gd name="T67" fmla="*/ 15 h 121"/>
                  <a:gd name="T68" fmla="*/ 120 w 120"/>
                  <a:gd name="T69" fmla="*/ 12 h 121"/>
                  <a:gd name="T70" fmla="*/ 119 w 120"/>
                  <a:gd name="T71" fmla="*/ 9 h 121"/>
                  <a:gd name="T72" fmla="*/ 118 w 120"/>
                  <a:gd name="T73" fmla="*/ 7 h 121"/>
                  <a:gd name="T74" fmla="*/ 116 w 120"/>
                  <a:gd name="T75" fmla="*/ 5 h 121"/>
                  <a:gd name="T76" fmla="*/ 114 w 120"/>
                  <a:gd name="T77" fmla="*/ 3 h 121"/>
                  <a:gd name="T78" fmla="*/ 110 w 120"/>
                  <a:gd name="T79" fmla="*/ 2 h 121"/>
                  <a:gd name="T80" fmla="*/ 108 w 120"/>
                  <a:gd name="T81" fmla="*/ 1 h 121"/>
                  <a:gd name="T82" fmla="*/ 105 w 120"/>
                  <a:gd name="T8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0" h="121">
                    <a:moveTo>
                      <a:pt x="90" y="91"/>
                    </a:moveTo>
                    <a:lnTo>
                      <a:pt x="30" y="91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1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6"/>
                    </a:lnTo>
                    <a:lnTo>
                      <a:pt x="0" y="108"/>
                    </a:lnTo>
                    <a:lnTo>
                      <a:pt x="1" y="111"/>
                    </a:lnTo>
                    <a:lnTo>
                      <a:pt x="2" y="113"/>
                    </a:lnTo>
                    <a:lnTo>
                      <a:pt x="4" y="116"/>
                    </a:lnTo>
                    <a:lnTo>
                      <a:pt x="6" y="118"/>
                    </a:lnTo>
                    <a:lnTo>
                      <a:pt x="8" y="120"/>
                    </a:lnTo>
                    <a:lnTo>
                      <a:pt x="12" y="120"/>
                    </a:lnTo>
                    <a:lnTo>
                      <a:pt x="15" y="121"/>
                    </a:lnTo>
                    <a:lnTo>
                      <a:pt x="105" y="121"/>
                    </a:lnTo>
                    <a:lnTo>
                      <a:pt x="108" y="120"/>
                    </a:lnTo>
                    <a:lnTo>
                      <a:pt x="110" y="120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8" y="113"/>
                    </a:lnTo>
                    <a:lnTo>
                      <a:pt x="119" y="111"/>
                    </a:lnTo>
                    <a:lnTo>
                      <a:pt x="120" y="108"/>
                    </a:lnTo>
                    <a:lnTo>
                      <a:pt x="120" y="106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9"/>
                    </a:lnTo>
                    <a:lnTo>
                      <a:pt x="118" y="7"/>
                    </a:lnTo>
                    <a:lnTo>
                      <a:pt x="116" y="5"/>
                    </a:lnTo>
                    <a:lnTo>
                      <a:pt x="114" y="3"/>
                    </a:lnTo>
                    <a:lnTo>
                      <a:pt x="110" y="2"/>
                    </a:lnTo>
                    <a:lnTo>
                      <a:pt x="108" y="1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7" name="Freeform 308">
                <a:extLst>
                  <a:ext uri="{FF2B5EF4-FFF2-40B4-BE49-F238E27FC236}">
                    <a16:creationId xmlns:a16="http://schemas.microsoft.com/office/drawing/2014/main" id="{F5970FC9-0A12-4743-8149-04E370B110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72688" y="1420813"/>
                <a:ext cx="38100" cy="38100"/>
              </a:xfrm>
              <a:custGeom>
                <a:avLst/>
                <a:gdLst>
                  <a:gd name="T0" fmla="*/ 90 w 120"/>
                  <a:gd name="T1" fmla="*/ 90 h 120"/>
                  <a:gd name="T2" fmla="*/ 30 w 120"/>
                  <a:gd name="T3" fmla="*/ 90 h 120"/>
                  <a:gd name="T4" fmla="*/ 30 w 120"/>
                  <a:gd name="T5" fmla="*/ 30 h 120"/>
                  <a:gd name="T6" fmla="*/ 90 w 120"/>
                  <a:gd name="T7" fmla="*/ 30 h 120"/>
                  <a:gd name="T8" fmla="*/ 90 w 120"/>
                  <a:gd name="T9" fmla="*/ 90 h 120"/>
                  <a:gd name="T10" fmla="*/ 105 w 120"/>
                  <a:gd name="T11" fmla="*/ 0 h 120"/>
                  <a:gd name="T12" fmla="*/ 15 w 120"/>
                  <a:gd name="T13" fmla="*/ 0 h 120"/>
                  <a:gd name="T14" fmla="*/ 12 w 120"/>
                  <a:gd name="T15" fmla="*/ 0 h 120"/>
                  <a:gd name="T16" fmla="*/ 9 w 120"/>
                  <a:gd name="T17" fmla="*/ 1 h 120"/>
                  <a:gd name="T18" fmla="*/ 7 w 120"/>
                  <a:gd name="T19" fmla="*/ 2 h 120"/>
                  <a:gd name="T20" fmla="*/ 5 w 120"/>
                  <a:gd name="T21" fmla="*/ 5 h 120"/>
                  <a:gd name="T22" fmla="*/ 2 w 120"/>
                  <a:gd name="T23" fmla="*/ 7 h 120"/>
                  <a:gd name="T24" fmla="*/ 1 w 120"/>
                  <a:gd name="T25" fmla="*/ 10 h 120"/>
                  <a:gd name="T26" fmla="*/ 0 w 120"/>
                  <a:gd name="T27" fmla="*/ 12 h 120"/>
                  <a:gd name="T28" fmla="*/ 0 w 120"/>
                  <a:gd name="T29" fmla="*/ 15 h 120"/>
                  <a:gd name="T30" fmla="*/ 0 w 120"/>
                  <a:gd name="T31" fmla="*/ 105 h 120"/>
                  <a:gd name="T32" fmla="*/ 0 w 120"/>
                  <a:gd name="T33" fmla="*/ 109 h 120"/>
                  <a:gd name="T34" fmla="*/ 1 w 120"/>
                  <a:gd name="T35" fmla="*/ 112 h 120"/>
                  <a:gd name="T36" fmla="*/ 2 w 120"/>
                  <a:gd name="T37" fmla="*/ 114 h 120"/>
                  <a:gd name="T38" fmla="*/ 5 w 120"/>
                  <a:gd name="T39" fmla="*/ 116 h 120"/>
                  <a:gd name="T40" fmla="*/ 7 w 120"/>
                  <a:gd name="T41" fmla="*/ 118 h 120"/>
                  <a:gd name="T42" fmla="*/ 9 w 120"/>
                  <a:gd name="T43" fmla="*/ 119 h 120"/>
                  <a:gd name="T44" fmla="*/ 12 w 120"/>
                  <a:gd name="T45" fmla="*/ 120 h 120"/>
                  <a:gd name="T46" fmla="*/ 15 w 120"/>
                  <a:gd name="T47" fmla="*/ 120 h 120"/>
                  <a:gd name="T48" fmla="*/ 105 w 120"/>
                  <a:gd name="T49" fmla="*/ 120 h 120"/>
                  <a:gd name="T50" fmla="*/ 109 w 120"/>
                  <a:gd name="T51" fmla="*/ 120 h 120"/>
                  <a:gd name="T52" fmla="*/ 111 w 120"/>
                  <a:gd name="T53" fmla="*/ 119 h 120"/>
                  <a:gd name="T54" fmla="*/ 114 w 120"/>
                  <a:gd name="T55" fmla="*/ 118 h 120"/>
                  <a:gd name="T56" fmla="*/ 116 w 120"/>
                  <a:gd name="T57" fmla="*/ 116 h 120"/>
                  <a:gd name="T58" fmla="*/ 117 w 120"/>
                  <a:gd name="T59" fmla="*/ 114 h 120"/>
                  <a:gd name="T60" fmla="*/ 119 w 120"/>
                  <a:gd name="T61" fmla="*/ 112 h 120"/>
                  <a:gd name="T62" fmla="*/ 120 w 120"/>
                  <a:gd name="T63" fmla="*/ 109 h 120"/>
                  <a:gd name="T64" fmla="*/ 120 w 120"/>
                  <a:gd name="T65" fmla="*/ 105 h 120"/>
                  <a:gd name="T66" fmla="*/ 120 w 120"/>
                  <a:gd name="T67" fmla="*/ 15 h 120"/>
                  <a:gd name="T68" fmla="*/ 120 w 120"/>
                  <a:gd name="T69" fmla="*/ 12 h 120"/>
                  <a:gd name="T70" fmla="*/ 119 w 120"/>
                  <a:gd name="T71" fmla="*/ 10 h 120"/>
                  <a:gd name="T72" fmla="*/ 117 w 120"/>
                  <a:gd name="T73" fmla="*/ 7 h 120"/>
                  <a:gd name="T74" fmla="*/ 116 w 120"/>
                  <a:gd name="T75" fmla="*/ 5 h 120"/>
                  <a:gd name="T76" fmla="*/ 114 w 120"/>
                  <a:gd name="T77" fmla="*/ 2 h 120"/>
                  <a:gd name="T78" fmla="*/ 111 w 120"/>
                  <a:gd name="T79" fmla="*/ 1 h 120"/>
                  <a:gd name="T80" fmla="*/ 109 w 120"/>
                  <a:gd name="T81" fmla="*/ 0 h 120"/>
                  <a:gd name="T82" fmla="*/ 105 w 120"/>
                  <a:gd name="T8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0" h="120">
                    <a:moveTo>
                      <a:pt x="9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0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9" y="1"/>
                    </a:lnTo>
                    <a:lnTo>
                      <a:pt x="7" y="2"/>
                    </a:lnTo>
                    <a:lnTo>
                      <a:pt x="5" y="5"/>
                    </a:lnTo>
                    <a:lnTo>
                      <a:pt x="2" y="7"/>
                    </a:lnTo>
                    <a:lnTo>
                      <a:pt x="1" y="1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9"/>
                    </a:lnTo>
                    <a:lnTo>
                      <a:pt x="1" y="112"/>
                    </a:lnTo>
                    <a:lnTo>
                      <a:pt x="2" y="114"/>
                    </a:lnTo>
                    <a:lnTo>
                      <a:pt x="5" y="116"/>
                    </a:lnTo>
                    <a:lnTo>
                      <a:pt x="7" y="118"/>
                    </a:lnTo>
                    <a:lnTo>
                      <a:pt x="9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05" y="120"/>
                    </a:lnTo>
                    <a:lnTo>
                      <a:pt x="109" y="120"/>
                    </a:lnTo>
                    <a:lnTo>
                      <a:pt x="111" y="119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7" y="114"/>
                    </a:lnTo>
                    <a:lnTo>
                      <a:pt x="119" y="112"/>
                    </a:lnTo>
                    <a:lnTo>
                      <a:pt x="120" y="109"/>
                    </a:lnTo>
                    <a:lnTo>
                      <a:pt x="120" y="105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10"/>
                    </a:lnTo>
                    <a:lnTo>
                      <a:pt x="117" y="7"/>
                    </a:lnTo>
                    <a:lnTo>
                      <a:pt x="116" y="5"/>
                    </a:lnTo>
                    <a:lnTo>
                      <a:pt x="114" y="2"/>
                    </a:lnTo>
                    <a:lnTo>
                      <a:pt x="111" y="1"/>
                    </a:lnTo>
                    <a:lnTo>
                      <a:pt x="109" y="0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8" name="Freeform 309">
                <a:extLst>
                  <a:ext uri="{FF2B5EF4-FFF2-40B4-BE49-F238E27FC236}">
                    <a16:creationId xmlns:a16="http://schemas.microsoft.com/office/drawing/2014/main" id="{1C81BF23-A228-49E3-BAC6-01A28CAE14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58388" y="1420813"/>
                <a:ext cx="38100" cy="38100"/>
              </a:xfrm>
              <a:custGeom>
                <a:avLst/>
                <a:gdLst>
                  <a:gd name="T0" fmla="*/ 90 w 120"/>
                  <a:gd name="T1" fmla="*/ 90 h 120"/>
                  <a:gd name="T2" fmla="*/ 30 w 120"/>
                  <a:gd name="T3" fmla="*/ 90 h 120"/>
                  <a:gd name="T4" fmla="*/ 30 w 120"/>
                  <a:gd name="T5" fmla="*/ 30 h 120"/>
                  <a:gd name="T6" fmla="*/ 90 w 120"/>
                  <a:gd name="T7" fmla="*/ 30 h 120"/>
                  <a:gd name="T8" fmla="*/ 90 w 120"/>
                  <a:gd name="T9" fmla="*/ 90 h 120"/>
                  <a:gd name="T10" fmla="*/ 105 w 120"/>
                  <a:gd name="T11" fmla="*/ 0 h 120"/>
                  <a:gd name="T12" fmla="*/ 15 w 120"/>
                  <a:gd name="T13" fmla="*/ 0 h 120"/>
                  <a:gd name="T14" fmla="*/ 12 w 120"/>
                  <a:gd name="T15" fmla="*/ 0 h 120"/>
                  <a:gd name="T16" fmla="*/ 8 w 120"/>
                  <a:gd name="T17" fmla="*/ 1 h 120"/>
                  <a:gd name="T18" fmla="*/ 6 w 120"/>
                  <a:gd name="T19" fmla="*/ 2 h 120"/>
                  <a:gd name="T20" fmla="*/ 4 w 120"/>
                  <a:gd name="T21" fmla="*/ 5 h 120"/>
                  <a:gd name="T22" fmla="*/ 2 w 120"/>
                  <a:gd name="T23" fmla="*/ 7 h 120"/>
                  <a:gd name="T24" fmla="*/ 1 w 120"/>
                  <a:gd name="T25" fmla="*/ 10 h 120"/>
                  <a:gd name="T26" fmla="*/ 0 w 120"/>
                  <a:gd name="T27" fmla="*/ 12 h 120"/>
                  <a:gd name="T28" fmla="*/ 0 w 120"/>
                  <a:gd name="T29" fmla="*/ 15 h 120"/>
                  <a:gd name="T30" fmla="*/ 0 w 120"/>
                  <a:gd name="T31" fmla="*/ 105 h 120"/>
                  <a:gd name="T32" fmla="*/ 0 w 120"/>
                  <a:gd name="T33" fmla="*/ 109 h 120"/>
                  <a:gd name="T34" fmla="*/ 1 w 120"/>
                  <a:gd name="T35" fmla="*/ 112 h 120"/>
                  <a:gd name="T36" fmla="*/ 2 w 120"/>
                  <a:gd name="T37" fmla="*/ 114 h 120"/>
                  <a:gd name="T38" fmla="*/ 4 w 120"/>
                  <a:gd name="T39" fmla="*/ 116 h 120"/>
                  <a:gd name="T40" fmla="*/ 6 w 120"/>
                  <a:gd name="T41" fmla="*/ 118 h 120"/>
                  <a:gd name="T42" fmla="*/ 8 w 120"/>
                  <a:gd name="T43" fmla="*/ 119 h 120"/>
                  <a:gd name="T44" fmla="*/ 12 w 120"/>
                  <a:gd name="T45" fmla="*/ 120 h 120"/>
                  <a:gd name="T46" fmla="*/ 15 w 120"/>
                  <a:gd name="T47" fmla="*/ 120 h 120"/>
                  <a:gd name="T48" fmla="*/ 105 w 120"/>
                  <a:gd name="T49" fmla="*/ 120 h 120"/>
                  <a:gd name="T50" fmla="*/ 108 w 120"/>
                  <a:gd name="T51" fmla="*/ 120 h 120"/>
                  <a:gd name="T52" fmla="*/ 110 w 120"/>
                  <a:gd name="T53" fmla="*/ 119 h 120"/>
                  <a:gd name="T54" fmla="*/ 114 w 120"/>
                  <a:gd name="T55" fmla="*/ 118 h 120"/>
                  <a:gd name="T56" fmla="*/ 116 w 120"/>
                  <a:gd name="T57" fmla="*/ 116 h 120"/>
                  <a:gd name="T58" fmla="*/ 118 w 120"/>
                  <a:gd name="T59" fmla="*/ 114 h 120"/>
                  <a:gd name="T60" fmla="*/ 119 w 120"/>
                  <a:gd name="T61" fmla="*/ 112 h 120"/>
                  <a:gd name="T62" fmla="*/ 120 w 120"/>
                  <a:gd name="T63" fmla="*/ 109 h 120"/>
                  <a:gd name="T64" fmla="*/ 120 w 120"/>
                  <a:gd name="T65" fmla="*/ 105 h 120"/>
                  <a:gd name="T66" fmla="*/ 120 w 120"/>
                  <a:gd name="T67" fmla="*/ 15 h 120"/>
                  <a:gd name="T68" fmla="*/ 120 w 120"/>
                  <a:gd name="T69" fmla="*/ 12 h 120"/>
                  <a:gd name="T70" fmla="*/ 119 w 120"/>
                  <a:gd name="T71" fmla="*/ 10 h 120"/>
                  <a:gd name="T72" fmla="*/ 118 w 120"/>
                  <a:gd name="T73" fmla="*/ 7 h 120"/>
                  <a:gd name="T74" fmla="*/ 116 w 120"/>
                  <a:gd name="T75" fmla="*/ 5 h 120"/>
                  <a:gd name="T76" fmla="*/ 114 w 120"/>
                  <a:gd name="T77" fmla="*/ 2 h 120"/>
                  <a:gd name="T78" fmla="*/ 110 w 120"/>
                  <a:gd name="T79" fmla="*/ 1 h 120"/>
                  <a:gd name="T80" fmla="*/ 108 w 120"/>
                  <a:gd name="T81" fmla="*/ 0 h 120"/>
                  <a:gd name="T82" fmla="*/ 105 w 120"/>
                  <a:gd name="T8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0" h="120">
                    <a:moveTo>
                      <a:pt x="9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0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1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9"/>
                    </a:lnTo>
                    <a:lnTo>
                      <a:pt x="1" y="112"/>
                    </a:lnTo>
                    <a:lnTo>
                      <a:pt x="2" y="114"/>
                    </a:lnTo>
                    <a:lnTo>
                      <a:pt x="4" y="116"/>
                    </a:lnTo>
                    <a:lnTo>
                      <a:pt x="6" y="118"/>
                    </a:lnTo>
                    <a:lnTo>
                      <a:pt x="8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05" y="120"/>
                    </a:lnTo>
                    <a:lnTo>
                      <a:pt x="108" y="120"/>
                    </a:lnTo>
                    <a:lnTo>
                      <a:pt x="110" y="119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8" y="114"/>
                    </a:lnTo>
                    <a:lnTo>
                      <a:pt x="119" y="112"/>
                    </a:lnTo>
                    <a:lnTo>
                      <a:pt x="120" y="109"/>
                    </a:lnTo>
                    <a:lnTo>
                      <a:pt x="120" y="105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10"/>
                    </a:lnTo>
                    <a:lnTo>
                      <a:pt x="118" y="7"/>
                    </a:lnTo>
                    <a:lnTo>
                      <a:pt x="116" y="5"/>
                    </a:lnTo>
                    <a:lnTo>
                      <a:pt x="114" y="2"/>
                    </a:lnTo>
                    <a:lnTo>
                      <a:pt x="110" y="1"/>
                    </a:lnTo>
                    <a:lnTo>
                      <a:pt x="108" y="0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4F0D4BA-EBFE-4024-A181-94CBD296C8AC}"/>
              </a:ext>
            </a:extLst>
          </p:cNvPr>
          <p:cNvGrpSpPr/>
          <p:nvPr/>
        </p:nvGrpSpPr>
        <p:grpSpPr>
          <a:xfrm>
            <a:off x="1027585" y="2459444"/>
            <a:ext cx="2928975" cy="474002"/>
            <a:chOff x="1226679" y="1802910"/>
            <a:chExt cx="2928975" cy="474002"/>
          </a:xfrm>
        </p:grpSpPr>
        <p:sp>
          <p:nvSpPr>
            <p:cNvPr id="379" name="TextBox 378">
              <a:extLst>
                <a:ext uri="{FF2B5EF4-FFF2-40B4-BE49-F238E27FC236}">
                  <a16:creationId xmlns:a16="http://schemas.microsoft.com/office/drawing/2014/main" id="{A53DEF68-0912-44B2-9111-28207E4313A4}"/>
                </a:ext>
              </a:extLst>
            </p:cNvPr>
            <p:cNvSpPr txBox="1"/>
            <p:nvPr/>
          </p:nvSpPr>
          <p:spPr>
            <a:xfrm>
              <a:off x="1226679" y="1802910"/>
              <a:ext cx="2928975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 sz="1400" dirty="0"/>
                <a:t>Your Company Name</a:t>
              </a:r>
            </a:p>
          </p:txBody>
        </p:sp>
        <p:sp>
          <p:nvSpPr>
            <p:cNvPr id="380" name="TextBox 379">
              <a:extLst>
                <a:ext uri="{FF2B5EF4-FFF2-40B4-BE49-F238E27FC236}">
                  <a16:creationId xmlns:a16="http://schemas.microsoft.com/office/drawing/2014/main" id="{9E8474DF-2CFD-4983-96BB-C69A768697BF}"/>
                </a:ext>
              </a:extLst>
            </p:cNvPr>
            <p:cNvSpPr txBox="1"/>
            <p:nvPr/>
          </p:nvSpPr>
          <p:spPr>
            <a:xfrm>
              <a:off x="1226679" y="2061468"/>
              <a:ext cx="2928975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 sz="1400" b="1" dirty="0"/>
                <a:t>Manchester, United Kingdom</a:t>
              </a:r>
            </a:p>
          </p:txBody>
        </p:sp>
      </p:grpSp>
      <p:sp>
        <p:nvSpPr>
          <p:cNvPr id="381" name="TextBox 380">
            <a:extLst>
              <a:ext uri="{FF2B5EF4-FFF2-40B4-BE49-F238E27FC236}">
                <a16:creationId xmlns:a16="http://schemas.microsoft.com/office/drawing/2014/main" id="{38EEF3F5-DC99-4383-B39D-EB30EF475835}"/>
              </a:ext>
            </a:extLst>
          </p:cNvPr>
          <p:cNvSpPr txBox="1"/>
          <p:nvPr/>
        </p:nvSpPr>
        <p:spPr>
          <a:xfrm>
            <a:off x="457200" y="3876178"/>
            <a:ext cx="1771650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800" dirty="0"/>
              <a:t>72%</a:t>
            </a:r>
          </a:p>
        </p:txBody>
      </p:sp>
      <p:sp>
        <p:nvSpPr>
          <p:cNvPr id="382" name="TextBox 381">
            <a:extLst>
              <a:ext uri="{FF2B5EF4-FFF2-40B4-BE49-F238E27FC236}">
                <a16:creationId xmlns:a16="http://schemas.microsoft.com/office/drawing/2014/main" id="{DCEAAE72-4547-4F33-A755-F988A5E7AAB7}"/>
              </a:ext>
            </a:extLst>
          </p:cNvPr>
          <p:cNvSpPr txBox="1"/>
          <p:nvPr/>
        </p:nvSpPr>
        <p:spPr>
          <a:xfrm>
            <a:off x="2755295" y="3876178"/>
            <a:ext cx="1771650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800" dirty="0"/>
              <a:t>36%</a:t>
            </a:r>
          </a:p>
        </p:txBody>
      </p:sp>
      <p:sp>
        <p:nvSpPr>
          <p:cNvPr id="383" name="TextBox 382">
            <a:extLst>
              <a:ext uri="{FF2B5EF4-FFF2-40B4-BE49-F238E27FC236}">
                <a16:creationId xmlns:a16="http://schemas.microsoft.com/office/drawing/2014/main" id="{4FC7DEEF-F382-4A9E-B8B3-B818D71809A2}"/>
              </a:ext>
            </a:extLst>
          </p:cNvPr>
          <p:cNvSpPr txBox="1"/>
          <p:nvPr/>
        </p:nvSpPr>
        <p:spPr>
          <a:xfrm>
            <a:off x="457200" y="4715261"/>
            <a:ext cx="1771650" cy="129266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sp>
        <p:nvSpPr>
          <p:cNvPr id="384" name="TextBox 383">
            <a:extLst>
              <a:ext uri="{FF2B5EF4-FFF2-40B4-BE49-F238E27FC236}">
                <a16:creationId xmlns:a16="http://schemas.microsoft.com/office/drawing/2014/main" id="{6403AF08-DD2E-478C-A1FC-E8D7349E8592}"/>
              </a:ext>
            </a:extLst>
          </p:cNvPr>
          <p:cNvSpPr txBox="1"/>
          <p:nvPr/>
        </p:nvSpPr>
        <p:spPr>
          <a:xfrm>
            <a:off x="2755295" y="4715261"/>
            <a:ext cx="1771650" cy="129266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B37B7A3-1143-424A-BA98-FFB8B759CFDE}"/>
              </a:ext>
            </a:extLst>
          </p:cNvPr>
          <p:cNvSpPr/>
          <p:nvPr/>
        </p:nvSpPr>
        <p:spPr>
          <a:xfrm>
            <a:off x="457200" y="3161205"/>
            <a:ext cx="1771650" cy="61455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5" name="Rectangle 384">
            <a:extLst>
              <a:ext uri="{FF2B5EF4-FFF2-40B4-BE49-F238E27FC236}">
                <a16:creationId xmlns:a16="http://schemas.microsoft.com/office/drawing/2014/main" id="{8C2EF369-0325-4CA3-9F03-40B775905054}"/>
              </a:ext>
            </a:extLst>
          </p:cNvPr>
          <p:cNvSpPr/>
          <p:nvPr/>
        </p:nvSpPr>
        <p:spPr>
          <a:xfrm>
            <a:off x="2755295" y="3161205"/>
            <a:ext cx="1771650" cy="61455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86" name="Group 385">
            <a:extLst>
              <a:ext uri="{FF2B5EF4-FFF2-40B4-BE49-F238E27FC236}">
                <a16:creationId xmlns:a16="http://schemas.microsoft.com/office/drawing/2014/main" id="{CDF4BA7F-C8E5-43E5-9C6F-DCC0B30DABEE}"/>
              </a:ext>
            </a:extLst>
          </p:cNvPr>
          <p:cNvGrpSpPr/>
          <p:nvPr/>
        </p:nvGrpSpPr>
        <p:grpSpPr>
          <a:xfrm>
            <a:off x="1200150" y="3337082"/>
            <a:ext cx="285750" cy="285750"/>
            <a:chOff x="9882188" y="1354138"/>
            <a:chExt cx="285750" cy="285750"/>
          </a:xfrm>
          <a:solidFill>
            <a:schemeClr val="bg1"/>
          </a:solidFill>
        </p:grpSpPr>
        <p:sp>
          <p:nvSpPr>
            <p:cNvPr id="387" name="Freeform 186">
              <a:extLst>
                <a:ext uri="{FF2B5EF4-FFF2-40B4-BE49-F238E27FC236}">
                  <a16:creationId xmlns:a16="http://schemas.microsoft.com/office/drawing/2014/main" id="{4AE12BC2-7350-4E87-A5FB-A4DA698A4D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91713" y="1482725"/>
              <a:ext cx="133350" cy="157163"/>
            </a:xfrm>
            <a:custGeom>
              <a:avLst/>
              <a:gdLst>
                <a:gd name="T0" fmla="*/ 89 w 421"/>
                <a:gd name="T1" fmla="*/ 454 h 496"/>
                <a:gd name="T2" fmla="*/ 30 w 421"/>
                <a:gd name="T3" fmla="*/ 392 h 496"/>
                <a:gd name="T4" fmla="*/ 145 w 421"/>
                <a:gd name="T5" fmla="*/ 416 h 496"/>
                <a:gd name="T6" fmla="*/ 253 w 421"/>
                <a:gd name="T7" fmla="*/ 418 h 496"/>
                <a:gd name="T8" fmla="*/ 373 w 421"/>
                <a:gd name="T9" fmla="*/ 399 h 496"/>
                <a:gd name="T10" fmla="*/ 355 w 421"/>
                <a:gd name="T11" fmla="*/ 448 h 496"/>
                <a:gd name="T12" fmla="*/ 211 w 421"/>
                <a:gd name="T13" fmla="*/ 466 h 496"/>
                <a:gd name="T14" fmla="*/ 302 w 421"/>
                <a:gd name="T15" fmla="*/ 36 h 496"/>
                <a:gd name="T16" fmla="*/ 389 w 421"/>
                <a:gd name="T17" fmla="*/ 60 h 496"/>
                <a:gd name="T18" fmla="*/ 302 w 421"/>
                <a:gd name="T19" fmla="*/ 83 h 496"/>
                <a:gd name="T20" fmla="*/ 148 w 421"/>
                <a:gd name="T21" fmla="*/ 86 h 496"/>
                <a:gd name="T22" fmla="*/ 43 w 421"/>
                <a:gd name="T23" fmla="*/ 64 h 496"/>
                <a:gd name="T24" fmla="*/ 95 w 421"/>
                <a:gd name="T25" fmla="*/ 39 h 496"/>
                <a:gd name="T26" fmla="*/ 391 w 421"/>
                <a:gd name="T27" fmla="*/ 132 h 496"/>
                <a:gd name="T28" fmla="*/ 306 w 421"/>
                <a:gd name="T29" fmla="*/ 157 h 496"/>
                <a:gd name="T30" fmla="*/ 145 w 421"/>
                <a:gd name="T31" fmla="*/ 161 h 496"/>
                <a:gd name="T32" fmla="*/ 37 w 421"/>
                <a:gd name="T33" fmla="*/ 137 h 496"/>
                <a:gd name="T34" fmla="*/ 94 w 421"/>
                <a:gd name="T35" fmla="*/ 109 h 496"/>
                <a:gd name="T36" fmla="*/ 211 w 421"/>
                <a:gd name="T37" fmla="*/ 120 h 496"/>
                <a:gd name="T38" fmla="*/ 327 w 421"/>
                <a:gd name="T39" fmla="*/ 109 h 496"/>
                <a:gd name="T40" fmla="*/ 391 w 421"/>
                <a:gd name="T41" fmla="*/ 207 h 496"/>
                <a:gd name="T42" fmla="*/ 306 w 421"/>
                <a:gd name="T43" fmla="*/ 233 h 496"/>
                <a:gd name="T44" fmla="*/ 145 w 421"/>
                <a:gd name="T45" fmla="*/ 236 h 496"/>
                <a:gd name="T46" fmla="*/ 37 w 421"/>
                <a:gd name="T47" fmla="*/ 212 h 496"/>
                <a:gd name="T48" fmla="*/ 94 w 421"/>
                <a:gd name="T49" fmla="*/ 184 h 496"/>
                <a:gd name="T50" fmla="*/ 211 w 421"/>
                <a:gd name="T51" fmla="*/ 195 h 496"/>
                <a:gd name="T52" fmla="*/ 327 w 421"/>
                <a:gd name="T53" fmla="*/ 184 h 496"/>
                <a:gd name="T54" fmla="*/ 391 w 421"/>
                <a:gd name="T55" fmla="*/ 282 h 496"/>
                <a:gd name="T56" fmla="*/ 306 w 421"/>
                <a:gd name="T57" fmla="*/ 308 h 496"/>
                <a:gd name="T58" fmla="*/ 145 w 421"/>
                <a:gd name="T59" fmla="*/ 311 h 496"/>
                <a:gd name="T60" fmla="*/ 37 w 421"/>
                <a:gd name="T61" fmla="*/ 288 h 496"/>
                <a:gd name="T62" fmla="*/ 94 w 421"/>
                <a:gd name="T63" fmla="*/ 260 h 496"/>
                <a:gd name="T64" fmla="*/ 211 w 421"/>
                <a:gd name="T65" fmla="*/ 270 h 496"/>
                <a:gd name="T66" fmla="*/ 327 w 421"/>
                <a:gd name="T67" fmla="*/ 260 h 496"/>
                <a:gd name="T68" fmla="*/ 391 w 421"/>
                <a:gd name="T69" fmla="*/ 357 h 496"/>
                <a:gd name="T70" fmla="*/ 306 w 421"/>
                <a:gd name="T71" fmla="*/ 383 h 496"/>
                <a:gd name="T72" fmla="*/ 145 w 421"/>
                <a:gd name="T73" fmla="*/ 386 h 496"/>
                <a:gd name="T74" fmla="*/ 37 w 421"/>
                <a:gd name="T75" fmla="*/ 363 h 496"/>
                <a:gd name="T76" fmla="*/ 94 w 421"/>
                <a:gd name="T77" fmla="*/ 335 h 496"/>
                <a:gd name="T78" fmla="*/ 211 w 421"/>
                <a:gd name="T79" fmla="*/ 344 h 496"/>
                <a:gd name="T80" fmla="*/ 327 w 421"/>
                <a:gd name="T81" fmla="*/ 335 h 496"/>
                <a:gd name="T82" fmla="*/ 211 w 421"/>
                <a:gd name="T83" fmla="*/ 0 h 496"/>
                <a:gd name="T84" fmla="*/ 64 w 421"/>
                <a:gd name="T85" fmla="*/ 16 h 496"/>
                <a:gd name="T86" fmla="*/ 6 w 421"/>
                <a:gd name="T87" fmla="*/ 43 h 496"/>
                <a:gd name="T88" fmla="*/ 0 w 421"/>
                <a:gd name="T89" fmla="*/ 135 h 496"/>
                <a:gd name="T90" fmla="*/ 1 w 421"/>
                <a:gd name="T91" fmla="*/ 440 h 496"/>
                <a:gd name="T92" fmla="*/ 24 w 421"/>
                <a:gd name="T93" fmla="*/ 463 h 496"/>
                <a:gd name="T94" fmla="*/ 114 w 421"/>
                <a:gd name="T95" fmla="*/ 488 h 496"/>
                <a:gd name="T96" fmla="*/ 273 w 421"/>
                <a:gd name="T97" fmla="*/ 492 h 496"/>
                <a:gd name="T98" fmla="*/ 387 w 421"/>
                <a:gd name="T99" fmla="*/ 469 h 496"/>
                <a:gd name="T100" fmla="*/ 420 w 421"/>
                <a:gd name="T101" fmla="*/ 443 h 496"/>
                <a:gd name="T102" fmla="*/ 421 w 421"/>
                <a:gd name="T103" fmla="*/ 210 h 496"/>
                <a:gd name="T104" fmla="*/ 418 w 421"/>
                <a:gd name="T105" fmla="*/ 48 h 496"/>
                <a:gd name="T106" fmla="*/ 373 w 421"/>
                <a:gd name="T107" fmla="*/ 20 h 496"/>
                <a:gd name="T108" fmla="*/ 240 w 421"/>
                <a:gd name="T109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21" h="496">
                  <a:moveTo>
                    <a:pt x="211" y="466"/>
                  </a:moveTo>
                  <a:lnTo>
                    <a:pt x="177" y="464"/>
                  </a:lnTo>
                  <a:lnTo>
                    <a:pt x="145" y="462"/>
                  </a:lnTo>
                  <a:lnTo>
                    <a:pt x="115" y="458"/>
                  </a:lnTo>
                  <a:lnTo>
                    <a:pt x="89" y="454"/>
                  </a:lnTo>
                  <a:lnTo>
                    <a:pt x="67" y="448"/>
                  </a:lnTo>
                  <a:lnTo>
                    <a:pt x="50" y="443"/>
                  </a:lnTo>
                  <a:lnTo>
                    <a:pt x="37" y="438"/>
                  </a:lnTo>
                  <a:lnTo>
                    <a:pt x="30" y="433"/>
                  </a:lnTo>
                  <a:lnTo>
                    <a:pt x="30" y="392"/>
                  </a:lnTo>
                  <a:lnTo>
                    <a:pt x="49" y="399"/>
                  </a:lnTo>
                  <a:lnTo>
                    <a:pt x="71" y="404"/>
                  </a:lnTo>
                  <a:lnTo>
                    <a:pt x="94" y="410"/>
                  </a:lnTo>
                  <a:lnTo>
                    <a:pt x="119" y="414"/>
                  </a:lnTo>
                  <a:lnTo>
                    <a:pt x="145" y="416"/>
                  </a:lnTo>
                  <a:lnTo>
                    <a:pt x="168" y="418"/>
                  </a:lnTo>
                  <a:lnTo>
                    <a:pt x="191" y="419"/>
                  </a:lnTo>
                  <a:lnTo>
                    <a:pt x="211" y="421"/>
                  </a:lnTo>
                  <a:lnTo>
                    <a:pt x="230" y="419"/>
                  </a:lnTo>
                  <a:lnTo>
                    <a:pt x="253" y="418"/>
                  </a:lnTo>
                  <a:lnTo>
                    <a:pt x="277" y="416"/>
                  </a:lnTo>
                  <a:lnTo>
                    <a:pt x="302" y="414"/>
                  </a:lnTo>
                  <a:lnTo>
                    <a:pt x="327" y="410"/>
                  </a:lnTo>
                  <a:lnTo>
                    <a:pt x="350" y="404"/>
                  </a:lnTo>
                  <a:lnTo>
                    <a:pt x="373" y="399"/>
                  </a:lnTo>
                  <a:lnTo>
                    <a:pt x="391" y="392"/>
                  </a:lnTo>
                  <a:lnTo>
                    <a:pt x="391" y="432"/>
                  </a:lnTo>
                  <a:lnTo>
                    <a:pt x="385" y="438"/>
                  </a:lnTo>
                  <a:lnTo>
                    <a:pt x="372" y="443"/>
                  </a:lnTo>
                  <a:lnTo>
                    <a:pt x="355" y="448"/>
                  </a:lnTo>
                  <a:lnTo>
                    <a:pt x="332" y="454"/>
                  </a:lnTo>
                  <a:lnTo>
                    <a:pt x="306" y="458"/>
                  </a:lnTo>
                  <a:lnTo>
                    <a:pt x="277" y="462"/>
                  </a:lnTo>
                  <a:lnTo>
                    <a:pt x="245" y="464"/>
                  </a:lnTo>
                  <a:lnTo>
                    <a:pt x="211" y="466"/>
                  </a:lnTo>
                  <a:lnTo>
                    <a:pt x="211" y="466"/>
                  </a:lnTo>
                  <a:close/>
                  <a:moveTo>
                    <a:pt x="211" y="30"/>
                  </a:moveTo>
                  <a:lnTo>
                    <a:pt x="243" y="30"/>
                  </a:lnTo>
                  <a:lnTo>
                    <a:pt x="274" y="32"/>
                  </a:lnTo>
                  <a:lnTo>
                    <a:pt x="302" y="36"/>
                  </a:lnTo>
                  <a:lnTo>
                    <a:pt x="327" y="39"/>
                  </a:lnTo>
                  <a:lnTo>
                    <a:pt x="348" y="45"/>
                  </a:lnTo>
                  <a:lnTo>
                    <a:pt x="365" y="50"/>
                  </a:lnTo>
                  <a:lnTo>
                    <a:pt x="379" y="54"/>
                  </a:lnTo>
                  <a:lnTo>
                    <a:pt x="389" y="60"/>
                  </a:lnTo>
                  <a:lnTo>
                    <a:pt x="379" y="64"/>
                  </a:lnTo>
                  <a:lnTo>
                    <a:pt x="365" y="69"/>
                  </a:lnTo>
                  <a:lnTo>
                    <a:pt x="348" y="75"/>
                  </a:lnTo>
                  <a:lnTo>
                    <a:pt x="327" y="79"/>
                  </a:lnTo>
                  <a:lnTo>
                    <a:pt x="302" y="83"/>
                  </a:lnTo>
                  <a:lnTo>
                    <a:pt x="274" y="86"/>
                  </a:lnTo>
                  <a:lnTo>
                    <a:pt x="243" y="88"/>
                  </a:lnTo>
                  <a:lnTo>
                    <a:pt x="211" y="90"/>
                  </a:lnTo>
                  <a:lnTo>
                    <a:pt x="178" y="88"/>
                  </a:lnTo>
                  <a:lnTo>
                    <a:pt x="148" y="86"/>
                  </a:lnTo>
                  <a:lnTo>
                    <a:pt x="120" y="83"/>
                  </a:lnTo>
                  <a:lnTo>
                    <a:pt x="95" y="79"/>
                  </a:lnTo>
                  <a:lnTo>
                    <a:pt x="74" y="75"/>
                  </a:lnTo>
                  <a:lnTo>
                    <a:pt x="56" y="69"/>
                  </a:lnTo>
                  <a:lnTo>
                    <a:pt x="43" y="64"/>
                  </a:lnTo>
                  <a:lnTo>
                    <a:pt x="33" y="60"/>
                  </a:lnTo>
                  <a:lnTo>
                    <a:pt x="43" y="54"/>
                  </a:lnTo>
                  <a:lnTo>
                    <a:pt x="56" y="50"/>
                  </a:lnTo>
                  <a:lnTo>
                    <a:pt x="74" y="45"/>
                  </a:lnTo>
                  <a:lnTo>
                    <a:pt x="95" y="39"/>
                  </a:lnTo>
                  <a:lnTo>
                    <a:pt x="120" y="36"/>
                  </a:lnTo>
                  <a:lnTo>
                    <a:pt x="148" y="32"/>
                  </a:lnTo>
                  <a:lnTo>
                    <a:pt x="178" y="30"/>
                  </a:lnTo>
                  <a:lnTo>
                    <a:pt x="211" y="30"/>
                  </a:lnTo>
                  <a:close/>
                  <a:moveTo>
                    <a:pt x="391" y="132"/>
                  </a:moveTo>
                  <a:lnTo>
                    <a:pt x="385" y="137"/>
                  </a:lnTo>
                  <a:lnTo>
                    <a:pt x="372" y="142"/>
                  </a:lnTo>
                  <a:lnTo>
                    <a:pt x="355" y="147"/>
                  </a:lnTo>
                  <a:lnTo>
                    <a:pt x="332" y="153"/>
                  </a:lnTo>
                  <a:lnTo>
                    <a:pt x="306" y="157"/>
                  </a:lnTo>
                  <a:lnTo>
                    <a:pt x="277" y="161"/>
                  </a:lnTo>
                  <a:lnTo>
                    <a:pt x="245" y="163"/>
                  </a:lnTo>
                  <a:lnTo>
                    <a:pt x="211" y="165"/>
                  </a:lnTo>
                  <a:lnTo>
                    <a:pt x="177" y="163"/>
                  </a:lnTo>
                  <a:lnTo>
                    <a:pt x="145" y="161"/>
                  </a:lnTo>
                  <a:lnTo>
                    <a:pt x="115" y="157"/>
                  </a:lnTo>
                  <a:lnTo>
                    <a:pt x="89" y="153"/>
                  </a:lnTo>
                  <a:lnTo>
                    <a:pt x="67" y="147"/>
                  </a:lnTo>
                  <a:lnTo>
                    <a:pt x="50" y="142"/>
                  </a:lnTo>
                  <a:lnTo>
                    <a:pt x="37" y="137"/>
                  </a:lnTo>
                  <a:lnTo>
                    <a:pt x="30" y="132"/>
                  </a:lnTo>
                  <a:lnTo>
                    <a:pt x="30" y="91"/>
                  </a:lnTo>
                  <a:lnTo>
                    <a:pt x="49" y="98"/>
                  </a:lnTo>
                  <a:lnTo>
                    <a:pt x="71" y="105"/>
                  </a:lnTo>
                  <a:lnTo>
                    <a:pt x="94" y="109"/>
                  </a:lnTo>
                  <a:lnTo>
                    <a:pt x="119" y="113"/>
                  </a:lnTo>
                  <a:lnTo>
                    <a:pt x="145" y="116"/>
                  </a:lnTo>
                  <a:lnTo>
                    <a:pt x="168" y="117"/>
                  </a:lnTo>
                  <a:lnTo>
                    <a:pt x="191" y="120"/>
                  </a:lnTo>
                  <a:lnTo>
                    <a:pt x="211" y="120"/>
                  </a:lnTo>
                  <a:lnTo>
                    <a:pt x="230" y="120"/>
                  </a:lnTo>
                  <a:lnTo>
                    <a:pt x="253" y="117"/>
                  </a:lnTo>
                  <a:lnTo>
                    <a:pt x="277" y="116"/>
                  </a:lnTo>
                  <a:lnTo>
                    <a:pt x="302" y="113"/>
                  </a:lnTo>
                  <a:lnTo>
                    <a:pt x="327" y="109"/>
                  </a:lnTo>
                  <a:lnTo>
                    <a:pt x="350" y="105"/>
                  </a:lnTo>
                  <a:lnTo>
                    <a:pt x="373" y="98"/>
                  </a:lnTo>
                  <a:lnTo>
                    <a:pt x="391" y="91"/>
                  </a:lnTo>
                  <a:lnTo>
                    <a:pt x="391" y="132"/>
                  </a:lnTo>
                  <a:close/>
                  <a:moveTo>
                    <a:pt x="391" y="207"/>
                  </a:moveTo>
                  <a:lnTo>
                    <a:pt x="385" y="212"/>
                  </a:lnTo>
                  <a:lnTo>
                    <a:pt x="372" y="217"/>
                  </a:lnTo>
                  <a:lnTo>
                    <a:pt x="355" y="222"/>
                  </a:lnTo>
                  <a:lnTo>
                    <a:pt x="332" y="228"/>
                  </a:lnTo>
                  <a:lnTo>
                    <a:pt x="306" y="233"/>
                  </a:lnTo>
                  <a:lnTo>
                    <a:pt x="277" y="236"/>
                  </a:lnTo>
                  <a:lnTo>
                    <a:pt x="245" y="238"/>
                  </a:lnTo>
                  <a:lnTo>
                    <a:pt x="211" y="240"/>
                  </a:lnTo>
                  <a:lnTo>
                    <a:pt x="177" y="238"/>
                  </a:lnTo>
                  <a:lnTo>
                    <a:pt x="145" y="236"/>
                  </a:lnTo>
                  <a:lnTo>
                    <a:pt x="115" y="233"/>
                  </a:lnTo>
                  <a:lnTo>
                    <a:pt x="89" y="228"/>
                  </a:lnTo>
                  <a:lnTo>
                    <a:pt x="67" y="222"/>
                  </a:lnTo>
                  <a:lnTo>
                    <a:pt x="50" y="217"/>
                  </a:lnTo>
                  <a:lnTo>
                    <a:pt x="37" y="212"/>
                  </a:lnTo>
                  <a:lnTo>
                    <a:pt x="30" y="207"/>
                  </a:lnTo>
                  <a:lnTo>
                    <a:pt x="30" y="166"/>
                  </a:lnTo>
                  <a:lnTo>
                    <a:pt x="49" y="173"/>
                  </a:lnTo>
                  <a:lnTo>
                    <a:pt x="71" y="180"/>
                  </a:lnTo>
                  <a:lnTo>
                    <a:pt x="94" y="184"/>
                  </a:lnTo>
                  <a:lnTo>
                    <a:pt x="119" y="188"/>
                  </a:lnTo>
                  <a:lnTo>
                    <a:pt x="145" y="191"/>
                  </a:lnTo>
                  <a:lnTo>
                    <a:pt x="168" y="193"/>
                  </a:lnTo>
                  <a:lnTo>
                    <a:pt x="191" y="195"/>
                  </a:lnTo>
                  <a:lnTo>
                    <a:pt x="211" y="195"/>
                  </a:lnTo>
                  <a:lnTo>
                    <a:pt x="230" y="195"/>
                  </a:lnTo>
                  <a:lnTo>
                    <a:pt x="253" y="193"/>
                  </a:lnTo>
                  <a:lnTo>
                    <a:pt x="277" y="191"/>
                  </a:lnTo>
                  <a:lnTo>
                    <a:pt x="302" y="188"/>
                  </a:lnTo>
                  <a:lnTo>
                    <a:pt x="327" y="184"/>
                  </a:lnTo>
                  <a:lnTo>
                    <a:pt x="350" y="180"/>
                  </a:lnTo>
                  <a:lnTo>
                    <a:pt x="373" y="173"/>
                  </a:lnTo>
                  <a:lnTo>
                    <a:pt x="391" y="167"/>
                  </a:lnTo>
                  <a:lnTo>
                    <a:pt x="391" y="207"/>
                  </a:lnTo>
                  <a:close/>
                  <a:moveTo>
                    <a:pt x="391" y="282"/>
                  </a:moveTo>
                  <a:lnTo>
                    <a:pt x="385" y="288"/>
                  </a:lnTo>
                  <a:lnTo>
                    <a:pt x="372" y="293"/>
                  </a:lnTo>
                  <a:lnTo>
                    <a:pt x="355" y="298"/>
                  </a:lnTo>
                  <a:lnTo>
                    <a:pt x="332" y="303"/>
                  </a:lnTo>
                  <a:lnTo>
                    <a:pt x="306" y="308"/>
                  </a:lnTo>
                  <a:lnTo>
                    <a:pt x="277" y="311"/>
                  </a:lnTo>
                  <a:lnTo>
                    <a:pt x="245" y="315"/>
                  </a:lnTo>
                  <a:lnTo>
                    <a:pt x="211" y="315"/>
                  </a:lnTo>
                  <a:lnTo>
                    <a:pt x="177" y="315"/>
                  </a:lnTo>
                  <a:lnTo>
                    <a:pt x="145" y="311"/>
                  </a:lnTo>
                  <a:lnTo>
                    <a:pt x="115" y="308"/>
                  </a:lnTo>
                  <a:lnTo>
                    <a:pt x="89" y="303"/>
                  </a:lnTo>
                  <a:lnTo>
                    <a:pt x="67" y="298"/>
                  </a:lnTo>
                  <a:lnTo>
                    <a:pt x="50" y="293"/>
                  </a:lnTo>
                  <a:lnTo>
                    <a:pt x="37" y="288"/>
                  </a:lnTo>
                  <a:lnTo>
                    <a:pt x="30" y="282"/>
                  </a:lnTo>
                  <a:lnTo>
                    <a:pt x="30" y="242"/>
                  </a:lnTo>
                  <a:lnTo>
                    <a:pt x="49" y="248"/>
                  </a:lnTo>
                  <a:lnTo>
                    <a:pt x="71" y="255"/>
                  </a:lnTo>
                  <a:lnTo>
                    <a:pt x="94" y="260"/>
                  </a:lnTo>
                  <a:lnTo>
                    <a:pt x="119" y="263"/>
                  </a:lnTo>
                  <a:lnTo>
                    <a:pt x="145" y="266"/>
                  </a:lnTo>
                  <a:lnTo>
                    <a:pt x="168" y="268"/>
                  </a:lnTo>
                  <a:lnTo>
                    <a:pt x="191" y="270"/>
                  </a:lnTo>
                  <a:lnTo>
                    <a:pt x="211" y="270"/>
                  </a:lnTo>
                  <a:lnTo>
                    <a:pt x="230" y="270"/>
                  </a:lnTo>
                  <a:lnTo>
                    <a:pt x="253" y="268"/>
                  </a:lnTo>
                  <a:lnTo>
                    <a:pt x="277" y="266"/>
                  </a:lnTo>
                  <a:lnTo>
                    <a:pt x="302" y="263"/>
                  </a:lnTo>
                  <a:lnTo>
                    <a:pt x="327" y="260"/>
                  </a:lnTo>
                  <a:lnTo>
                    <a:pt x="350" y="255"/>
                  </a:lnTo>
                  <a:lnTo>
                    <a:pt x="373" y="248"/>
                  </a:lnTo>
                  <a:lnTo>
                    <a:pt x="391" y="242"/>
                  </a:lnTo>
                  <a:lnTo>
                    <a:pt x="391" y="282"/>
                  </a:lnTo>
                  <a:close/>
                  <a:moveTo>
                    <a:pt x="391" y="357"/>
                  </a:moveTo>
                  <a:lnTo>
                    <a:pt x="385" y="363"/>
                  </a:lnTo>
                  <a:lnTo>
                    <a:pt x="372" y="368"/>
                  </a:lnTo>
                  <a:lnTo>
                    <a:pt x="355" y="373"/>
                  </a:lnTo>
                  <a:lnTo>
                    <a:pt x="332" y="379"/>
                  </a:lnTo>
                  <a:lnTo>
                    <a:pt x="306" y="383"/>
                  </a:lnTo>
                  <a:lnTo>
                    <a:pt x="277" y="386"/>
                  </a:lnTo>
                  <a:lnTo>
                    <a:pt x="245" y="389"/>
                  </a:lnTo>
                  <a:lnTo>
                    <a:pt x="211" y="391"/>
                  </a:lnTo>
                  <a:lnTo>
                    <a:pt x="177" y="389"/>
                  </a:lnTo>
                  <a:lnTo>
                    <a:pt x="145" y="386"/>
                  </a:lnTo>
                  <a:lnTo>
                    <a:pt x="115" y="383"/>
                  </a:lnTo>
                  <a:lnTo>
                    <a:pt x="89" y="379"/>
                  </a:lnTo>
                  <a:lnTo>
                    <a:pt x="67" y="373"/>
                  </a:lnTo>
                  <a:lnTo>
                    <a:pt x="50" y="368"/>
                  </a:lnTo>
                  <a:lnTo>
                    <a:pt x="37" y="363"/>
                  </a:lnTo>
                  <a:lnTo>
                    <a:pt x="30" y="357"/>
                  </a:lnTo>
                  <a:lnTo>
                    <a:pt x="30" y="317"/>
                  </a:lnTo>
                  <a:lnTo>
                    <a:pt x="49" y="324"/>
                  </a:lnTo>
                  <a:lnTo>
                    <a:pt x="71" y="329"/>
                  </a:lnTo>
                  <a:lnTo>
                    <a:pt x="94" y="335"/>
                  </a:lnTo>
                  <a:lnTo>
                    <a:pt x="119" y="338"/>
                  </a:lnTo>
                  <a:lnTo>
                    <a:pt x="145" y="341"/>
                  </a:lnTo>
                  <a:lnTo>
                    <a:pt x="168" y="343"/>
                  </a:lnTo>
                  <a:lnTo>
                    <a:pt x="191" y="344"/>
                  </a:lnTo>
                  <a:lnTo>
                    <a:pt x="211" y="344"/>
                  </a:lnTo>
                  <a:lnTo>
                    <a:pt x="230" y="344"/>
                  </a:lnTo>
                  <a:lnTo>
                    <a:pt x="253" y="343"/>
                  </a:lnTo>
                  <a:lnTo>
                    <a:pt x="277" y="341"/>
                  </a:lnTo>
                  <a:lnTo>
                    <a:pt x="302" y="338"/>
                  </a:lnTo>
                  <a:lnTo>
                    <a:pt x="327" y="335"/>
                  </a:lnTo>
                  <a:lnTo>
                    <a:pt x="350" y="329"/>
                  </a:lnTo>
                  <a:lnTo>
                    <a:pt x="373" y="324"/>
                  </a:lnTo>
                  <a:lnTo>
                    <a:pt x="391" y="317"/>
                  </a:lnTo>
                  <a:lnTo>
                    <a:pt x="391" y="357"/>
                  </a:lnTo>
                  <a:close/>
                  <a:moveTo>
                    <a:pt x="211" y="0"/>
                  </a:moveTo>
                  <a:lnTo>
                    <a:pt x="182" y="0"/>
                  </a:lnTo>
                  <a:lnTo>
                    <a:pt x="149" y="2"/>
                  </a:lnTo>
                  <a:lnTo>
                    <a:pt x="114" y="6"/>
                  </a:lnTo>
                  <a:lnTo>
                    <a:pt x="80" y="12"/>
                  </a:lnTo>
                  <a:lnTo>
                    <a:pt x="64" y="16"/>
                  </a:lnTo>
                  <a:lnTo>
                    <a:pt x="49" y="20"/>
                  </a:lnTo>
                  <a:lnTo>
                    <a:pt x="35" y="25"/>
                  </a:lnTo>
                  <a:lnTo>
                    <a:pt x="24" y="31"/>
                  </a:lnTo>
                  <a:lnTo>
                    <a:pt x="14" y="37"/>
                  </a:lnTo>
                  <a:lnTo>
                    <a:pt x="6" y="43"/>
                  </a:lnTo>
                  <a:lnTo>
                    <a:pt x="4" y="48"/>
                  </a:lnTo>
                  <a:lnTo>
                    <a:pt x="2" y="51"/>
                  </a:lnTo>
                  <a:lnTo>
                    <a:pt x="1" y="55"/>
                  </a:lnTo>
                  <a:lnTo>
                    <a:pt x="0" y="60"/>
                  </a:lnTo>
                  <a:lnTo>
                    <a:pt x="0" y="135"/>
                  </a:lnTo>
                  <a:lnTo>
                    <a:pt x="0" y="210"/>
                  </a:lnTo>
                  <a:lnTo>
                    <a:pt x="0" y="285"/>
                  </a:lnTo>
                  <a:lnTo>
                    <a:pt x="0" y="359"/>
                  </a:lnTo>
                  <a:lnTo>
                    <a:pt x="0" y="436"/>
                  </a:lnTo>
                  <a:lnTo>
                    <a:pt x="1" y="440"/>
                  </a:lnTo>
                  <a:lnTo>
                    <a:pt x="2" y="443"/>
                  </a:lnTo>
                  <a:lnTo>
                    <a:pt x="4" y="447"/>
                  </a:lnTo>
                  <a:lnTo>
                    <a:pt x="6" y="451"/>
                  </a:lnTo>
                  <a:lnTo>
                    <a:pt x="14" y="458"/>
                  </a:lnTo>
                  <a:lnTo>
                    <a:pt x="24" y="463"/>
                  </a:lnTo>
                  <a:lnTo>
                    <a:pt x="35" y="469"/>
                  </a:lnTo>
                  <a:lnTo>
                    <a:pt x="49" y="474"/>
                  </a:lnTo>
                  <a:lnTo>
                    <a:pt x="64" y="478"/>
                  </a:lnTo>
                  <a:lnTo>
                    <a:pt x="80" y="483"/>
                  </a:lnTo>
                  <a:lnTo>
                    <a:pt x="114" y="488"/>
                  </a:lnTo>
                  <a:lnTo>
                    <a:pt x="149" y="492"/>
                  </a:lnTo>
                  <a:lnTo>
                    <a:pt x="182" y="494"/>
                  </a:lnTo>
                  <a:lnTo>
                    <a:pt x="211" y="496"/>
                  </a:lnTo>
                  <a:lnTo>
                    <a:pt x="240" y="494"/>
                  </a:lnTo>
                  <a:lnTo>
                    <a:pt x="273" y="492"/>
                  </a:lnTo>
                  <a:lnTo>
                    <a:pt x="307" y="488"/>
                  </a:lnTo>
                  <a:lnTo>
                    <a:pt x="342" y="483"/>
                  </a:lnTo>
                  <a:lnTo>
                    <a:pt x="358" y="478"/>
                  </a:lnTo>
                  <a:lnTo>
                    <a:pt x="373" y="474"/>
                  </a:lnTo>
                  <a:lnTo>
                    <a:pt x="387" y="469"/>
                  </a:lnTo>
                  <a:lnTo>
                    <a:pt x="398" y="463"/>
                  </a:lnTo>
                  <a:lnTo>
                    <a:pt x="408" y="458"/>
                  </a:lnTo>
                  <a:lnTo>
                    <a:pt x="416" y="451"/>
                  </a:lnTo>
                  <a:lnTo>
                    <a:pt x="418" y="447"/>
                  </a:lnTo>
                  <a:lnTo>
                    <a:pt x="420" y="443"/>
                  </a:lnTo>
                  <a:lnTo>
                    <a:pt x="421" y="440"/>
                  </a:lnTo>
                  <a:lnTo>
                    <a:pt x="421" y="436"/>
                  </a:lnTo>
                  <a:lnTo>
                    <a:pt x="421" y="359"/>
                  </a:lnTo>
                  <a:lnTo>
                    <a:pt x="421" y="285"/>
                  </a:lnTo>
                  <a:lnTo>
                    <a:pt x="421" y="210"/>
                  </a:lnTo>
                  <a:lnTo>
                    <a:pt x="421" y="135"/>
                  </a:lnTo>
                  <a:lnTo>
                    <a:pt x="421" y="60"/>
                  </a:lnTo>
                  <a:lnTo>
                    <a:pt x="421" y="55"/>
                  </a:lnTo>
                  <a:lnTo>
                    <a:pt x="420" y="51"/>
                  </a:lnTo>
                  <a:lnTo>
                    <a:pt x="418" y="48"/>
                  </a:lnTo>
                  <a:lnTo>
                    <a:pt x="416" y="43"/>
                  </a:lnTo>
                  <a:lnTo>
                    <a:pt x="408" y="37"/>
                  </a:lnTo>
                  <a:lnTo>
                    <a:pt x="398" y="31"/>
                  </a:lnTo>
                  <a:lnTo>
                    <a:pt x="387" y="25"/>
                  </a:lnTo>
                  <a:lnTo>
                    <a:pt x="373" y="20"/>
                  </a:lnTo>
                  <a:lnTo>
                    <a:pt x="358" y="16"/>
                  </a:lnTo>
                  <a:lnTo>
                    <a:pt x="342" y="12"/>
                  </a:lnTo>
                  <a:lnTo>
                    <a:pt x="307" y="6"/>
                  </a:lnTo>
                  <a:lnTo>
                    <a:pt x="273" y="2"/>
                  </a:lnTo>
                  <a:lnTo>
                    <a:pt x="240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8" name="Freeform 187">
              <a:extLst>
                <a:ext uri="{FF2B5EF4-FFF2-40B4-BE49-F238E27FC236}">
                  <a16:creationId xmlns:a16="http://schemas.microsoft.com/office/drawing/2014/main" id="{A0AA4BB5-E19C-4E1B-AF68-AD930FB89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2188" y="1354138"/>
              <a:ext cx="285750" cy="180975"/>
            </a:xfrm>
            <a:custGeom>
              <a:avLst/>
              <a:gdLst>
                <a:gd name="T0" fmla="*/ 0 w 902"/>
                <a:gd name="T1" fmla="*/ 0 h 571"/>
                <a:gd name="T2" fmla="*/ 0 w 902"/>
                <a:gd name="T3" fmla="*/ 345 h 571"/>
                <a:gd name="T4" fmla="*/ 1 w 902"/>
                <a:gd name="T5" fmla="*/ 348 h 571"/>
                <a:gd name="T6" fmla="*/ 1 w 902"/>
                <a:gd name="T7" fmla="*/ 351 h 571"/>
                <a:gd name="T8" fmla="*/ 3 w 902"/>
                <a:gd name="T9" fmla="*/ 353 h 571"/>
                <a:gd name="T10" fmla="*/ 4 w 902"/>
                <a:gd name="T11" fmla="*/ 355 h 571"/>
                <a:gd name="T12" fmla="*/ 6 w 902"/>
                <a:gd name="T13" fmla="*/ 357 h 571"/>
                <a:gd name="T14" fmla="*/ 10 w 902"/>
                <a:gd name="T15" fmla="*/ 358 h 571"/>
                <a:gd name="T16" fmla="*/ 12 w 902"/>
                <a:gd name="T17" fmla="*/ 360 h 571"/>
                <a:gd name="T18" fmla="*/ 15 w 902"/>
                <a:gd name="T19" fmla="*/ 361 h 571"/>
                <a:gd name="T20" fmla="*/ 18 w 902"/>
                <a:gd name="T21" fmla="*/ 360 h 571"/>
                <a:gd name="T22" fmla="*/ 21 w 902"/>
                <a:gd name="T23" fmla="*/ 358 h 571"/>
                <a:gd name="T24" fmla="*/ 24 w 902"/>
                <a:gd name="T25" fmla="*/ 357 h 571"/>
                <a:gd name="T26" fmla="*/ 26 w 902"/>
                <a:gd name="T27" fmla="*/ 355 h 571"/>
                <a:gd name="T28" fmla="*/ 28 w 902"/>
                <a:gd name="T29" fmla="*/ 353 h 571"/>
                <a:gd name="T30" fmla="*/ 29 w 902"/>
                <a:gd name="T31" fmla="*/ 351 h 571"/>
                <a:gd name="T32" fmla="*/ 30 w 902"/>
                <a:gd name="T33" fmla="*/ 348 h 571"/>
                <a:gd name="T34" fmla="*/ 30 w 902"/>
                <a:gd name="T35" fmla="*/ 345 h 571"/>
                <a:gd name="T36" fmla="*/ 30 w 902"/>
                <a:gd name="T37" fmla="*/ 30 h 571"/>
                <a:gd name="T38" fmla="*/ 872 w 902"/>
                <a:gd name="T39" fmla="*/ 30 h 571"/>
                <a:gd name="T40" fmla="*/ 872 w 902"/>
                <a:gd name="T41" fmla="*/ 541 h 571"/>
                <a:gd name="T42" fmla="*/ 572 w 902"/>
                <a:gd name="T43" fmla="*/ 541 h 571"/>
                <a:gd name="T44" fmla="*/ 569 w 902"/>
                <a:gd name="T45" fmla="*/ 541 h 571"/>
                <a:gd name="T46" fmla="*/ 566 w 902"/>
                <a:gd name="T47" fmla="*/ 542 h 571"/>
                <a:gd name="T48" fmla="*/ 563 w 902"/>
                <a:gd name="T49" fmla="*/ 543 h 571"/>
                <a:gd name="T50" fmla="*/ 561 w 902"/>
                <a:gd name="T51" fmla="*/ 545 h 571"/>
                <a:gd name="T52" fmla="*/ 559 w 902"/>
                <a:gd name="T53" fmla="*/ 547 h 571"/>
                <a:gd name="T54" fmla="*/ 558 w 902"/>
                <a:gd name="T55" fmla="*/ 550 h 571"/>
                <a:gd name="T56" fmla="*/ 557 w 902"/>
                <a:gd name="T57" fmla="*/ 552 h 571"/>
                <a:gd name="T58" fmla="*/ 557 w 902"/>
                <a:gd name="T59" fmla="*/ 556 h 571"/>
                <a:gd name="T60" fmla="*/ 557 w 902"/>
                <a:gd name="T61" fmla="*/ 559 h 571"/>
                <a:gd name="T62" fmla="*/ 558 w 902"/>
                <a:gd name="T63" fmla="*/ 561 h 571"/>
                <a:gd name="T64" fmla="*/ 559 w 902"/>
                <a:gd name="T65" fmla="*/ 564 h 571"/>
                <a:gd name="T66" fmla="*/ 561 w 902"/>
                <a:gd name="T67" fmla="*/ 566 h 571"/>
                <a:gd name="T68" fmla="*/ 563 w 902"/>
                <a:gd name="T69" fmla="*/ 568 h 571"/>
                <a:gd name="T70" fmla="*/ 566 w 902"/>
                <a:gd name="T71" fmla="*/ 569 h 571"/>
                <a:gd name="T72" fmla="*/ 569 w 902"/>
                <a:gd name="T73" fmla="*/ 571 h 571"/>
                <a:gd name="T74" fmla="*/ 572 w 902"/>
                <a:gd name="T75" fmla="*/ 571 h 571"/>
                <a:gd name="T76" fmla="*/ 902 w 902"/>
                <a:gd name="T77" fmla="*/ 571 h 571"/>
                <a:gd name="T78" fmla="*/ 902 w 902"/>
                <a:gd name="T79" fmla="*/ 0 h 571"/>
                <a:gd name="T80" fmla="*/ 0 w 902"/>
                <a:gd name="T81" fmla="*/ 0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02" h="571">
                  <a:moveTo>
                    <a:pt x="0" y="0"/>
                  </a:moveTo>
                  <a:lnTo>
                    <a:pt x="0" y="345"/>
                  </a:lnTo>
                  <a:lnTo>
                    <a:pt x="1" y="348"/>
                  </a:lnTo>
                  <a:lnTo>
                    <a:pt x="1" y="351"/>
                  </a:lnTo>
                  <a:lnTo>
                    <a:pt x="3" y="353"/>
                  </a:lnTo>
                  <a:lnTo>
                    <a:pt x="4" y="355"/>
                  </a:lnTo>
                  <a:lnTo>
                    <a:pt x="6" y="357"/>
                  </a:lnTo>
                  <a:lnTo>
                    <a:pt x="10" y="358"/>
                  </a:lnTo>
                  <a:lnTo>
                    <a:pt x="12" y="360"/>
                  </a:lnTo>
                  <a:lnTo>
                    <a:pt x="15" y="361"/>
                  </a:lnTo>
                  <a:lnTo>
                    <a:pt x="18" y="360"/>
                  </a:lnTo>
                  <a:lnTo>
                    <a:pt x="21" y="358"/>
                  </a:lnTo>
                  <a:lnTo>
                    <a:pt x="24" y="357"/>
                  </a:lnTo>
                  <a:lnTo>
                    <a:pt x="26" y="355"/>
                  </a:lnTo>
                  <a:lnTo>
                    <a:pt x="28" y="353"/>
                  </a:lnTo>
                  <a:lnTo>
                    <a:pt x="29" y="351"/>
                  </a:lnTo>
                  <a:lnTo>
                    <a:pt x="30" y="348"/>
                  </a:lnTo>
                  <a:lnTo>
                    <a:pt x="30" y="345"/>
                  </a:lnTo>
                  <a:lnTo>
                    <a:pt x="30" y="30"/>
                  </a:lnTo>
                  <a:lnTo>
                    <a:pt x="872" y="30"/>
                  </a:lnTo>
                  <a:lnTo>
                    <a:pt x="872" y="541"/>
                  </a:lnTo>
                  <a:lnTo>
                    <a:pt x="572" y="541"/>
                  </a:lnTo>
                  <a:lnTo>
                    <a:pt x="569" y="541"/>
                  </a:lnTo>
                  <a:lnTo>
                    <a:pt x="566" y="542"/>
                  </a:lnTo>
                  <a:lnTo>
                    <a:pt x="563" y="543"/>
                  </a:lnTo>
                  <a:lnTo>
                    <a:pt x="561" y="545"/>
                  </a:lnTo>
                  <a:lnTo>
                    <a:pt x="559" y="547"/>
                  </a:lnTo>
                  <a:lnTo>
                    <a:pt x="558" y="550"/>
                  </a:lnTo>
                  <a:lnTo>
                    <a:pt x="557" y="552"/>
                  </a:lnTo>
                  <a:lnTo>
                    <a:pt x="557" y="556"/>
                  </a:lnTo>
                  <a:lnTo>
                    <a:pt x="557" y="559"/>
                  </a:lnTo>
                  <a:lnTo>
                    <a:pt x="558" y="561"/>
                  </a:lnTo>
                  <a:lnTo>
                    <a:pt x="559" y="564"/>
                  </a:lnTo>
                  <a:lnTo>
                    <a:pt x="561" y="566"/>
                  </a:lnTo>
                  <a:lnTo>
                    <a:pt x="563" y="568"/>
                  </a:lnTo>
                  <a:lnTo>
                    <a:pt x="566" y="569"/>
                  </a:lnTo>
                  <a:lnTo>
                    <a:pt x="569" y="571"/>
                  </a:lnTo>
                  <a:lnTo>
                    <a:pt x="572" y="571"/>
                  </a:lnTo>
                  <a:lnTo>
                    <a:pt x="902" y="571"/>
                  </a:lnTo>
                  <a:lnTo>
                    <a:pt x="90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9" name="Freeform 188">
              <a:extLst>
                <a:ext uri="{FF2B5EF4-FFF2-40B4-BE49-F238E27FC236}">
                  <a16:creationId xmlns:a16="http://schemas.microsoft.com/office/drawing/2014/main" id="{4132CB2B-3354-4329-ABC0-497B9303F5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86963" y="1406525"/>
              <a:ext cx="76200" cy="76200"/>
            </a:xfrm>
            <a:custGeom>
              <a:avLst/>
              <a:gdLst>
                <a:gd name="T0" fmla="*/ 102 w 241"/>
                <a:gd name="T1" fmla="*/ 208 h 241"/>
                <a:gd name="T2" fmla="*/ 77 w 241"/>
                <a:gd name="T3" fmla="*/ 199 h 241"/>
                <a:gd name="T4" fmla="*/ 57 w 241"/>
                <a:gd name="T5" fmla="*/ 184 h 241"/>
                <a:gd name="T6" fmla="*/ 41 w 241"/>
                <a:gd name="T7" fmla="*/ 162 h 241"/>
                <a:gd name="T8" fmla="*/ 32 w 241"/>
                <a:gd name="T9" fmla="*/ 138 h 241"/>
                <a:gd name="T10" fmla="*/ 31 w 241"/>
                <a:gd name="T11" fmla="*/ 111 h 241"/>
                <a:gd name="T12" fmla="*/ 37 w 241"/>
                <a:gd name="T13" fmla="*/ 85 h 241"/>
                <a:gd name="T14" fmla="*/ 50 w 241"/>
                <a:gd name="T15" fmla="*/ 63 h 241"/>
                <a:gd name="T16" fmla="*/ 70 w 241"/>
                <a:gd name="T17" fmla="*/ 46 h 241"/>
                <a:gd name="T18" fmla="*/ 93 w 241"/>
                <a:gd name="T19" fmla="*/ 34 h 241"/>
                <a:gd name="T20" fmla="*/ 120 w 241"/>
                <a:gd name="T21" fmla="*/ 30 h 241"/>
                <a:gd name="T22" fmla="*/ 147 w 241"/>
                <a:gd name="T23" fmla="*/ 34 h 241"/>
                <a:gd name="T24" fmla="*/ 170 w 241"/>
                <a:gd name="T25" fmla="*/ 46 h 241"/>
                <a:gd name="T26" fmla="*/ 190 w 241"/>
                <a:gd name="T27" fmla="*/ 63 h 241"/>
                <a:gd name="T28" fmla="*/ 204 w 241"/>
                <a:gd name="T29" fmla="*/ 85 h 241"/>
                <a:gd name="T30" fmla="*/ 210 w 241"/>
                <a:gd name="T31" fmla="*/ 111 h 241"/>
                <a:gd name="T32" fmla="*/ 209 w 241"/>
                <a:gd name="T33" fmla="*/ 138 h 241"/>
                <a:gd name="T34" fmla="*/ 199 w 241"/>
                <a:gd name="T35" fmla="*/ 162 h 241"/>
                <a:gd name="T36" fmla="*/ 184 w 241"/>
                <a:gd name="T37" fmla="*/ 184 h 241"/>
                <a:gd name="T38" fmla="*/ 163 w 241"/>
                <a:gd name="T39" fmla="*/ 199 h 241"/>
                <a:gd name="T40" fmla="*/ 138 w 241"/>
                <a:gd name="T41" fmla="*/ 208 h 241"/>
                <a:gd name="T42" fmla="*/ 120 w 241"/>
                <a:gd name="T43" fmla="*/ 210 h 241"/>
                <a:gd name="T44" fmla="*/ 96 w 241"/>
                <a:gd name="T45" fmla="*/ 2 h 241"/>
                <a:gd name="T46" fmla="*/ 63 w 241"/>
                <a:gd name="T47" fmla="*/ 15 h 241"/>
                <a:gd name="T48" fmla="*/ 35 w 241"/>
                <a:gd name="T49" fmla="*/ 35 h 241"/>
                <a:gd name="T50" fmla="*/ 15 w 241"/>
                <a:gd name="T51" fmla="*/ 63 h 241"/>
                <a:gd name="T52" fmla="*/ 2 w 241"/>
                <a:gd name="T53" fmla="*/ 96 h 241"/>
                <a:gd name="T54" fmla="*/ 1 w 241"/>
                <a:gd name="T55" fmla="*/ 132 h 241"/>
                <a:gd name="T56" fmla="*/ 10 w 241"/>
                <a:gd name="T57" fmla="*/ 167 h 241"/>
                <a:gd name="T58" fmla="*/ 28 w 241"/>
                <a:gd name="T59" fmla="*/ 197 h 241"/>
                <a:gd name="T60" fmla="*/ 54 w 241"/>
                <a:gd name="T61" fmla="*/ 219 h 241"/>
                <a:gd name="T62" fmla="*/ 85 w 241"/>
                <a:gd name="T63" fmla="*/ 235 h 241"/>
                <a:gd name="T64" fmla="*/ 120 w 241"/>
                <a:gd name="T65" fmla="*/ 241 h 241"/>
                <a:gd name="T66" fmla="*/ 156 w 241"/>
                <a:gd name="T67" fmla="*/ 235 h 241"/>
                <a:gd name="T68" fmla="*/ 187 w 241"/>
                <a:gd name="T69" fmla="*/ 219 h 241"/>
                <a:gd name="T70" fmla="*/ 213 w 241"/>
                <a:gd name="T71" fmla="*/ 197 h 241"/>
                <a:gd name="T72" fmla="*/ 231 w 241"/>
                <a:gd name="T73" fmla="*/ 167 h 241"/>
                <a:gd name="T74" fmla="*/ 240 w 241"/>
                <a:gd name="T75" fmla="*/ 132 h 241"/>
                <a:gd name="T76" fmla="*/ 238 w 241"/>
                <a:gd name="T77" fmla="*/ 96 h 241"/>
                <a:gd name="T78" fmla="*/ 226 w 241"/>
                <a:gd name="T79" fmla="*/ 63 h 241"/>
                <a:gd name="T80" fmla="*/ 206 w 241"/>
                <a:gd name="T81" fmla="*/ 35 h 241"/>
                <a:gd name="T82" fmla="*/ 178 w 241"/>
                <a:gd name="T83" fmla="*/ 15 h 241"/>
                <a:gd name="T84" fmla="*/ 145 w 241"/>
                <a:gd name="T85" fmla="*/ 2 h 241"/>
                <a:gd name="T86" fmla="*/ 120 w 241"/>
                <a:gd name="T8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1" h="241">
                  <a:moveTo>
                    <a:pt x="120" y="210"/>
                  </a:moveTo>
                  <a:lnTo>
                    <a:pt x="111" y="210"/>
                  </a:lnTo>
                  <a:lnTo>
                    <a:pt x="102" y="208"/>
                  </a:lnTo>
                  <a:lnTo>
                    <a:pt x="93" y="206"/>
                  </a:lnTo>
                  <a:lnTo>
                    <a:pt x="86" y="203"/>
                  </a:lnTo>
                  <a:lnTo>
                    <a:pt x="77" y="199"/>
                  </a:lnTo>
                  <a:lnTo>
                    <a:pt x="70" y="195"/>
                  </a:lnTo>
                  <a:lnTo>
                    <a:pt x="63" y="189"/>
                  </a:lnTo>
                  <a:lnTo>
                    <a:pt x="57" y="184"/>
                  </a:lnTo>
                  <a:lnTo>
                    <a:pt x="50" y="177"/>
                  </a:lnTo>
                  <a:lnTo>
                    <a:pt x="46" y="170"/>
                  </a:lnTo>
                  <a:lnTo>
                    <a:pt x="41" y="162"/>
                  </a:lnTo>
                  <a:lnTo>
                    <a:pt x="37" y="155"/>
                  </a:lnTo>
                  <a:lnTo>
                    <a:pt x="34" y="146"/>
                  </a:lnTo>
                  <a:lnTo>
                    <a:pt x="32" y="138"/>
                  </a:lnTo>
                  <a:lnTo>
                    <a:pt x="31" y="129"/>
                  </a:lnTo>
                  <a:lnTo>
                    <a:pt x="30" y="120"/>
                  </a:lnTo>
                  <a:lnTo>
                    <a:pt x="31" y="111"/>
                  </a:lnTo>
                  <a:lnTo>
                    <a:pt x="32" y="101"/>
                  </a:lnTo>
                  <a:lnTo>
                    <a:pt x="34" y="93"/>
                  </a:lnTo>
                  <a:lnTo>
                    <a:pt x="37" y="85"/>
                  </a:lnTo>
                  <a:lnTo>
                    <a:pt x="41" y="77"/>
                  </a:lnTo>
                  <a:lnTo>
                    <a:pt x="46" y="69"/>
                  </a:lnTo>
                  <a:lnTo>
                    <a:pt x="50" y="63"/>
                  </a:lnTo>
                  <a:lnTo>
                    <a:pt x="57" y="56"/>
                  </a:lnTo>
                  <a:lnTo>
                    <a:pt x="63" y="50"/>
                  </a:lnTo>
                  <a:lnTo>
                    <a:pt x="70" y="46"/>
                  </a:lnTo>
                  <a:lnTo>
                    <a:pt x="77" y="40"/>
                  </a:lnTo>
                  <a:lnTo>
                    <a:pt x="86" y="37"/>
                  </a:lnTo>
                  <a:lnTo>
                    <a:pt x="93" y="34"/>
                  </a:lnTo>
                  <a:lnTo>
                    <a:pt x="102" y="32"/>
                  </a:lnTo>
                  <a:lnTo>
                    <a:pt x="111" y="31"/>
                  </a:lnTo>
                  <a:lnTo>
                    <a:pt x="120" y="30"/>
                  </a:lnTo>
                  <a:lnTo>
                    <a:pt x="130" y="31"/>
                  </a:lnTo>
                  <a:lnTo>
                    <a:pt x="138" y="32"/>
                  </a:lnTo>
                  <a:lnTo>
                    <a:pt x="147" y="34"/>
                  </a:lnTo>
                  <a:lnTo>
                    <a:pt x="155" y="37"/>
                  </a:lnTo>
                  <a:lnTo>
                    <a:pt x="163" y="40"/>
                  </a:lnTo>
                  <a:lnTo>
                    <a:pt x="170" y="46"/>
                  </a:lnTo>
                  <a:lnTo>
                    <a:pt x="178" y="50"/>
                  </a:lnTo>
                  <a:lnTo>
                    <a:pt x="184" y="56"/>
                  </a:lnTo>
                  <a:lnTo>
                    <a:pt x="190" y="63"/>
                  </a:lnTo>
                  <a:lnTo>
                    <a:pt x="195" y="69"/>
                  </a:lnTo>
                  <a:lnTo>
                    <a:pt x="199" y="77"/>
                  </a:lnTo>
                  <a:lnTo>
                    <a:pt x="204" y="85"/>
                  </a:lnTo>
                  <a:lnTo>
                    <a:pt x="207" y="93"/>
                  </a:lnTo>
                  <a:lnTo>
                    <a:pt x="209" y="101"/>
                  </a:lnTo>
                  <a:lnTo>
                    <a:pt x="210" y="111"/>
                  </a:lnTo>
                  <a:lnTo>
                    <a:pt x="211" y="120"/>
                  </a:lnTo>
                  <a:lnTo>
                    <a:pt x="210" y="129"/>
                  </a:lnTo>
                  <a:lnTo>
                    <a:pt x="209" y="138"/>
                  </a:lnTo>
                  <a:lnTo>
                    <a:pt x="207" y="146"/>
                  </a:lnTo>
                  <a:lnTo>
                    <a:pt x="204" y="155"/>
                  </a:lnTo>
                  <a:lnTo>
                    <a:pt x="199" y="162"/>
                  </a:lnTo>
                  <a:lnTo>
                    <a:pt x="195" y="170"/>
                  </a:lnTo>
                  <a:lnTo>
                    <a:pt x="190" y="177"/>
                  </a:lnTo>
                  <a:lnTo>
                    <a:pt x="184" y="184"/>
                  </a:lnTo>
                  <a:lnTo>
                    <a:pt x="178" y="189"/>
                  </a:lnTo>
                  <a:lnTo>
                    <a:pt x="170" y="195"/>
                  </a:lnTo>
                  <a:lnTo>
                    <a:pt x="163" y="199"/>
                  </a:lnTo>
                  <a:lnTo>
                    <a:pt x="155" y="203"/>
                  </a:lnTo>
                  <a:lnTo>
                    <a:pt x="147" y="206"/>
                  </a:lnTo>
                  <a:lnTo>
                    <a:pt x="138" y="208"/>
                  </a:lnTo>
                  <a:lnTo>
                    <a:pt x="130" y="210"/>
                  </a:lnTo>
                  <a:lnTo>
                    <a:pt x="120" y="211"/>
                  </a:lnTo>
                  <a:lnTo>
                    <a:pt x="120" y="210"/>
                  </a:lnTo>
                  <a:close/>
                  <a:moveTo>
                    <a:pt x="120" y="0"/>
                  </a:moveTo>
                  <a:lnTo>
                    <a:pt x="108" y="1"/>
                  </a:lnTo>
                  <a:lnTo>
                    <a:pt x="96" y="2"/>
                  </a:lnTo>
                  <a:lnTo>
                    <a:pt x="85" y="5"/>
                  </a:lnTo>
                  <a:lnTo>
                    <a:pt x="74" y="9"/>
                  </a:lnTo>
                  <a:lnTo>
                    <a:pt x="63" y="15"/>
                  </a:lnTo>
                  <a:lnTo>
                    <a:pt x="54" y="20"/>
                  </a:lnTo>
                  <a:lnTo>
                    <a:pt x="44" y="27"/>
                  </a:lnTo>
                  <a:lnTo>
                    <a:pt x="35" y="35"/>
                  </a:lnTo>
                  <a:lnTo>
                    <a:pt x="28" y="43"/>
                  </a:lnTo>
                  <a:lnTo>
                    <a:pt x="20" y="53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5" y="84"/>
                  </a:lnTo>
                  <a:lnTo>
                    <a:pt x="2" y="96"/>
                  </a:lnTo>
                  <a:lnTo>
                    <a:pt x="1" y="108"/>
                  </a:lnTo>
                  <a:lnTo>
                    <a:pt x="0" y="120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5" y="156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7"/>
                  </a:lnTo>
                  <a:lnTo>
                    <a:pt x="35" y="205"/>
                  </a:lnTo>
                  <a:lnTo>
                    <a:pt x="44" y="213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1"/>
                  </a:lnTo>
                  <a:lnTo>
                    <a:pt x="85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1"/>
                  </a:lnTo>
                  <a:lnTo>
                    <a:pt x="133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1"/>
                  </a:lnTo>
                  <a:lnTo>
                    <a:pt x="178" y="226"/>
                  </a:lnTo>
                  <a:lnTo>
                    <a:pt x="187" y="219"/>
                  </a:lnTo>
                  <a:lnTo>
                    <a:pt x="197" y="213"/>
                  </a:lnTo>
                  <a:lnTo>
                    <a:pt x="206" y="205"/>
                  </a:lnTo>
                  <a:lnTo>
                    <a:pt x="213" y="197"/>
                  </a:lnTo>
                  <a:lnTo>
                    <a:pt x="220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6" y="156"/>
                  </a:lnTo>
                  <a:lnTo>
                    <a:pt x="238" y="144"/>
                  </a:lnTo>
                  <a:lnTo>
                    <a:pt x="240" y="132"/>
                  </a:lnTo>
                  <a:lnTo>
                    <a:pt x="241" y="120"/>
                  </a:lnTo>
                  <a:lnTo>
                    <a:pt x="240" y="108"/>
                  </a:lnTo>
                  <a:lnTo>
                    <a:pt x="238" y="96"/>
                  </a:lnTo>
                  <a:lnTo>
                    <a:pt x="236" y="84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0" y="53"/>
                  </a:lnTo>
                  <a:lnTo>
                    <a:pt x="213" y="43"/>
                  </a:lnTo>
                  <a:lnTo>
                    <a:pt x="206" y="35"/>
                  </a:lnTo>
                  <a:lnTo>
                    <a:pt x="197" y="27"/>
                  </a:lnTo>
                  <a:lnTo>
                    <a:pt x="187" y="20"/>
                  </a:lnTo>
                  <a:lnTo>
                    <a:pt x="178" y="15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3" y="1"/>
                  </a:lnTo>
                  <a:lnTo>
                    <a:pt x="120" y="0"/>
                  </a:lnTo>
                  <a:lnTo>
                    <a:pt x="1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0" name="Freeform 189">
              <a:extLst>
                <a:ext uri="{FF2B5EF4-FFF2-40B4-BE49-F238E27FC236}">
                  <a16:creationId xmlns:a16="http://schemas.microsoft.com/office/drawing/2014/main" id="{EADB248E-6869-488B-923A-1526C839D2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91738" y="1458913"/>
              <a:ext cx="28575" cy="28575"/>
            </a:xfrm>
            <a:custGeom>
              <a:avLst/>
              <a:gdLst>
                <a:gd name="T0" fmla="*/ 30 w 90"/>
                <a:gd name="T1" fmla="*/ 42 h 91"/>
                <a:gd name="T2" fmla="*/ 32 w 90"/>
                <a:gd name="T3" fmla="*/ 37 h 91"/>
                <a:gd name="T4" fmla="*/ 36 w 90"/>
                <a:gd name="T5" fmla="*/ 33 h 91"/>
                <a:gd name="T6" fmla="*/ 42 w 90"/>
                <a:gd name="T7" fmla="*/ 31 h 91"/>
                <a:gd name="T8" fmla="*/ 48 w 90"/>
                <a:gd name="T9" fmla="*/ 31 h 91"/>
                <a:gd name="T10" fmla="*/ 54 w 90"/>
                <a:gd name="T11" fmla="*/ 33 h 91"/>
                <a:gd name="T12" fmla="*/ 58 w 90"/>
                <a:gd name="T13" fmla="*/ 37 h 91"/>
                <a:gd name="T14" fmla="*/ 60 w 90"/>
                <a:gd name="T15" fmla="*/ 42 h 91"/>
                <a:gd name="T16" fmla="*/ 60 w 90"/>
                <a:gd name="T17" fmla="*/ 48 h 91"/>
                <a:gd name="T18" fmla="*/ 58 w 90"/>
                <a:gd name="T19" fmla="*/ 53 h 91"/>
                <a:gd name="T20" fmla="*/ 54 w 90"/>
                <a:gd name="T21" fmla="*/ 57 h 91"/>
                <a:gd name="T22" fmla="*/ 48 w 90"/>
                <a:gd name="T23" fmla="*/ 60 h 91"/>
                <a:gd name="T24" fmla="*/ 42 w 90"/>
                <a:gd name="T25" fmla="*/ 60 h 91"/>
                <a:gd name="T26" fmla="*/ 36 w 90"/>
                <a:gd name="T27" fmla="*/ 57 h 91"/>
                <a:gd name="T28" fmla="*/ 32 w 90"/>
                <a:gd name="T29" fmla="*/ 53 h 91"/>
                <a:gd name="T30" fmla="*/ 30 w 90"/>
                <a:gd name="T31" fmla="*/ 48 h 91"/>
                <a:gd name="T32" fmla="*/ 30 w 90"/>
                <a:gd name="T33" fmla="*/ 45 h 91"/>
                <a:gd name="T34" fmla="*/ 89 w 90"/>
                <a:gd name="T35" fmla="*/ 36 h 91"/>
                <a:gd name="T36" fmla="*/ 83 w 90"/>
                <a:gd name="T37" fmla="*/ 20 h 91"/>
                <a:gd name="T38" fmla="*/ 70 w 90"/>
                <a:gd name="T39" fmla="*/ 8 h 91"/>
                <a:gd name="T40" fmla="*/ 54 w 90"/>
                <a:gd name="T41" fmla="*/ 1 h 91"/>
                <a:gd name="T42" fmla="*/ 35 w 90"/>
                <a:gd name="T43" fmla="*/ 1 h 91"/>
                <a:gd name="T44" fmla="*/ 19 w 90"/>
                <a:gd name="T45" fmla="*/ 8 h 91"/>
                <a:gd name="T46" fmla="*/ 8 w 90"/>
                <a:gd name="T47" fmla="*/ 20 h 91"/>
                <a:gd name="T48" fmla="*/ 1 w 90"/>
                <a:gd name="T49" fmla="*/ 36 h 91"/>
                <a:gd name="T50" fmla="*/ 1 w 90"/>
                <a:gd name="T51" fmla="*/ 54 h 91"/>
                <a:gd name="T52" fmla="*/ 8 w 90"/>
                <a:gd name="T53" fmla="*/ 70 h 91"/>
                <a:gd name="T54" fmla="*/ 19 w 90"/>
                <a:gd name="T55" fmla="*/ 82 h 91"/>
                <a:gd name="T56" fmla="*/ 35 w 90"/>
                <a:gd name="T57" fmla="*/ 89 h 91"/>
                <a:gd name="T58" fmla="*/ 54 w 90"/>
                <a:gd name="T59" fmla="*/ 89 h 91"/>
                <a:gd name="T60" fmla="*/ 70 w 90"/>
                <a:gd name="T61" fmla="*/ 82 h 91"/>
                <a:gd name="T62" fmla="*/ 83 w 90"/>
                <a:gd name="T63" fmla="*/ 70 h 91"/>
                <a:gd name="T64" fmla="*/ 89 w 90"/>
                <a:gd name="T65" fmla="*/ 54 h 91"/>
                <a:gd name="T66" fmla="*/ 90 w 90"/>
                <a:gd name="T67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0" h="91">
                  <a:moveTo>
                    <a:pt x="30" y="45"/>
                  </a:moveTo>
                  <a:lnTo>
                    <a:pt x="30" y="42"/>
                  </a:lnTo>
                  <a:lnTo>
                    <a:pt x="31" y="39"/>
                  </a:lnTo>
                  <a:lnTo>
                    <a:pt x="32" y="37"/>
                  </a:lnTo>
                  <a:lnTo>
                    <a:pt x="34" y="35"/>
                  </a:lnTo>
                  <a:lnTo>
                    <a:pt x="36" y="33"/>
                  </a:lnTo>
                  <a:lnTo>
                    <a:pt x="39" y="32"/>
                  </a:lnTo>
                  <a:lnTo>
                    <a:pt x="42" y="31"/>
                  </a:lnTo>
                  <a:lnTo>
                    <a:pt x="45" y="31"/>
                  </a:lnTo>
                  <a:lnTo>
                    <a:pt x="48" y="31"/>
                  </a:lnTo>
                  <a:lnTo>
                    <a:pt x="50" y="32"/>
                  </a:lnTo>
                  <a:lnTo>
                    <a:pt x="54" y="33"/>
                  </a:lnTo>
                  <a:lnTo>
                    <a:pt x="56" y="35"/>
                  </a:lnTo>
                  <a:lnTo>
                    <a:pt x="58" y="37"/>
                  </a:lnTo>
                  <a:lnTo>
                    <a:pt x="59" y="39"/>
                  </a:lnTo>
                  <a:lnTo>
                    <a:pt x="60" y="42"/>
                  </a:lnTo>
                  <a:lnTo>
                    <a:pt x="60" y="46"/>
                  </a:lnTo>
                  <a:lnTo>
                    <a:pt x="60" y="48"/>
                  </a:lnTo>
                  <a:lnTo>
                    <a:pt x="59" y="51"/>
                  </a:lnTo>
                  <a:lnTo>
                    <a:pt x="58" y="53"/>
                  </a:lnTo>
                  <a:lnTo>
                    <a:pt x="56" y="55"/>
                  </a:lnTo>
                  <a:lnTo>
                    <a:pt x="54" y="57"/>
                  </a:lnTo>
                  <a:lnTo>
                    <a:pt x="50" y="58"/>
                  </a:lnTo>
                  <a:lnTo>
                    <a:pt x="48" y="60"/>
                  </a:lnTo>
                  <a:lnTo>
                    <a:pt x="45" y="61"/>
                  </a:lnTo>
                  <a:lnTo>
                    <a:pt x="42" y="60"/>
                  </a:lnTo>
                  <a:lnTo>
                    <a:pt x="39" y="58"/>
                  </a:lnTo>
                  <a:lnTo>
                    <a:pt x="36" y="57"/>
                  </a:lnTo>
                  <a:lnTo>
                    <a:pt x="34" y="55"/>
                  </a:lnTo>
                  <a:lnTo>
                    <a:pt x="32" y="53"/>
                  </a:lnTo>
                  <a:lnTo>
                    <a:pt x="31" y="51"/>
                  </a:lnTo>
                  <a:lnTo>
                    <a:pt x="30" y="48"/>
                  </a:lnTo>
                  <a:lnTo>
                    <a:pt x="30" y="46"/>
                  </a:lnTo>
                  <a:lnTo>
                    <a:pt x="30" y="45"/>
                  </a:lnTo>
                  <a:close/>
                  <a:moveTo>
                    <a:pt x="90" y="45"/>
                  </a:moveTo>
                  <a:lnTo>
                    <a:pt x="89" y="36"/>
                  </a:lnTo>
                  <a:lnTo>
                    <a:pt x="87" y="27"/>
                  </a:lnTo>
                  <a:lnTo>
                    <a:pt x="83" y="20"/>
                  </a:lnTo>
                  <a:lnTo>
                    <a:pt x="77" y="13"/>
                  </a:lnTo>
                  <a:lnTo>
                    <a:pt x="70" y="8"/>
                  </a:lnTo>
                  <a:lnTo>
                    <a:pt x="62" y="4"/>
                  </a:lnTo>
                  <a:lnTo>
                    <a:pt x="54" y="1"/>
                  </a:lnTo>
                  <a:lnTo>
                    <a:pt x="45" y="0"/>
                  </a:lnTo>
                  <a:lnTo>
                    <a:pt x="35" y="1"/>
                  </a:lnTo>
                  <a:lnTo>
                    <a:pt x="28" y="4"/>
                  </a:lnTo>
                  <a:lnTo>
                    <a:pt x="19" y="8"/>
                  </a:lnTo>
                  <a:lnTo>
                    <a:pt x="13" y="13"/>
                  </a:lnTo>
                  <a:lnTo>
                    <a:pt x="8" y="20"/>
                  </a:lnTo>
                  <a:lnTo>
                    <a:pt x="3" y="27"/>
                  </a:lnTo>
                  <a:lnTo>
                    <a:pt x="1" y="36"/>
                  </a:lnTo>
                  <a:lnTo>
                    <a:pt x="0" y="46"/>
                  </a:lnTo>
                  <a:lnTo>
                    <a:pt x="1" y="54"/>
                  </a:lnTo>
                  <a:lnTo>
                    <a:pt x="3" y="63"/>
                  </a:lnTo>
                  <a:lnTo>
                    <a:pt x="8" y="70"/>
                  </a:lnTo>
                  <a:lnTo>
                    <a:pt x="13" y="77"/>
                  </a:lnTo>
                  <a:lnTo>
                    <a:pt x="19" y="82"/>
                  </a:lnTo>
                  <a:lnTo>
                    <a:pt x="28" y="86"/>
                  </a:lnTo>
                  <a:lnTo>
                    <a:pt x="35" y="89"/>
                  </a:lnTo>
                  <a:lnTo>
                    <a:pt x="45" y="91"/>
                  </a:lnTo>
                  <a:lnTo>
                    <a:pt x="54" y="89"/>
                  </a:lnTo>
                  <a:lnTo>
                    <a:pt x="62" y="86"/>
                  </a:lnTo>
                  <a:lnTo>
                    <a:pt x="70" y="82"/>
                  </a:lnTo>
                  <a:lnTo>
                    <a:pt x="77" y="77"/>
                  </a:lnTo>
                  <a:lnTo>
                    <a:pt x="83" y="70"/>
                  </a:lnTo>
                  <a:lnTo>
                    <a:pt x="87" y="63"/>
                  </a:lnTo>
                  <a:lnTo>
                    <a:pt x="89" y="54"/>
                  </a:lnTo>
                  <a:lnTo>
                    <a:pt x="90" y="46"/>
                  </a:lnTo>
                  <a:lnTo>
                    <a:pt x="9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1" name="Freeform 190">
              <a:extLst>
                <a:ext uri="{FF2B5EF4-FFF2-40B4-BE49-F238E27FC236}">
                  <a16:creationId xmlns:a16="http://schemas.microsoft.com/office/drawing/2014/main" id="{E8C82A88-9423-4FF6-A836-CDFB36AF56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29813" y="1401763"/>
              <a:ext cx="28575" cy="28575"/>
            </a:xfrm>
            <a:custGeom>
              <a:avLst/>
              <a:gdLst>
                <a:gd name="T0" fmla="*/ 59 w 90"/>
                <a:gd name="T1" fmla="*/ 48 h 90"/>
                <a:gd name="T2" fmla="*/ 57 w 90"/>
                <a:gd name="T3" fmla="*/ 53 h 90"/>
                <a:gd name="T4" fmla="*/ 54 w 90"/>
                <a:gd name="T5" fmla="*/ 57 h 90"/>
                <a:gd name="T6" fmla="*/ 48 w 90"/>
                <a:gd name="T7" fmla="*/ 60 h 90"/>
                <a:gd name="T8" fmla="*/ 42 w 90"/>
                <a:gd name="T9" fmla="*/ 60 h 90"/>
                <a:gd name="T10" fmla="*/ 36 w 90"/>
                <a:gd name="T11" fmla="*/ 57 h 90"/>
                <a:gd name="T12" fmla="*/ 32 w 90"/>
                <a:gd name="T13" fmla="*/ 53 h 90"/>
                <a:gd name="T14" fmla="*/ 30 w 90"/>
                <a:gd name="T15" fmla="*/ 48 h 90"/>
                <a:gd name="T16" fmla="*/ 30 w 90"/>
                <a:gd name="T17" fmla="*/ 41 h 90"/>
                <a:gd name="T18" fmla="*/ 32 w 90"/>
                <a:gd name="T19" fmla="*/ 36 h 90"/>
                <a:gd name="T20" fmla="*/ 36 w 90"/>
                <a:gd name="T21" fmla="*/ 32 h 90"/>
                <a:gd name="T22" fmla="*/ 42 w 90"/>
                <a:gd name="T23" fmla="*/ 30 h 90"/>
                <a:gd name="T24" fmla="*/ 48 w 90"/>
                <a:gd name="T25" fmla="*/ 30 h 90"/>
                <a:gd name="T26" fmla="*/ 54 w 90"/>
                <a:gd name="T27" fmla="*/ 32 h 90"/>
                <a:gd name="T28" fmla="*/ 57 w 90"/>
                <a:gd name="T29" fmla="*/ 36 h 90"/>
                <a:gd name="T30" fmla="*/ 59 w 90"/>
                <a:gd name="T31" fmla="*/ 41 h 90"/>
                <a:gd name="T32" fmla="*/ 60 w 90"/>
                <a:gd name="T33" fmla="*/ 45 h 90"/>
                <a:gd name="T34" fmla="*/ 0 w 90"/>
                <a:gd name="T35" fmla="*/ 54 h 90"/>
                <a:gd name="T36" fmla="*/ 8 w 90"/>
                <a:gd name="T37" fmla="*/ 70 h 90"/>
                <a:gd name="T38" fmla="*/ 19 w 90"/>
                <a:gd name="T39" fmla="*/ 82 h 90"/>
                <a:gd name="T40" fmla="*/ 35 w 90"/>
                <a:gd name="T41" fmla="*/ 88 h 90"/>
                <a:gd name="T42" fmla="*/ 54 w 90"/>
                <a:gd name="T43" fmla="*/ 88 h 90"/>
                <a:gd name="T44" fmla="*/ 70 w 90"/>
                <a:gd name="T45" fmla="*/ 82 h 90"/>
                <a:gd name="T46" fmla="*/ 83 w 90"/>
                <a:gd name="T47" fmla="*/ 70 h 90"/>
                <a:gd name="T48" fmla="*/ 89 w 90"/>
                <a:gd name="T49" fmla="*/ 54 h 90"/>
                <a:gd name="T50" fmla="*/ 89 w 90"/>
                <a:gd name="T51" fmla="*/ 36 h 90"/>
                <a:gd name="T52" fmla="*/ 83 w 90"/>
                <a:gd name="T53" fmla="*/ 20 h 90"/>
                <a:gd name="T54" fmla="*/ 70 w 90"/>
                <a:gd name="T55" fmla="*/ 7 h 90"/>
                <a:gd name="T56" fmla="*/ 54 w 90"/>
                <a:gd name="T57" fmla="*/ 1 h 90"/>
                <a:gd name="T58" fmla="*/ 35 w 90"/>
                <a:gd name="T59" fmla="*/ 1 h 90"/>
                <a:gd name="T60" fmla="*/ 19 w 90"/>
                <a:gd name="T61" fmla="*/ 7 h 90"/>
                <a:gd name="T62" fmla="*/ 8 w 90"/>
                <a:gd name="T63" fmla="*/ 20 h 90"/>
                <a:gd name="T64" fmla="*/ 0 w 90"/>
                <a:gd name="T65" fmla="*/ 3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0" h="90">
                  <a:moveTo>
                    <a:pt x="60" y="45"/>
                  </a:moveTo>
                  <a:lnTo>
                    <a:pt x="59" y="48"/>
                  </a:lnTo>
                  <a:lnTo>
                    <a:pt x="59" y="51"/>
                  </a:lnTo>
                  <a:lnTo>
                    <a:pt x="57" y="53"/>
                  </a:lnTo>
                  <a:lnTo>
                    <a:pt x="56" y="55"/>
                  </a:lnTo>
                  <a:lnTo>
                    <a:pt x="54" y="57"/>
                  </a:lnTo>
                  <a:lnTo>
                    <a:pt x="50" y="58"/>
                  </a:lnTo>
                  <a:lnTo>
                    <a:pt x="48" y="60"/>
                  </a:lnTo>
                  <a:lnTo>
                    <a:pt x="45" y="60"/>
                  </a:lnTo>
                  <a:lnTo>
                    <a:pt x="42" y="60"/>
                  </a:lnTo>
                  <a:lnTo>
                    <a:pt x="39" y="58"/>
                  </a:lnTo>
                  <a:lnTo>
                    <a:pt x="36" y="57"/>
                  </a:lnTo>
                  <a:lnTo>
                    <a:pt x="34" y="55"/>
                  </a:lnTo>
                  <a:lnTo>
                    <a:pt x="32" y="53"/>
                  </a:lnTo>
                  <a:lnTo>
                    <a:pt x="31" y="51"/>
                  </a:lnTo>
                  <a:lnTo>
                    <a:pt x="30" y="48"/>
                  </a:lnTo>
                  <a:lnTo>
                    <a:pt x="30" y="45"/>
                  </a:lnTo>
                  <a:lnTo>
                    <a:pt x="30" y="41"/>
                  </a:lnTo>
                  <a:lnTo>
                    <a:pt x="31" y="39"/>
                  </a:lnTo>
                  <a:lnTo>
                    <a:pt x="32" y="36"/>
                  </a:lnTo>
                  <a:lnTo>
                    <a:pt x="34" y="34"/>
                  </a:lnTo>
                  <a:lnTo>
                    <a:pt x="36" y="32"/>
                  </a:lnTo>
                  <a:lnTo>
                    <a:pt x="39" y="31"/>
                  </a:lnTo>
                  <a:lnTo>
                    <a:pt x="42" y="30"/>
                  </a:lnTo>
                  <a:lnTo>
                    <a:pt x="45" y="30"/>
                  </a:lnTo>
                  <a:lnTo>
                    <a:pt x="48" y="30"/>
                  </a:lnTo>
                  <a:lnTo>
                    <a:pt x="50" y="31"/>
                  </a:lnTo>
                  <a:lnTo>
                    <a:pt x="54" y="32"/>
                  </a:lnTo>
                  <a:lnTo>
                    <a:pt x="56" y="34"/>
                  </a:lnTo>
                  <a:lnTo>
                    <a:pt x="57" y="36"/>
                  </a:lnTo>
                  <a:lnTo>
                    <a:pt x="59" y="39"/>
                  </a:lnTo>
                  <a:lnTo>
                    <a:pt x="59" y="41"/>
                  </a:lnTo>
                  <a:lnTo>
                    <a:pt x="60" y="45"/>
                  </a:lnTo>
                  <a:lnTo>
                    <a:pt x="60" y="45"/>
                  </a:lnTo>
                  <a:close/>
                  <a:moveTo>
                    <a:pt x="0" y="45"/>
                  </a:moveTo>
                  <a:lnTo>
                    <a:pt x="0" y="54"/>
                  </a:lnTo>
                  <a:lnTo>
                    <a:pt x="3" y="62"/>
                  </a:lnTo>
                  <a:lnTo>
                    <a:pt x="8" y="70"/>
                  </a:lnTo>
                  <a:lnTo>
                    <a:pt x="13" y="77"/>
                  </a:lnTo>
                  <a:lnTo>
                    <a:pt x="19" y="82"/>
                  </a:lnTo>
                  <a:lnTo>
                    <a:pt x="27" y="86"/>
                  </a:lnTo>
                  <a:lnTo>
                    <a:pt x="35" y="88"/>
                  </a:lnTo>
                  <a:lnTo>
                    <a:pt x="45" y="90"/>
                  </a:lnTo>
                  <a:lnTo>
                    <a:pt x="54" y="88"/>
                  </a:lnTo>
                  <a:lnTo>
                    <a:pt x="62" y="86"/>
                  </a:lnTo>
                  <a:lnTo>
                    <a:pt x="70" y="82"/>
                  </a:lnTo>
                  <a:lnTo>
                    <a:pt x="76" y="77"/>
                  </a:lnTo>
                  <a:lnTo>
                    <a:pt x="83" y="70"/>
                  </a:lnTo>
                  <a:lnTo>
                    <a:pt x="87" y="62"/>
                  </a:lnTo>
                  <a:lnTo>
                    <a:pt x="89" y="54"/>
                  </a:lnTo>
                  <a:lnTo>
                    <a:pt x="90" y="45"/>
                  </a:lnTo>
                  <a:lnTo>
                    <a:pt x="89" y="36"/>
                  </a:lnTo>
                  <a:lnTo>
                    <a:pt x="87" y="27"/>
                  </a:lnTo>
                  <a:lnTo>
                    <a:pt x="83" y="20"/>
                  </a:lnTo>
                  <a:lnTo>
                    <a:pt x="76" y="12"/>
                  </a:lnTo>
                  <a:lnTo>
                    <a:pt x="70" y="7"/>
                  </a:lnTo>
                  <a:lnTo>
                    <a:pt x="62" y="3"/>
                  </a:lnTo>
                  <a:lnTo>
                    <a:pt x="54" y="1"/>
                  </a:lnTo>
                  <a:lnTo>
                    <a:pt x="45" y="0"/>
                  </a:lnTo>
                  <a:lnTo>
                    <a:pt x="35" y="1"/>
                  </a:lnTo>
                  <a:lnTo>
                    <a:pt x="27" y="3"/>
                  </a:lnTo>
                  <a:lnTo>
                    <a:pt x="19" y="7"/>
                  </a:lnTo>
                  <a:lnTo>
                    <a:pt x="13" y="12"/>
                  </a:lnTo>
                  <a:lnTo>
                    <a:pt x="8" y="20"/>
                  </a:lnTo>
                  <a:lnTo>
                    <a:pt x="3" y="27"/>
                  </a:lnTo>
                  <a:lnTo>
                    <a:pt x="0" y="36"/>
                  </a:lnTo>
                  <a:lnTo>
                    <a:pt x="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2" name="Freeform 191">
              <a:extLst>
                <a:ext uri="{FF2B5EF4-FFF2-40B4-BE49-F238E27FC236}">
                  <a16:creationId xmlns:a16="http://schemas.microsoft.com/office/drawing/2014/main" id="{3F05DD18-AEC1-43E1-8F8F-C1C387C36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1238" y="1373188"/>
              <a:ext cx="247650" cy="142875"/>
            </a:xfrm>
            <a:custGeom>
              <a:avLst/>
              <a:gdLst>
                <a:gd name="T0" fmla="*/ 498 w 782"/>
                <a:gd name="T1" fmla="*/ 441 h 451"/>
                <a:gd name="T2" fmla="*/ 503 w 782"/>
                <a:gd name="T3" fmla="*/ 447 h 451"/>
                <a:gd name="T4" fmla="*/ 512 w 782"/>
                <a:gd name="T5" fmla="*/ 451 h 451"/>
                <a:gd name="T6" fmla="*/ 710 w 782"/>
                <a:gd name="T7" fmla="*/ 448 h 451"/>
                <a:gd name="T8" fmla="*/ 735 w 782"/>
                <a:gd name="T9" fmla="*/ 440 h 451"/>
                <a:gd name="T10" fmla="*/ 756 w 782"/>
                <a:gd name="T11" fmla="*/ 424 h 451"/>
                <a:gd name="T12" fmla="*/ 771 w 782"/>
                <a:gd name="T13" fmla="*/ 403 h 451"/>
                <a:gd name="T14" fmla="*/ 781 w 782"/>
                <a:gd name="T15" fmla="*/ 379 h 451"/>
                <a:gd name="T16" fmla="*/ 782 w 782"/>
                <a:gd name="T17" fmla="*/ 90 h 451"/>
                <a:gd name="T18" fmla="*/ 779 w 782"/>
                <a:gd name="T19" fmla="*/ 63 h 451"/>
                <a:gd name="T20" fmla="*/ 767 w 782"/>
                <a:gd name="T21" fmla="*/ 39 h 451"/>
                <a:gd name="T22" fmla="*/ 750 w 782"/>
                <a:gd name="T23" fmla="*/ 20 h 451"/>
                <a:gd name="T24" fmla="*/ 727 w 782"/>
                <a:gd name="T25" fmla="*/ 6 h 451"/>
                <a:gd name="T26" fmla="*/ 702 w 782"/>
                <a:gd name="T27" fmla="*/ 0 h 451"/>
                <a:gd name="T28" fmla="*/ 81 w 782"/>
                <a:gd name="T29" fmla="*/ 0 h 451"/>
                <a:gd name="T30" fmla="*/ 56 w 782"/>
                <a:gd name="T31" fmla="*/ 6 h 451"/>
                <a:gd name="T32" fmla="*/ 33 w 782"/>
                <a:gd name="T33" fmla="*/ 20 h 451"/>
                <a:gd name="T34" fmla="*/ 16 w 782"/>
                <a:gd name="T35" fmla="*/ 39 h 451"/>
                <a:gd name="T36" fmla="*/ 4 w 782"/>
                <a:gd name="T37" fmla="*/ 63 h 451"/>
                <a:gd name="T38" fmla="*/ 0 w 782"/>
                <a:gd name="T39" fmla="*/ 90 h 451"/>
                <a:gd name="T40" fmla="*/ 2 w 782"/>
                <a:gd name="T41" fmla="*/ 291 h 451"/>
                <a:gd name="T42" fmla="*/ 7 w 782"/>
                <a:gd name="T43" fmla="*/ 297 h 451"/>
                <a:gd name="T44" fmla="*/ 15 w 782"/>
                <a:gd name="T45" fmla="*/ 301 h 451"/>
                <a:gd name="T46" fmla="*/ 24 w 782"/>
                <a:gd name="T47" fmla="*/ 297 h 451"/>
                <a:gd name="T48" fmla="*/ 29 w 782"/>
                <a:gd name="T49" fmla="*/ 291 h 451"/>
                <a:gd name="T50" fmla="*/ 30 w 782"/>
                <a:gd name="T51" fmla="*/ 90 h 451"/>
                <a:gd name="T52" fmla="*/ 33 w 782"/>
                <a:gd name="T53" fmla="*/ 71 h 451"/>
                <a:gd name="T54" fmla="*/ 41 w 782"/>
                <a:gd name="T55" fmla="*/ 55 h 451"/>
                <a:gd name="T56" fmla="*/ 52 w 782"/>
                <a:gd name="T57" fmla="*/ 43 h 451"/>
                <a:gd name="T58" fmla="*/ 67 w 782"/>
                <a:gd name="T59" fmla="*/ 34 h 451"/>
                <a:gd name="T60" fmla="*/ 85 w 782"/>
                <a:gd name="T61" fmla="*/ 30 h 451"/>
                <a:gd name="T62" fmla="*/ 698 w 782"/>
                <a:gd name="T63" fmla="*/ 30 h 451"/>
                <a:gd name="T64" fmla="*/ 716 w 782"/>
                <a:gd name="T65" fmla="*/ 34 h 451"/>
                <a:gd name="T66" fmla="*/ 731 w 782"/>
                <a:gd name="T67" fmla="*/ 43 h 451"/>
                <a:gd name="T68" fmla="*/ 742 w 782"/>
                <a:gd name="T69" fmla="*/ 55 h 451"/>
                <a:gd name="T70" fmla="*/ 750 w 782"/>
                <a:gd name="T71" fmla="*/ 71 h 451"/>
                <a:gd name="T72" fmla="*/ 752 w 782"/>
                <a:gd name="T73" fmla="*/ 90 h 451"/>
                <a:gd name="T74" fmla="*/ 751 w 782"/>
                <a:gd name="T75" fmla="*/ 372 h 451"/>
                <a:gd name="T76" fmla="*/ 744 w 782"/>
                <a:gd name="T77" fmla="*/ 389 h 451"/>
                <a:gd name="T78" fmla="*/ 735 w 782"/>
                <a:gd name="T79" fmla="*/ 403 h 451"/>
                <a:gd name="T80" fmla="*/ 721 w 782"/>
                <a:gd name="T81" fmla="*/ 413 h 451"/>
                <a:gd name="T82" fmla="*/ 704 w 782"/>
                <a:gd name="T83" fmla="*/ 419 h 451"/>
                <a:gd name="T84" fmla="*/ 512 w 782"/>
                <a:gd name="T85" fmla="*/ 421 h 451"/>
                <a:gd name="T86" fmla="*/ 503 w 782"/>
                <a:gd name="T87" fmla="*/ 423 h 451"/>
                <a:gd name="T88" fmla="*/ 498 w 782"/>
                <a:gd name="T89" fmla="*/ 429 h 451"/>
                <a:gd name="T90" fmla="*/ 497 w 782"/>
                <a:gd name="T91" fmla="*/ 436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82" h="451">
                  <a:moveTo>
                    <a:pt x="497" y="436"/>
                  </a:moveTo>
                  <a:lnTo>
                    <a:pt x="497" y="439"/>
                  </a:lnTo>
                  <a:lnTo>
                    <a:pt x="498" y="441"/>
                  </a:lnTo>
                  <a:lnTo>
                    <a:pt x="499" y="444"/>
                  </a:lnTo>
                  <a:lnTo>
                    <a:pt x="501" y="446"/>
                  </a:lnTo>
                  <a:lnTo>
                    <a:pt x="503" y="447"/>
                  </a:lnTo>
                  <a:lnTo>
                    <a:pt x="506" y="449"/>
                  </a:lnTo>
                  <a:lnTo>
                    <a:pt x="509" y="451"/>
                  </a:lnTo>
                  <a:lnTo>
                    <a:pt x="512" y="451"/>
                  </a:lnTo>
                  <a:lnTo>
                    <a:pt x="692" y="451"/>
                  </a:lnTo>
                  <a:lnTo>
                    <a:pt x="702" y="449"/>
                  </a:lnTo>
                  <a:lnTo>
                    <a:pt x="710" y="448"/>
                  </a:lnTo>
                  <a:lnTo>
                    <a:pt x="719" y="446"/>
                  </a:lnTo>
                  <a:lnTo>
                    <a:pt x="727" y="443"/>
                  </a:lnTo>
                  <a:lnTo>
                    <a:pt x="735" y="440"/>
                  </a:lnTo>
                  <a:lnTo>
                    <a:pt x="742" y="436"/>
                  </a:lnTo>
                  <a:lnTo>
                    <a:pt x="750" y="430"/>
                  </a:lnTo>
                  <a:lnTo>
                    <a:pt x="756" y="424"/>
                  </a:lnTo>
                  <a:lnTo>
                    <a:pt x="762" y="417"/>
                  </a:lnTo>
                  <a:lnTo>
                    <a:pt x="767" y="411"/>
                  </a:lnTo>
                  <a:lnTo>
                    <a:pt x="771" y="403"/>
                  </a:lnTo>
                  <a:lnTo>
                    <a:pt x="776" y="396"/>
                  </a:lnTo>
                  <a:lnTo>
                    <a:pt x="779" y="387"/>
                  </a:lnTo>
                  <a:lnTo>
                    <a:pt x="781" y="379"/>
                  </a:lnTo>
                  <a:lnTo>
                    <a:pt x="782" y="369"/>
                  </a:lnTo>
                  <a:lnTo>
                    <a:pt x="782" y="361"/>
                  </a:lnTo>
                  <a:lnTo>
                    <a:pt x="782" y="90"/>
                  </a:lnTo>
                  <a:lnTo>
                    <a:pt x="782" y="80"/>
                  </a:lnTo>
                  <a:lnTo>
                    <a:pt x="781" y="71"/>
                  </a:lnTo>
                  <a:lnTo>
                    <a:pt x="779" y="63"/>
                  </a:lnTo>
                  <a:lnTo>
                    <a:pt x="776" y="54"/>
                  </a:lnTo>
                  <a:lnTo>
                    <a:pt x="771" y="47"/>
                  </a:lnTo>
                  <a:lnTo>
                    <a:pt x="767" y="39"/>
                  </a:lnTo>
                  <a:lnTo>
                    <a:pt x="762" y="32"/>
                  </a:lnTo>
                  <a:lnTo>
                    <a:pt x="756" y="25"/>
                  </a:lnTo>
                  <a:lnTo>
                    <a:pt x="750" y="20"/>
                  </a:lnTo>
                  <a:lnTo>
                    <a:pt x="742" y="15"/>
                  </a:lnTo>
                  <a:lnTo>
                    <a:pt x="735" y="10"/>
                  </a:lnTo>
                  <a:lnTo>
                    <a:pt x="727" y="6"/>
                  </a:lnTo>
                  <a:lnTo>
                    <a:pt x="719" y="4"/>
                  </a:lnTo>
                  <a:lnTo>
                    <a:pt x="710" y="1"/>
                  </a:lnTo>
                  <a:lnTo>
                    <a:pt x="702" y="0"/>
                  </a:lnTo>
                  <a:lnTo>
                    <a:pt x="692" y="0"/>
                  </a:lnTo>
                  <a:lnTo>
                    <a:pt x="91" y="0"/>
                  </a:lnTo>
                  <a:lnTo>
                    <a:pt x="81" y="0"/>
                  </a:lnTo>
                  <a:lnTo>
                    <a:pt x="72" y="1"/>
                  </a:lnTo>
                  <a:lnTo>
                    <a:pt x="63" y="4"/>
                  </a:lnTo>
                  <a:lnTo>
                    <a:pt x="56" y="6"/>
                  </a:lnTo>
                  <a:lnTo>
                    <a:pt x="47" y="10"/>
                  </a:lnTo>
                  <a:lnTo>
                    <a:pt x="40" y="15"/>
                  </a:lnTo>
                  <a:lnTo>
                    <a:pt x="33" y="20"/>
                  </a:lnTo>
                  <a:lnTo>
                    <a:pt x="27" y="25"/>
                  </a:lnTo>
                  <a:lnTo>
                    <a:pt x="20" y="32"/>
                  </a:lnTo>
                  <a:lnTo>
                    <a:pt x="16" y="39"/>
                  </a:lnTo>
                  <a:lnTo>
                    <a:pt x="11" y="47"/>
                  </a:lnTo>
                  <a:lnTo>
                    <a:pt x="7" y="54"/>
                  </a:lnTo>
                  <a:lnTo>
                    <a:pt x="4" y="63"/>
                  </a:lnTo>
                  <a:lnTo>
                    <a:pt x="2" y="71"/>
                  </a:lnTo>
                  <a:lnTo>
                    <a:pt x="1" y="80"/>
                  </a:lnTo>
                  <a:lnTo>
                    <a:pt x="0" y="90"/>
                  </a:lnTo>
                  <a:lnTo>
                    <a:pt x="0" y="285"/>
                  </a:lnTo>
                  <a:lnTo>
                    <a:pt x="1" y="288"/>
                  </a:lnTo>
                  <a:lnTo>
                    <a:pt x="2" y="291"/>
                  </a:lnTo>
                  <a:lnTo>
                    <a:pt x="3" y="293"/>
                  </a:lnTo>
                  <a:lnTo>
                    <a:pt x="5" y="295"/>
                  </a:lnTo>
                  <a:lnTo>
                    <a:pt x="7" y="297"/>
                  </a:lnTo>
                  <a:lnTo>
                    <a:pt x="10" y="298"/>
                  </a:lnTo>
                  <a:lnTo>
                    <a:pt x="13" y="300"/>
                  </a:lnTo>
                  <a:lnTo>
                    <a:pt x="15" y="301"/>
                  </a:lnTo>
                  <a:lnTo>
                    <a:pt x="18" y="300"/>
                  </a:lnTo>
                  <a:lnTo>
                    <a:pt x="21" y="298"/>
                  </a:lnTo>
                  <a:lnTo>
                    <a:pt x="24" y="297"/>
                  </a:lnTo>
                  <a:lnTo>
                    <a:pt x="26" y="295"/>
                  </a:lnTo>
                  <a:lnTo>
                    <a:pt x="28" y="293"/>
                  </a:lnTo>
                  <a:lnTo>
                    <a:pt x="29" y="291"/>
                  </a:lnTo>
                  <a:lnTo>
                    <a:pt x="30" y="288"/>
                  </a:lnTo>
                  <a:lnTo>
                    <a:pt x="30" y="285"/>
                  </a:lnTo>
                  <a:lnTo>
                    <a:pt x="30" y="90"/>
                  </a:lnTo>
                  <a:lnTo>
                    <a:pt x="31" y="83"/>
                  </a:lnTo>
                  <a:lnTo>
                    <a:pt x="32" y="78"/>
                  </a:lnTo>
                  <a:lnTo>
                    <a:pt x="33" y="71"/>
                  </a:lnTo>
                  <a:lnTo>
                    <a:pt x="35" y="66"/>
                  </a:lnTo>
                  <a:lnTo>
                    <a:pt x="37" y="61"/>
                  </a:lnTo>
                  <a:lnTo>
                    <a:pt x="41" y="55"/>
                  </a:lnTo>
                  <a:lnTo>
                    <a:pt x="44" y="51"/>
                  </a:lnTo>
                  <a:lnTo>
                    <a:pt x="48" y="47"/>
                  </a:lnTo>
                  <a:lnTo>
                    <a:pt x="52" y="43"/>
                  </a:lnTo>
                  <a:lnTo>
                    <a:pt x="57" y="39"/>
                  </a:lnTo>
                  <a:lnTo>
                    <a:pt x="62" y="37"/>
                  </a:lnTo>
                  <a:lnTo>
                    <a:pt x="67" y="34"/>
                  </a:lnTo>
                  <a:lnTo>
                    <a:pt x="73" y="32"/>
                  </a:lnTo>
                  <a:lnTo>
                    <a:pt x="78" y="31"/>
                  </a:lnTo>
                  <a:lnTo>
                    <a:pt x="85" y="30"/>
                  </a:lnTo>
                  <a:lnTo>
                    <a:pt x="91" y="30"/>
                  </a:lnTo>
                  <a:lnTo>
                    <a:pt x="692" y="30"/>
                  </a:lnTo>
                  <a:lnTo>
                    <a:pt x="698" y="30"/>
                  </a:lnTo>
                  <a:lnTo>
                    <a:pt x="704" y="31"/>
                  </a:lnTo>
                  <a:lnTo>
                    <a:pt x="710" y="32"/>
                  </a:lnTo>
                  <a:lnTo>
                    <a:pt x="716" y="34"/>
                  </a:lnTo>
                  <a:lnTo>
                    <a:pt x="721" y="37"/>
                  </a:lnTo>
                  <a:lnTo>
                    <a:pt x="726" y="39"/>
                  </a:lnTo>
                  <a:lnTo>
                    <a:pt x="731" y="43"/>
                  </a:lnTo>
                  <a:lnTo>
                    <a:pt x="735" y="47"/>
                  </a:lnTo>
                  <a:lnTo>
                    <a:pt x="738" y="51"/>
                  </a:lnTo>
                  <a:lnTo>
                    <a:pt x="742" y="55"/>
                  </a:lnTo>
                  <a:lnTo>
                    <a:pt x="744" y="61"/>
                  </a:lnTo>
                  <a:lnTo>
                    <a:pt x="748" y="66"/>
                  </a:lnTo>
                  <a:lnTo>
                    <a:pt x="750" y="71"/>
                  </a:lnTo>
                  <a:lnTo>
                    <a:pt x="751" y="78"/>
                  </a:lnTo>
                  <a:lnTo>
                    <a:pt x="752" y="83"/>
                  </a:lnTo>
                  <a:lnTo>
                    <a:pt x="752" y="90"/>
                  </a:lnTo>
                  <a:lnTo>
                    <a:pt x="752" y="361"/>
                  </a:lnTo>
                  <a:lnTo>
                    <a:pt x="752" y="366"/>
                  </a:lnTo>
                  <a:lnTo>
                    <a:pt x="751" y="372"/>
                  </a:lnTo>
                  <a:lnTo>
                    <a:pt x="750" y="379"/>
                  </a:lnTo>
                  <a:lnTo>
                    <a:pt x="748" y="384"/>
                  </a:lnTo>
                  <a:lnTo>
                    <a:pt x="744" y="389"/>
                  </a:lnTo>
                  <a:lnTo>
                    <a:pt x="742" y="394"/>
                  </a:lnTo>
                  <a:lnTo>
                    <a:pt x="738" y="399"/>
                  </a:lnTo>
                  <a:lnTo>
                    <a:pt x="735" y="403"/>
                  </a:lnTo>
                  <a:lnTo>
                    <a:pt x="731" y="407"/>
                  </a:lnTo>
                  <a:lnTo>
                    <a:pt x="726" y="410"/>
                  </a:lnTo>
                  <a:lnTo>
                    <a:pt x="721" y="413"/>
                  </a:lnTo>
                  <a:lnTo>
                    <a:pt x="716" y="415"/>
                  </a:lnTo>
                  <a:lnTo>
                    <a:pt x="710" y="417"/>
                  </a:lnTo>
                  <a:lnTo>
                    <a:pt x="704" y="419"/>
                  </a:lnTo>
                  <a:lnTo>
                    <a:pt x="698" y="421"/>
                  </a:lnTo>
                  <a:lnTo>
                    <a:pt x="692" y="421"/>
                  </a:lnTo>
                  <a:lnTo>
                    <a:pt x="512" y="421"/>
                  </a:lnTo>
                  <a:lnTo>
                    <a:pt x="509" y="421"/>
                  </a:lnTo>
                  <a:lnTo>
                    <a:pt x="506" y="422"/>
                  </a:lnTo>
                  <a:lnTo>
                    <a:pt x="503" y="423"/>
                  </a:lnTo>
                  <a:lnTo>
                    <a:pt x="501" y="425"/>
                  </a:lnTo>
                  <a:lnTo>
                    <a:pt x="499" y="427"/>
                  </a:lnTo>
                  <a:lnTo>
                    <a:pt x="498" y="429"/>
                  </a:lnTo>
                  <a:lnTo>
                    <a:pt x="497" y="432"/>
                  </a:lnTo>
                  <a:lnTo>
                    <a:pt x="497" y="436"/>
                  </a:lnTo>
                  <a:lnTo>
                    <a:pt x="497" y="4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3" name="Group 392">
            <a:extLst>
              <a:ext uri="{FF2B5EF4-FFF2-40B4-BE49-F238E27FC236}">
                <a16:creationId xmlns:a16="http://schemas.microsoft.com/office/drawing/2014/main" id="{C327B13F-2F6E-44F5-AD02-30E3EBD447E2}"/>
              </a:ext>
            </a:extLst>
          </p:cNvPr>
          <p:cNvGrpSpPr/>
          <p:nvPr/>
        </p:nvGrpSpPr>
        <p:grpSpPr>
          <a:xfrm>
            <a:off x="3497451" y="3343863"/>
            <a:ext cx="287338" cy="249238"/>
            <a:chOff x="9309100" y="2536825"/>
            <a:chExt cx="287338" cy="249238"/>
          </a:xfrm>
          <a:solidFill>
            <a:schemeClr val="bg1"/>
          </a:solidFill>
        </p:grpSpPr>
        <p:sp>
          <p:nvSpPr>
            <p:cNvPr id="394" name="Freeform 216">
              <a:extLst>
                <a:ext uri="{FF2B5EF4-FFF2-40B4-BE49-F238E27FC236}">
                  <a16:creationId xmlns:a16="http://schemas.microsoft.com/office/drawing/2014/main" id="{2B3FA161-8B8E-408B-ADD1-8C852716DF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56725" y="2670175"/>
              <a:ext cx="104775" cy="77788"/>
            </a:xfrm>
            <a:custGeom>
              <a:avLst/>
              <a:gdLst>
                <a:gd name="T0" fmla="*/ 301 w 331"/>
                <a:gd name="T1" fmla="*/ 211 h 241"/>
                <a:gd name="T2" fmla="*/ 30 w 331"/>
                <a:gd name="T3" fmla="*/ 211 h 241"/>
                <a:gd name="T4" fmla="*/ 30 w 331"/>
                <a:gd name="T5" fmla="*/ 30 h 241"/>
                <a:gd name="T6" fmla="*/ 301 w 331"/>
                <a:gd name="T7" fmla="*/ 30 h 241"/>
                <a:gd name="T8" fmla="*/ 301 w 331"/>
                <a:gd name="T9" fmla="*/ 211 h 241"/>
                <a:gd name="T10" fmla="*/ 316 w 331"/>
                <a:gd name="T11" fmla="*/ 0 h 241"/>
                <a:gd name="T12" fmla="*/ 15 w 331"/>
                <a:gd name="T13" fmla="*/ 0 h 241"/>
                <a:gd name="T14" fmla="*/ 13 w 331"/>
                <a:gd name="T15" fmla="*/ 1 h 241"/>
                <a:gd name="T16" fmla="*/ 10 w 331"/>
                <a:gd name="T17" fmla="*/ 1 h 241"/>
                <a:gd name="T18" fmla="*/ 7 w 331"/>
                <a:gd name="T19" fmla="*/ 4 h 241"/>
                <a:gd name="T20" fmla="*/ 5 w 331"/>
                <a:gd name="T21" fmla="*/ 5 h 241"/>
                <a:gd name="T22" fmla="*/ 3 w 331"/>
                <a:gd name="T23" fmla="*/ 7 h 241"/>
                <a:gd name="T24" fmla="*/ 2 w 331"/>
                <a:gd name="T25" fmla="*/ 10 h 241"/>
                <a:gd name="T26" fmla="*/ 1 w 331"/>
                <a:gd name="T27" fmla="*/ 13 h 241"/>
                <a:gd name="T28" fmla="*/ 0 w 331"/>
                <a:gd name="T29" fmla="*/ 15 h 241"/>
                <a:gd name="T30" fmla="*/ 0 w 331"/>
                <a:gd name="T31" fmla="*/ 226 h 241"/>
                <a:gd name="T32" fmla="*/ 1 w 331"/>
                <a:gd name="T33" fmla="*/ 230 h 241"/>
                <a:gd name="T34" fmla="*/ 2 w 331"/>
                <a:gd name="T35" fmla="*/ 232 h 241"/>
                <a:gd name="T36" fmla="*/ 3 w 331"/>
                <a:gd name="T37" fmla="*/ 235 h 241"/>
                <a:gd name="T38" fmla="*/ 5 w 331"/>
                <a:gd name="T39" fmla="*/ 237 h 241"/>
                <a:gd name="T40" fmla="*/ 7 w 331"/>
                <a:gd name="T41" fmla="*/ 238 h 241"/>
                <a:gd name="T42" fmla="*/ 10 w 331"/>
                <a:gd name="T43" fmla="*/ 240 h 241"/>
                <a:gd name="T44" fmla="*/ 13 w 331"/>
                <a:gd name="T45" fmla="*/ 241 h 241"/>
                <a:gd name="T46" fmla="*/ 15 w 331"/>
                <a:gd name="T47" fmla="*/ 241 h 241"/>
                <a:gd name="T48" fmla="*/ 316 w 331"/>
                <a:gd name="T49" fmla="*/ 241 h 241"/>
                <a:gd name="T50" fmla="*/ 319 w 331"/>
                <a:gd name="T51" fmla="*/ 241 h 241"/>
                <a:gd name="T52" fmla="*/ 322 w 331"/>
                <a:gd name="T53" fmla="*/ 240 h 241"/>
                <a:gd name="T54" fmla="*/ 325 w 331"/>
                <a:gd name="T55" fmla="*/ 238 h 241"/>
                <a:gd name="T56" fmla="*/ 327 w 331"/>
                <a:gd name="T57" fmla="*/ 237 h 241"/>
                <a:gd name="T58" fmla="*/ 329 w 331"/>
                <a:gd name="T59" fmla="*/ 235 h 241"/>
                <a:gd name="T60" fmla="*/ 330 w 331"/>
                <a:gd name="T61" fmla="*/ 232 h 241"/>
                <a:gd name="T62" fmla="*/ 331 w 331"/>
                <a:gd name="T63" fmla="*/ 230 h 241"/>
                <a:gd name="T64" fmla="*/ 331 w 331"/>
                <a:gd name="T65" fmla="*/ 226 h 241"/>
                <a:gd name="T66" fmla="*/ 331 w 331"/>
                <a:gd name="T67" fmla="*/ 15 h 241"/>
                <a:gd name="T68" fmla="*/ 331 w 331"/>
                <a:gd name="T69" fmla="*/ 12 h 241"/>
                <a:gd name="T70" fmla="*/ 330 w 331"/>
                <a:gd name="T71" fmla="*/ 10 h 241"/>
                <a:gd name="T72" fmla="*/ 329 w 331"/>
                <a:gd name="T73" fmla="*/ 7 h 241"/>
                <a:gd name="T74" fmla="*/ 327 w 331"/>
                <a:gd name="T75" fmla="*/ 5 h 241"/>
                <a:gd name="T76" fmla="*/ 325 w 331"/>
                <a:gd name="T77" fmla="*/ 4 h 241"/>
                <a:gd name="T78" fmla="*/ 322 w 331"/>
                <a:gd name="T79" fmla="*/ 1 h 241"/>
                <a:gd name="T80" fmla="*/ 319 w 331"/>
                <a:gd name="T81" fmla="*/ 1 h 241"/>
                <a:gd name="T82" fmla="*/ 316 w 331"/>
                <a:gd name="T83" fmla="*/ 0 h 241"/>
                <a:gd name="T84" fmla="*/ 316 w 331"/>
                <a:gd name="T85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31" h="241">
                  <a:moveTo>
                    <a:pt x="301" y="211"/>
                  </a:moveTo>
                  <a:lnTo>
                    <a:pt x="30" y="211"/>
                  </a:lnTo>
                  <a:lnTo>
                    <a:pt x="30" y="30"/>
                  </a:lnTo>
                  <a:lnTo>
                    <a:pt x="301" y="30"/>
                  </a:lnTo>
                  <a:lnTo>
                    <a:pt x="301" y="211"/>
                  </a:lnTo>
                  <a:close/>
                  <a:moveTo>
                    <a:pt x="316" y="0"/>
                  </a:moveTo>
                  <a:lnTo>
                    <a:pt x="15" y="0"/>
                  </a:lnTo>
                  <a:lnTo>
                    <a:pt x="13" y="1"/>
                  </a:lnTo>
                  <a:lnTo>
                    <a:pt x="10" y="1"/>
                  </a:lnTo>
                  <a:lnTo>
                    <a:pt x="7" y="4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10"/>
                  </a:lnTo>
                  <a:lnTo>
                    <a:pt x="1" y="13"/>
                  </a:lnTo>
                  <a:lnTo>
                    <a:pt x="0" y="15"/>
                  </a:lnTo>
                  <a:lnTo>
                    <a:pt x="0" y="226"/>
                  </a:lnTo>
                  <a:lnTo>
                    <a:pt x="1" y="230"/>
                  </a:lnTo>
                  <a:lnTo>
                    <a:pt x="2" y="232"/>
                  </a:lnTo>
                  <a:lnTo>
                    <a:pt x="3" y="235"/>
                  </a:lnTo>
                  <a:lnTo>
                    <a:pt x="5" y="237"/>
                  </a:lnTo>
                  <a:lnTo>
                    <a:pt x="7" y="238"/>
                  </a:lnTo>
                  <a:lnTo>
                    <a:pt x="10" y="240"/>
                  </a:lnTo>
                  <a:lnTo>
                    <a:pt x="13" y="241"/>
                  </a:lnTo>
                  <a:lnTo>
                    <a:pt x="15" y="241"/>
                  </a:lnTo>
                  <a:lnTo>
                    <a:pt x="316" y="241"/>
                  </a:lnTo>
                  <a:lnTo>
                    <a:pt x="319" y="241"/>
                  </a:lnTo>
                  <a:lnTo>
                    <a:pt x="322" y="240"/>
                  </a:lnTo>
                  <a:lnTo>
                    <a:pt x="325" y="238"/>
                  </a:lnTo>
                  <a:lnTo>
                    <a:pt x="327" y="237"/>
                  </a:lnTo>
                  <a:lnTo>
                    <a:pt x="329" y="235"/>
                  </a:lnTo>
                  <a:lnTo>
                    <a:pt x="330" y="232"/>
                  </a:lnTo>
                  <a:lnTo>
                    <a:pt x="331" y="230"/>
                  </a:lnTo>
                  <a:lnTo>
                    <a:pt x="331" y="226"/>
                  </a:lnTo>
                  <a:lnTo>
                    <a:pt x="331" y="15"/>
                  </a:lnTo>
                  <a:lnTo>
                    <a:pt x="331" y="12"/>
                  </a:lnTo>
                  <a:lnTo>
                    <a:pt x="330" y="10"/>
                  </a:lnTo>
                  <a:lnTo>
                    <a:pt x="329" y="7"/>
                  </a:lnTo>
                  <a:lnTo>
                    <a:pt x="327" y="5"/>
                  </a:lnTo>
                  <a:lnTo>
                    <a:pt x="325" y="4"/>
                  </a:lnTo>
                  <a:lnTo>
                    <a:pt x="322" y="1"/>
                  </a:lnTo>
                  <a:lnTo>
                    <a:pt x="319" y="1"/>
                  </a:lnTo>
                  <a:lnTo>
                    <a:pt x="316" y="0"/>
                  </a:lnTo>
                  <a:lnTo>
                    <a:pt x="3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5" name="Freeform 217">
              <a:extLst>
                <a:ext uri="{FF2B5EF4-FFF2-40B4-BE49-F238E27FC236}">
                  <a16:creationId xmlns:a16="http://schemas.microsoft.com/office/drawing/2014/main" id="{DB48BF49-FF9E-4C85-B66F-D89006B755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09100" y="2536825"/>
              <a:ext cx="287338" cy="249238"/>
            </a:xfrm>
            <a:custGeom>
              <a:avLst/>
              <a:gdLst>
                <a:gd name="T0" fmla="*/ 863 w 902"/>
                <a:gd name="T1" fmla="*/ 235 h 782"/>
                <a:gd name="T2" fmla="*/ 832 w 902"/>
                <a:gd name="T3" fmla="*/ 276 h 782"/>
                <a:gd name="T4" fmla="*/ 787 w 902"/>
                <a:gd name="T5" fmla="*/ 299 h 782"/>
                <a:gd name="T6" fmla="*/ 737 w 902"/>
                <a:gd name="T7" fmla="*/ 298 h 782"/>
                <a:gd name="T8" fmla="*/ 692 w 902"/>
                <a:gd name="T9" fmla="*/ 280 h 782"/>
                <a:gd name="T10" fmla="*/ 752 w 902"/>
                <a:gd name="T11" fmla="*/ 752 h 782"/>
                <a:gd name="T12" fmla="*/ 748 w 902"/>
                <a:gd name="T13" fmla="*/ 426 h 782"/>
                <a:gd name="T14" fmla="*/ 556 w 902"/>
                <a:gd name="T15" fmla="*/ 421 h 782"/>
                <a:gd name="T16" fmla="*/ 544 w 902"/>
                <a:gd name="T17" fmla="*/ 428 h 782"/>
                <a:gd name="T18" fmla="*/ 120 w 902"/>
                <a:gd name="T19" fmla="*/ 752 h 782"/>
                <a:gd name="T20" fmla="*/ 170 w 902"/>
                <a:gd name="T21" fmla="*/ 326 h 782"/>
                <a:gd name="T22" fmla="*/ 231 w 902"/>
                <a:gd name="T23" fmla="*/ 320 h 782"/>
                <a:gd name="T24" fmla="*/ 279 w 902"/>
                <a:gd name="T25" fmla="*/ 354 h 782"/>
                <a:gd name="T26" fmla="*/ 347 w 902"/>
                <a:gd name="T27" fmla="*/ 361 h 782"/>
                <a:gd name="T28" fmla="*/ 415 w 902"/>
                <a:gd name="T29" fmla="*/ 340 h 782"/>
                <a:gd name="T30" fmla="*/ 475 w 902"/>
                <a:gd name="T31" fmla="*/ 346 h 782"/>
                <a:gd name="T32" fmla="*/ 556 w 902"/>
                <a:gd name="T33" fmla="*/ 361 h 782"/>
                <a:gd name="T34" fmla="*/ 643 w 902"/>
                <a:gd name="T35" fmla="*/ 341 h 782"/>
                <a:gd name="T36" fmla="*/ 701 w 902"/>
                <a:gd name="T37" fmla="*/ 319 h 782"/>
                <a:gd name="T38" fmla="*/ 756 w 902"/>
                <a:gd name="T39" fmla="*/ 331 h 782"/>
                <a:gd name="T40" fmla="*/ 571 w 902"/>
                <a:gd name="T41" fmla="*/ 752 h 782"/>
                <a:gd name="T42" fmla="*/ 30 w 902"/>
                <a:gd name="T43" fmla="*/ 196 h 782"/>
                <a:gd name="T44" fmla="*/ 193 w 902"/>
                <a:gd name="T45" fmla="*/ 289 h 782"/>
                <a:gd name="T46" fmla="*/ 132 w 902"/>
                <a:gd name="T47" fmla="*/ 301 h 782"/>
                <a:gd name="T48" fmla="*/ 82 w 902"/>
                <a:gd name="T49" fmla="*/ 292 h 782"/>
                <a:gd name="T50" fmla="*/ 48 w 902"/>
                <a:gd name="T51" fmla="*/ 261 h 782"/>
                <a:gd name="T52" fmla="*/ 32 w 902"/>
                <a:gd name="T53" fmla="*/ 216 h 782"/>
                <a:gd name="T54" fmla="*/ 214 w 902"/>
                <a:gd name="T55" fmla="*/ 151 h 782"/>
                <a:gd name="T56" fmla="*/ 451 w 902"/>
                <a:gd name="T57" fmla="*/ 151 h 782"/>
                <a:gd name="T58" fmla="*/ 245 w 902"/>
                <a:gd name="T59" fmla="*/ 151 h 782"/>
                <a:gd name="T60" fmla="*/ 421 w 902"/>
                <a:gd name="T61" fmla="*/ 295 h 782"/>
                <a:gd name="T62" fmla="*/ 371 w 902"/>
                <a:gd name="T63" fmla="*/ 327 h 782"/>
                <a:gd name="T64" fmla="*/ 301 w 902"/>
                <a:gd name="T65" fmla="*/ 329 h 782"/>
                <a:gd name="T66" fmla="*/ 250 w 902"/>
                <a:gd name="T67" fmla="*/ 295 h 782"/>
                <a:gd name="T68" fmla="*/ 643 w 902"/>
                <a:gd name="T69" fmla="*/ 304 h 782"/>
                <a:gd name="T70" fmla="*/ 574 w 902"/>
                <a:gd name="T71" fmla="*/ 330 h 782"/>
                <a:gd name="T72" fmla="*/ 496 w 902"/>
                <a:gd name="T73" fmla="*/ 322 h 782"/>
                <a:gd name="T74" fmla="*/ 451 w 902"/>
                <a:gd name="T75" fmla="*/ 181 h 782"/>
                <a:gd name="T76" fmla="*/ 651 w 902"/>
                <a:gd name="T77" fmla="*/ 30 h 782"/>
                <a:gd name="T78" fmla="*/ 901 w 902"/>
                <a:gd name="T79" fmla="*/ 160 h 782"/>
                <a:gd name="T80" fmla="*/ 805 w 902"/>
                <a:gd name="T81" fmla="*/ 2 h 782"/>
                <a:gd name="T82" fmla="*/ 97 w 902"/>
                <a:gd name="T83" fmla="*/ 2 h 782"/>
                <a:gd name="T84" fmla="*/ 2 w 902"/>
                <a:gd name="T85" fmla="*/ 160 h 782"/>
                <a:gd name="T86" fmla="*/ 0 w 902"/>
                <a:gd name="T87" fmla="*/ 166 h 782"/>
                <a:gd name="T88" fmla="*/ 4 w 902"/>
                <a:gd name="T89" fmla="*/ 231 h 782"/>
                <a:gd name="T90" fmla="*/ 26 w 902"/>
                <a:gd name="T91" fmla="*/ 280 h 782"/>
                <a:gd name="T92" fmla="*/ 62 w 902"/>
                <a:gd name="T93" fmla="*/ 315 h 782"/>
                <a:gd name="T94" fmla="*/ 91 w 902"/>
                <a:gd name="T95" fmla="*/ 771 h 782"/>
                <a:gd name="T96" fmla="*/ 100 w 902"/>
                <a:gd name="T97" fmla="*/ 781 h 782"/>
                <a:gd name="T98" fmla="*/ 797 w 902"/>
                <a:gd name="T99" fmla="*/ 782 h 782"/>
                <a:gd name="T100" fmla="*/ 810 w 902"/>
                <a:gd name="T101" fmla="*/ 776 h 782"/>
                <a:gd name="T102" fmla="*/ 822 w 902"/>
                <a:gd name="T103" fmla="*/ 319 h 782"/>
                <a:gd name="T104" fmla="*/ 862 w 902"/>
                <a:gd name="T105" fmla="*/ 289 h 782"/>
                <a:gd name="T106" fmla="*/ 891 w 902"/>
                <a:gd name="T107" fmla="*/ 246 h 782"/>
                <a:gd name="T108" fmla="*/ 902 w 902"/>
                <a:gd name="T109" fmla="*/ 196 h 782"/>
                <a:gd name="T110" fmla="*/ 901 w 902"/>
                <a:gd name="T111" fmla="*/ 161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02" h="782">
                  <a:moveTo>
                    <a:pt x="872" y="196"/>
                  </a:moveTo>
                  <a:lnTo>
                    <a:pt x="872" y="206"/>
                  </a:lnTo>
                  <a:lnTo>
                    <a:pt x="870" y="216"/>
                  </a:lnTo>
                  <a:lnTo>
                    <a:pt x="867" y="226"/>
                  </a:lnTo>
                  <a:lnTo>
                    <a:pt x="863" y="235"/>
                  </a:lnTo>
                  <a:lnTo>
                    <a:pt x="858" y="245"/>
                  </a:lnTo>
                  <a:lnTo>
                    <a:pt x="853" y="253"/>
                  </a:lnTo>
                  <a:lnTo>
                    <a:pt x="846" y="262"/>
                  </a:lnTo>
                  <a:lnTo>
                    <a:pt x="840" y="269"/>
                  </a:lnTo>
                  <a:lnTo>
                    <a:pt x="832" y="276"/>
                  </a:lnTo>
                  <a:lnTo>
                    <a:pt x="824" y="282"/>
                  </a:lnTo>
                  <a:lnTo>
                    <a:pt x="815" y="287"/>
                  </a:lnTo>
                  <a:lnTo>
                    <a:pt x="807" y="293"/>
                  </a:lnTo>
                  <a:lnTo>
                    <a:pt x="797" y="296"/>
                  </a:lnTo>
                  <a:lnTo>
                    <a:pt x="787" y="299"/>
                  </a:lnTo>
                  <a:lnTo>
                    <a:pt x="777" y="301"/>
                  </a:lnTo>
                  <a:lnTo>
                    <a:pt x="767" y="301"/>
                  </a:lnTo>
                  <a:lnTo>
                    <a:pt x="757" y="301"/>
                  </a:lnTo>
                  <a:lnTo>
                    <a:pt x="748" y="300"/>
                  </a:lnTo>
                  <a:lnTo>
                    <a:pt x="737" y="298"/>
                  </a:lnTo>
                  <a:lnTo>
                    <a:pt x="727" y="296"/>
                  </a:lnTo>
                  <a:lnTo>
                    <a:pt x="717" y="293"/>
                  </a:lnTo>
                  <a:lnTo>
                    <a:pt x="708" y="290"/>
                  </a:lnTo>
                  <a:lnTo>
                    <a:pt x="700" y="284"/>
                  </a:lnTo>
                  <a:lnTo>
                    <a:pt x="692" y="280"/>
                  </a:lnTo>
                  <a:lnTo>
                    <a:pt x="692" y="181"/>
                  </a:lnTo>
                  <a:lnTo>
                    <a:pt x="872" y="181"/>
                  </a:lnTo>
                  <a:lnTo>
                    <a:pt x="872" y="196"/>
                  </a:lnTo>
                  <a:close/>
                  <a:moveTo>
                    <a:pt x="782" y="752"/>
                  </a:moveTo>
                  <a:lnTo>
                    <a:pt x="752" y="752"/>
                  </a:lnTo>
                  <a:lnTo>
                    <a:pt x="752" y="436"/>
                  </a:lnTo>
                  <a:lnTo>
                    <a:pt x="752" y="433"/>
                  </a:lnTo>
                  <a:lnTo>
                    <a:pt x="751" y="431"/>
                  </a:lnTo>
                  <a:lnTo>
                    <a:pt x="749" y="428"/>
                  </a:lnTo>
                  <a:lnTo>
                    <a:pt x="748" y="426"/>
                  </a:lnTo>
                  <a:lnTo>
                    <a:pt x="746" y="425"/>
                  </a:lnTo>
                  <a:lnTo>
                    <a:pt x="742" y="422"/>
                  </a:lnTo>
                  <a:lnTo>
                    <a:pt x="740" y="422"/>
                  </a:lnTo>
                  <a:lnTo>
                    <a:pt x="737" y="421"/>
                  </a:lnTo>
                  <a:lnTo>
                    <a:pt x="556" y="421"/>
                  </a:lnTo>
                  <a:lnTo>
                    <a:pt x="554" y="422"/>
                  </a:lnTo>
                  <a:lnTo>
                    <a:pt x="551" y="422"/>
                  </a:lnTo>
                  <a:lnTo>
                    <a:pt x="548" y="425"/>
                  </a:lnTo>
                  <a:lnTo>
                    <a:pt x="545" y="426"/>
                  </a:lnTo>
                  <a:lnTo>
                    <a:pt x="544" y="428"/>
                  </a:lnTo>
                  <a:lnTo>
                    <a:pt x="542" y="431"/>
                  </a:lnTo>
                  <a:lnTo>
                    <a:pt x="542" y="434"/>
                  </a:lnTo>
                  <a:lnTo>
                    <a:pt x="541" y="436"/>
                  </a:lnTo>
                  <a:lnTo>
                    <a:pt x="541" y="752"/>
                  </a:lnTo>
                  <a:lnTo>
                    <a:pt x="120" y="752"/>
                  </a:lnTo>
                  <a:lnTo>
                    <a:pt x="120" y="331"/>
                  </a:lnTo>
                  <a:lnTo>
                    <a:pt x="131" y="331"/>
                  </a:lnTo>
                  <a:lnTo>
                    <a:pt x="144" y="330"/>
                  </a:lnTo>
                  <a:lnTo>
                    <a:pt x="156" y="328"/>
                  </a:lnTo>
                  <a:lnTo>
                    <a:pt x="170" y="326"/>
                  </a:lnTo>
                  <a:lnTo>
                    <a:pt x="184" y="323"/>
                  </a:lnTo>
                  <a:lnTo>
                    <a:pt x="197" y="319"/>
                  </a:lnTo>
                  <a:lnTo>
                    <a:pt x="210" y="314"/>
                  </a:lnTo>
                  <a:lnTo>
                    <a:pt x="222" y="308"/>
                  </a:lnTo>
                  <a:lnTo>
                    <a:pt x="231" y="320"/>
                  </a:lnTo>
                  <a:lnTo>
                    <a:pt x="241" y="330"/>
                  </a:lnTo>
                  <a:lnTo>
                    <a:pt x="252" y="340"/>
                  </a:lnTo>
                  <a:lnTo>
                    <a:pt x="265" y="347"/>
                  </a:lnTo>
                  <a:lnTo>
                    <a:pt x="271" y="351"/>
                  </a:lnTo>
                  <a:lnTo>
                    <a:pt x="279" y="354"/>
                  </a:lnTo>
                  <a:lnTo>
                    <a:pt x="285" y="356"/>
                  </a:lnTo>
                  <a:lnTo>
                    <a:pt x="294" y="358"/>
                  </a:lnTo>
                  <a:lnTo>
                    <a:pt x="311" y="360"/>
                  </a:lnTo>
                  <a:lnTo>
                    <a:pt x="331" y="361"/>
                  </a:lnTo>
                  <a:lnTo>
                    <a:pt x="347" y="361"/>
                  </a:lnTo>
                  <a:lnTo>
                    <a:pt x="362" y="359"/>
                  </a:lnTo>
                  <a:lnTo>
                    <a:pt x="376" y="356"/>
                  </a:lnTo>
                  <a:lnTo>
                    <a:pt x="390" y="352"/>
                  </a:lnTo>
                  <a:lnTo>
                    <a:pt x="403" y="346"/>
                  </a:lnTo>
                  <a:lnTo>
                    <a:pt x="415" y="340"/>
                  </a:lnTo>
                  <a:lnTo>
                    <a:pt x="425" y="332"/>
                  </a:lnTo>
                  <a:lnTo>
                    <a:pt x="436" y="323"/>
                  </a:lnTo>
                  <a:lnTo>
                    <a:pt x="448" y="331"/>
                  </a:lnTo>
                  <a:lnTo>
                    <a:pt x="461" y="339"/>
                  </a:lnTo>
                  <a:lnTo>
                    <a:pt x="475" y="346"/>
                  </a:lnTo>
                  <a:lnTo>
                    <a:pt x="488" y="352"/>
                  </a:lnTo>
                  <a:lnTo>
                    <a:pt x="505" y="356"/>
                  </a:lnTo>
                  <a:lnTo>
                    <a:pt x="522" y="359"/>
                  </a:lnTo>
                  <a:lnTo>
                    <a:pt x="539" y="361"/>
                  </a:lnTo>
                  <a:lnTo>
                    <a:pt x="556" y="361"/>
                  </a:lnTo>
                  <a:lnTo>
                    <a:pt x="576" y="360"/>
                  </a:lnTo>
                  <a:lnTo>
                    <a:pt x="595" y="358"/>
                  </a:lnTo>
                  <a:lnTo>
                    <a:pt x="612" y="354"/>
                  </a:lnTo>
                  <a:lnTo>
                    <a:pt x="628" y="348"/>
                  </a:lnTo>
                  <a:lnTo>
                    <a:pt x="643" y="341"/>
                  </a:lnTo>
                  <a:lnTo>
                    <a:pt x="656" y="331"/>
                  </a:lnTo>
                  <a:lnTo>
                    <a:pt x="668" y="321"/>
                  </a:lnTo>
                  <a:lnTo>
                    <a:pt x="679" y="308"/>
                  </a:lnTo>
                  <a:lnTo>
                    <a:pt x="690" y="314"/>
                  </a:lnTo>
                  <a:lnTo>
                    <a:pt x="701" y="319"/>
                  </a:lnTo>
                  <a:lnTo>
                    <a:pt x="712" y="323"/>
                  </a:lnTo>
                  <a:lnTo>
                    <a:pt x="723" y="326"/>
                  </a:lnTo>
                  <a:lnTo>
                    <a:pt x="735" y="328"/>
                  </a:lnTo>
                  <a:lnTo>
                    <a:pt x="746" y="330"/>
                  </a:lnTo>
                  <a:lnTo>
                    <a:pt x="756" y="331"/>
                  </a:lnTo>
                  <a:lnTo>
                    <a:pt x="767" y="331"/>
                  </a:lnTo>
                  <a:lnTo>
                    <a:pt x="775" y="331"/>
                  </a:lnTo>
                  <a:lnTo>
                    <a:pt x="782" y="330"/>
                  </a:lnTo>
                  <a:lnTo>
                    <a:pt x="782" y="752"/>
                  </a:lnTo>
                  <a:close/>
                  <a:moveTo>
                    <a:pt x="571" y="752"/>
                  </a:moveTo>
                  <a:lnTo>
                    <a:pt x="571" y="451"/>
                  </a:lnTo>
                  <a:lnTo>
                    <a:pt x="722" y="451"/>
                  </a:lnTo>
                  <a:lnTo>
                    <a:pt x="722" y="752"/>
                  </a:lnTo>
                  <a:lnTo>
                    <a:pt x="571" y="752"/>
                  </a:lnTo>
                  <a:close/>
                  <a:moveTo>
                    <a:pt x="30" y="196"/>
                  </a:moveTo>
                  <a:lnTo>
                    <a:pt x="30" y="181"/>
                  </a:lnTo>
                  <a:lnTo>
                    <a:pt x="211" y="181"/>
                  </a:lnTo>
                  <a:lnTo>
                    <a:pt x="211" y="279"/>
                  </a:lnTo>
                  <a:lnTo>
                    <a:pt x="202" y="284"/>
                  </a:lnTo>
                  <a:lnTo>
                    <a:pt x="193" y="289"/>
                  </a:lnTo>
                  <a:lnTo>
                    <a:pt x="182" y="292"/>
                  </a:lnTo>
                  <a:lnTo>
                    <a:pt x="170" y="295"/>
                  </a:lnTo>
                  <a:lnTo>
                    <a:pt x="157" y="298"/>
                  </a:lnTo>
                  <a:lnTo>
                    <a:pt x="145" y="300"/>
                  </a:lnTo>
                  <a:lnTo>
                    <a:pt x="132" y="301"/>
                  </a:lnTo>
                  <a:lnTo>
                    <a:pt x="120" y="301"/>
                  </a:lnTo>
                  <a:lnTo>
                    <a:pt x="110" y="300"/>
                  </a:lnTo>
                  <a:lnTo>
                    <a:pt x="101" y="299"/>
                  </a:lnTo>
                  <a:lnTo>
                    <a:pt x="91" y="296"/>
                  </a:lnTo>
                  <a:lnTo>
                    <a:pt x="82" y="292"/>
                  </a:lnTo>
                  <a:lnTo>
                    <a:pt x="74" y="287"/>
                  </a:lnTo>
                  <a:lnTo>
                    <a:pt x="67" y="282"/>
                  </a:lnTo>
                  <a:lnTo>
                    <a:pt x="60" y="276"/>
                  </a:lnTo>
                  <a:lnTo>
                    <a:pt x="54" y="268"/>
                  </a:lnTo>
                  <a:lnTo>
                    <a:pt x="48" y="261"/>
                  </a:lnTo>
                  <a:lnTo>
                    <a:pt x="44" y="252"/>
                  </a:lnTo>
                  <a:lnTo>
                    <a:pt x="40" y="244"/>
                  </a:lnTo>
                  <a:lnTo>
                    <a:pt x="36" y="235"/>
                  </a:lnTo>
                  <a:lnTo>
                    <a:pt x="33" y="225"/>
                  </a:lnTo>
                  <a:lnTo>
                    <a:pt x="32" y="216"/>
                  </a:lnTo>
                  <a:lnTo>
                    <a:pt x="31" y="206"/>
                  </a:lnTo>
                  <a:lnTo>
                    <a:pt x="30" y="196"/>
                  </a:lnTo>
                  <a:close/>
                  <a:moveTo>
                    <a:pt x="114" y="30"/>
                  </a:moveTo>
                  <a:lnTo>
                    <a:pt x="251" y="30"/>
                  </a:lnTo>
                  <a:lnTo>
                    <a:pt x="214" y="151"/>
                  </a:lnTo>
                  <a:lnTo>
                    <a:pt x="42" y="151"/>
                  </a:lnTo>
                  <a:lnTo>
                    <a:pt x="114" y="30"/>
                  </a:lnTo>
                  <a:close/>
                  <a:moveTo>
                    <a:pt x="620" y="30"/>
                  </a:moveTo>
                  <a:lnTo>
                    <a:pt x="657" y="151"/>
                  </a:lnTo>
                  <a:lnTo>
                    <a:pt x="451" y="151"/>
                  </a:lnTo>
                  <a:lnTo>
                    <a:pt x="451" y="30"/>
                  </a:lnTo>
                  <a:lnTo>
                    <a:pt x="620" y="30"/>
                  </a:lnTo>
                  <a:close/>
                  <a:moveTo>
                    <a:pt x="421" y="30"/>
                  </a:moveTo>
                  <a:lnTo>
                    <a:pt x="421" y="151"/>
                  </a:lnTo>
                  <a:lnTo>
                    <a:pt x="245" y="151"/>
                  </a:lnTo>
                  <a:lnTo>
                    <a:pt x="282" y="30"/>
                  </a:lnTo>
                  <a:lnTo>
                    <a:pt x="421" y="30"/>
                  </a:lnTo>
                  <a:close/>
                  <a:moveTo>
                    <a:pt x="241" y="181"/>
                  </a:moveTo>
                  <a:lnTo>
                    <a:pt x="421" y="181"/>
                  </a:lnTo>
                  <a:lnTo>
                    <a:pt x="421" y="295"/>
                  </a:lnTo>
                  <a:lnTo>
                    <a:pt x="412" y="305"/>
                  </a:lnTo>
                  <a:lnTo>
                    <a:pt x="403" y="312"/>
                  </a:lnTo>
                  <a:lnTo>
                    <a:pt x="392" y="317"/>
                  </a:lnTo>
                  <a:lnTo>
                    <a:pt x="381" y="323"/>
                  </a:lnTo>
                  <a:lnTo>
                    <a:pt x="371" y="327"/>
                  </a:lnTo>
                  <a:lnTo>
                    <a:pt x="358" y="329"/>
                  </a:lnTo>
                  <a:lnTo>
                    <a:pt x="345" y="331"/>
                  </a:lnTo>
                  <a:lnTo>
                    <a:pt x="331" y="331"/>
                  </a:lnTo>
                  <a:lnTo>
                    <a:pt x="315" y="331"/>
                  </a:lnTo>
                  <a:lnTo>
                    <a:pt x="301" y="329"/>
                  </a:lnTo>
                  <a:lnTo>
                    <a:pt x="289" y="326"/>
                  </a:lnTo>
                  <a:lnTo>
                    <a:pt x="279" y="321"/>
                  </a:lnTo>
                  <a:lnTo>
                    <a:pt x="268" y="314"/>
                  </a:lnTo>
                  <a:lnTo>
                    <a:pt x="259" y="306"/>
                  </a:lnTo>
                  <a:lnTo>
                    <a:pt x="250" y="295"/>
                  </a:lnTo>
                  <a:lnTo>
                    <a:pt x="241" y="282"/>
                  </a:lnTo>
                  <a:lnTo>
                    <a:pt x="241" y="181"/>
                  </a:lnTo>
                  <a:close/>
                  <a:moveTo>
                    <a:pt x="662" y="282"/>
                  </a:moveTo>
                  <a:lnTo>
                    <a:pt x="652" y="294"/>
                  </a:lnTo>
                  <a:lnTo>
                    <a:pt x="643" y="304"/>
                  </a:lnTo>
                  <a:lnTo>
                    <a:pt x="631" y="312"/>
                  </a:lnTo>
                  <a:lnTo>
                    <a:pt x="619" y="320"/>
                  </a:lnTo>
                  <a:lnTo>
                    <a:pt x="605" y="325"/>
                  </a:lnTo>
                  <a:lnTo>
                    <a:pt x="590" y="328"/>
                  </a:lnTo>
                  <a:lnTo>
                    <a:pt x="574" y="330"/>
                  </a:lnTo>
                  <a:lnTo>
                    <a:pt x="556" y="331"/>
                  </a:lnTo>
                  <a:lnTo>
                    <a:pt x="540" y="331"/>
                  </a:lnTo>
                  <a:lnTo>
                    <a:pt x="524" y="329"/>
                  </a:lnTo>
                  <a:lnTo>
                    <a:pt x="510" y="326"/>
                  </a:lnTo>
                  <a:lnTo>
                    <a:pt x="496" y="322"/>
                  </a:lnTo>
                  <a:lnTo>
                    <a:pt x="483" y="316"/>
                  </a:lnTo>
                  <a:lnTo>
                    <a:pt x="471" y="311"/>
                  </a:lnTo>
                  <a:lnTo>
                    <a:pt x="461" y="304"/>
                  </a:lnTo>
                  <a:lnTo>
                    <a:pt x="451" y="295"/>
                  </a:lnTo>
                  <a:lnTo>
                    <a:pt x="451" y="181"/>
                  </a:lnTo>
                  <a:lnTo>
                    <a:pt x="662" y="181"/>
                  </a:lnTo>
                  <a:lnTo>
                    <a:pt x="662" y="282"/>
                  </a:lnTo>
                  <a:close/>
                  <a:moveTo>
                    <a:pt x="860" y="151"/>
                  </a:moveTo>
                  <a:lnTo>
                    <a:pt x="688" y="151"/>
                  </a:lnTo>
                  <a:lnTo>
                    <a:pt x="651" y="30"/>
                  </a:lnTo>
                  <a:lnTo>
                    <a:pt x="788" y="30"/>
                  </a:lnTo>
                  <a:lnTo>
                    <a:pt x="860" y="151"/>
                  </a:lnTo>
                  <a:close/>
                  <a:moveTo>
                    <a:pt x="901" y="161"/>
                  </a:moveTo>
                  <a:lnTo>
                    <a:pt x="901" y="160"/>
                  </a:lnTo>
                  <a:lnTo>
                    <a:pt x="901" y="160"/>
                  </a:lnTo>
                  <a:lnTo>
                    <a:pt x="900" y="159"/>
                  </a:lnTo>
                  <a:lnTo>
                    <a:pt x="900" y="159"/>
                  </a:lnTo>
                  <a:lnTo>
                    <a:pt x="810" y="8"/>
                  </a:lnTo>
                  <a:lnTo>
                    <a:pt x="808" y="5"/>
                  </a:lnTo>
                  <a:lnTo>
                    <a:pt x="805" y="2"/>
                  </a:lnTo>
                  <a:lnTo>
                    <a:pt x="801" y="1"/>
                  </a:lnTo>
                  <a:lnTo>
                    <a:pt x="797" y="0"/>
                  </a:lnTo>
                  <a:lnTo>
                    <a:pt x="105" y="0"/>
                  </a:lnTo>
                  <a:lnTo>
                    <a:pt x="102" y="1"/>
                  </a:lnTo>
                  <a:lnTo>
                    <a:pt x="97" y="2"/>
                  </a:lnTo>
                  <a:lnTo>
                    <a:pt x="95" y="5"/>
                  </a:lnTo>
                  <a:lnTo>
                    <a:pt x="92" y="8"/>
                  </a:lnTo>
                  <a:lnTo>
                    <a:pt x="2" y="158"/>
                  </a:lnTo>
                  <a:lnTo>
                    <a:pt x="2" y="159"/>
                  </a:lnTo>
                  <a:lnTo>
                    <a:pt x="2" y="160"/>
                  </a:lnTo>
                  <a:lnTo>
                    <a:pt x="1" y="160"/>
                  </a:lnTo>
                  <a:lnTo>
                    <a:pt x="1" y="161"/>
                  </a:lnTo>
                  <a:lnTo>
                    <a:pt x="0" y="163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0" y="196"/>
                  </a:lnTo>
                  <a:lnTo>
                    <a:pt x="0" y="208"/>
                  </a:lnTo>
                  <a:lnTo>
                    <a:pt x="2" y="220"/>
                  </a:lnTo>
                  <a:lnTo>
                    <a:pt x="4" y="231"/>
                  </a:lnTo>
                  <a:lnTo>
                    <a:pt x="6" y="241"/>
                  </a:lnTo>
                  <a:lnTo>
                    <a:pt x="11" y="252"/>
                  </a:lnTo>
                  <a:lnTo>
                    <a:pt x="15" y="262"/>
                  </a:lnTo>
                  <a:lnTo>
                    <a:pt x="19" y="271"/>
                  </a:lnTo>
                  <a:lnTo>
                    <a:pt x="26" y="280"/>
                  </a:lnTo>
                  <a:lnTo>
                    <a:pt x="32" y="289"/>
                  </a:lnTo>
                  <a:lnTo>
                    <a:pt x="39" y="296"/>
                  </a:lnTo>
                  <a:lnTo>
                    <a:pt x="46" y="304"/>
                  </a:lnTo>
                  <a:lnTo>
                    <a:pt x="54" y="310"/>
                  </a:lnTo>
                  <a:lnTo>
                    <a:pt x="62" y="315"/>
                  </a:lnTo>
                  <a:lnTo>
                    <a:pt x="72" y="320"/>
                  </a:lnTo>
                  <a:lnTo>
                    <a:pt x="80" y="324"/>
                  </a:lnTo>
                  <a:lnTo>
                    <a:pt x="90" y="327"/>
                  </a:lnTo>
                  <a:lnTo>
                    <a:pt x="90" y="767"/>
                  </a:lnTo>
                  <a:lnTo>
                    <a:pt x="91" y="771"/>
                  </a:lnTo>
                  <a:lnTo>
                    <a:pt x="91" y="774"/>
                  </a:lnTo>
                  <a:lnTo>
                    <a:pt x="93" y="776"/>
                  </a:lnTo>
                  <a:lnTo>
                    <a:pt x="94" y="778"/>
                  </a:lnTo>
                  <a:lnTo>
                    <a:pt x="96" y="780"/>
                  </a:lnTo>
                  <a:lnTo>
                    <a:pt x="100" y="781"/>
                  </a:lnTo>
                  <a:lnTo>
                    <a:pt x="102" y="782"/>
                  </a:lnTo>
                  <a:lnTo>
                    <a:pt x="105" y="782"/>
                  </a:lnTo>
                  <a:lnTo>
                    <a:pt x="556" y="782"/>
                  </a:lnTo>
                  <a:lnTo>
                    <a:pt x="737" y="782"/>
                  </a:lnTo>
                  <a:lnTo>
                    <a:pt x="797" y="782"/>
                  </a:lnTo>
                  <a:lnTo>
                    <a:pt x="800" y="782"/>
                  </a:lnTo>
                  <a:lnTo>
                    <a:pt x="802" y="781"/>
                  </a:lnTo>
                  <a:lnTo>
                    <a:pt x="806" y="780"/>
                  </a:lnTo>
                  <a:lnTo>
                    <a:pt x="808" y="778"/>
                  </a:lnTo>
                  <a:lnTo>
                    <a:pt x="810" y="776"/>
                  </a:lnTo>
                  <a:lnTo>
                    <a:pt x="811" y="774"/>
                  </a:lnTo>
                  <a:lnTo>
                    <a:pt x="812" y="771"/>
                  </a:lnTo>
                  <a:lnTo>
                    <a:pt x="812" y="767"/>
                  </a:lnTo>
                  <a:lnTo>
                    <a:pt x="812" y="323"/>
                  </a:lnTo>
                  <a:lnTo>
                    <a:pt x="822" y="319"/>
                  </a:lnTo>
                  <a:lnTo>
                    <a:pt x="830" y="313"/>
                  </a:lnTo>
                  <a:lnTo>
                    <a:pt x="839" y="308"/>
                  </a:lnTo>
                  <a:lnTo>
                    <a:pt x="847" y="302"/>
                  </a:lnTo>
                  <a:lnTo>
                    <a:pt x="856" y="296"/>
                  </a:lnTo>
                  <a:lnTo>
                    <a:pt x="862" y="289"/>
                  </a:lnTo>
                  <a:lnTo>
                    <a:pt x="870" y="281"/>
                  </a:lnTo>
                  <a:lnTo>
                    <a:pt x="876" y="272"/>
                  </a:lnTo>
                  <a:lnTo>
                    <a:pt x="882" y="264"/>
                  </a:lnTo>
                  <a:lnTo>
                    <a:pt x="887" y="255"/>
                  </a:lnTo>
                  <a:lnTo>
                    <a:pt x="891" y="246"/>
                  </a:lnTo>
                  <a:lnTo>
                    <a:pt x="896" y="236"/>
                  </a:lnTo>
                  <a:lnTo>
                    <a:pt x="898" y="226"/>
                  </a:lnTo>
                  <a:lnTo>
                    <a:pt x="900" y="217"/>
                  </a:lnTo>
                  <a:lnTo>
                    <a:pt x="902" y="206"/>
                  </a:lnTo>
                  <a:lnTo>
                    <a:pt x="902" y="196"/>
                  </a:lnTo>
                  <a:lnTo>
                    <a:pt x="902" y="166"/>
                  </a:lnTo>
                  <a:lnTo>
                    <a:pt x="902" y="166"/>
                  </a:lnTo>
                  <a:lnTo>
                    <a:pt x="902" y="166"/>
                  </a:lnTo>
                  <a:lnTo>
                    <a:pt x="902" y="163"/>
                  </a:lnTo>
                  <a:lnTo>
                    <a:pt x="901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6" name="Freeform 218">
              <a:extLst>
                <a:ext uri="{FF2B5EF4-FFF2-40B4-BE49-F238E27FC236}">
                  <a16:creationId xmlns:a16="http://schemas.microsoft.com/office/drawing/2014/main" id="{368A1A5C-837A-49CC-AE8C-1B1CF64E053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0238" y="2728913"/>
              <a:ext cx="9525" cy="9525"/>
            </a:xfrm>
            <a:custGeom>
              <a:avLst/>
              <a:gdLst>
                <a:gd name="T0" fmla="*/ 15 w 30"/>
                <a:gd name="T1" fmla="*/ 0 h 30"/>
                <a:gd name="T2" fmla="*/ 12 w 30"/>
                <a:gd name="T3" fmla="*/ 0 h 30"/>
                <a:gd name="T4" fmla="*/ 9 w 30"/>
                <a:gd name="T5" fmla="*/ 1 h 30"/>
                <a:gd name="T6" fmla="*/ 6 w 30"/>
                <a:gd name="T7" fmla="*/ 3 h 30"/>
                <a:gd name="T8" fmla="*/ 4 w 30"/>
                <a:gd name="T9" fmla="*/ 5 h 30"/>
                <a:gd name="T10" fmla="*/ 2 w 30"/>
                <a:gd name="T11" fmla="*/ 7 h 30"/>
                <a:gd name="T12" fmla="*/ 1 w 30"/>
                <a:gd name="T13" fmla="*/ 9 h 30"/>
                <a:gd name="T14" fmla="*/ 0 w 30"/>
                <a:gd name="T15" fmla="*/ 12 h 30"/>
                <a:gd name="T16" fmla="*/ 0 w 30"/>
                <a:gd name="T17" fmla="*/ 15 h 30"/>
                <a:gd name="T18" fmla="*/ 0 w 30"/>
                <a:gd name="T19" fmla="*/ 19 h 30"/>
                <a:gd name="T20" fmla="*/ 1 w 30"/>
                <a:gd name="T21" fmla="*/ 21 h 30"/>
                <a:gd name="T22" fmla="*/ 2 w 30"/>
                <a:gd name="T23" fmla="*/ 24 h 30"/>
                <a:gd name="T24" fmla="*/ 4 w 30"/>
                <a:gd name="T25" fmla="*/ 26 h 30"/>
                <a:gd name="T26" fmla="*/ 6 w 30"/>
                <a:gd name="T27" fmla="*/ 27 h 30"/>
                <a:gd name="T28" fmla="*/ 9 w 30"/>
                <a:gd name="T29" fmla="*/ 29 h 30"/>
                <a:gd name="T30" fmla="*/ 12 w 30"/>
                <a:gd name="T31" fmla="*/ 30 h 30"/>
                <a:gd name="T32" fmla="*/ 15 w 30"/>
                <a:gd name="T33" fmla="*/ 30 h 30"/>
                <a:gd name="T34" fmla="*/ 17 w 30"/>
                <a:gd name="T35" fmla="*/ 30 h 30"/>
                <a:gd name="T36" fmla="*/ 20 w 30"/>
                <a:gd name="T37" fmla="*/ 29 h 30"/>
                <a:gd name="T38" fmla="*/ 23 w 30"/>
                <a:gd name="T39" fmla="*/ 27 h 30"/>
                <a:gd name="T40" fmla="*/ 26 w 30"/>
                <a:gd name="T41" fmla="*/ 26 h 30"/>
                <a:gd name="T42" fmla="*/ 27 w 30"/>
                <a:gd name="T43" fmla="*/ 24 h 30"/>
                <a:gd name="T44" fmla="*/ 29 w 30"/>
                <a:gd name="T45" fmla="*/ 21 h 30"/>
                <a:gd name="T46" fmla="*/ 29 w 30"/>
                <a:gd name="T47" fmla="*/ 19 h 30"/>
                <a:gd name="T48" fmla="*/ 30 w 30"/>
                <a:gd name="T49" fmla="*/ 15 h 30"/>
                <a:gd name="T50" fmla="*/ 29 w 30"/>
                <a:gd name="T51" fmla="*/ 12 h 30"/>
                <a:gd name="T52" fmla="*/ 29 w 30"/>
                <a:gd name="T53" fmla="*/ 9 h 30"/>
                <a:gd name="T54" fmla="*/ 27 w 30"/>
                <a:gd name="T55" fmla="*/ 7 h 30"/>
                <a:gd name="T56" fmla="*/ 26 w 30"/>
                <a:gd name="T57" fmla="*/ 5 h 30"/>
                <a:gd name="T58" fmla="*/ 23 w 30"/>
                <a:gd name="T59" fmla="*/ 3 h 30"/>
                <a:gd name="T60" fmla="*/ 20 w 30"/>
                <a:gd name="T61" fmla="*/ 1 h 30"/>
                <a:gd name="T62" fmla="*/ 17 w 30"/>
                <a:gd name="T63" fmla="*/ 0 h 30"/>
                <a:gd name="T64" fmla="*/ 15 w 30"/>
                <a:gd name="T6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30">
                  <a:moveTo>
                    <a:pt x="15" y="0"/>
                  </a:moveTo>
                  <a:lnTo>
                    <a:pt x="12" y="0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7" y="30"/>
                  </a:lnTo>
                  <a:lnTo>
                    <a:pt x="20" y="29"/>
                  </a:lnTo>
                  <a:lnTo>
                    <a:pt x="23" y="27"/>
                  </a:lnTo>
                  <a:lnTo>
                    <a:pt x="26" y="26"/>
                  </a:lnTo>
                  <a:lnTo>
                    <a:pt x="27" y="24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30" y="15"/>
                  </a:lnTo>
                  <a:lnTo>
                    <a:pt x="29" y="12"/>
                  </a:lnTo>
                  <a:lnTo>
                    <a:pt x="29" y="9"/>
                  </a:lnTo>
                  <a:lnTo>
                    <a:pt x="27" y="7"/>
                  </a:lnTo>
                  <a:lnTo>
                    <a:pt x="26" y="5"/>
                  </a:lnTo>
                  <a:lnTo>
                    <a:pt x="23" y="3"/>
                  </a:lnTo>
                  <a:lnTo>
                    <a:pt x="20" y="1"/>
                  </a:lnTo>
                  <a:lnTo>
                    <a:pt x="17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191998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BD3BB9-7494-4054-ABD5-BF4DEDF50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7AEFA-B56B-463F-809E-4A0CAC2C214B}" type="datetime1">
              <a:rPr lang="en-US" sz="1000" smtClean="0">
                <a:solidFill>
                  <a:schemeClr val="tx1"/>
                </a:solidFill>
              </a:rPr>
              <a:t>8/17/2020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4D9497-D6ED-4F5D-9AF8-723FC8208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z="1000" smtClean="0">
                <a:solidFill>
                  <a:schemeClr val="tx1"/>
                </a:solidFill>
              </a:rPr>
              <a:t>6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4" name="Rectangle 70">
            <a:extLst>
              <a:ext uri="{FF2B5EF4-FFF2-40B4-BE49-F238E27FC236}">
                <a16:creationId xmlns:a16="http://schemas.microsoft.com/office/drawing/2014/main" id="{2C7F6899-AA89-4ACF-BBC6-9182A564A0B3}"/>
              </a:ext>
            </a:extLst>
          </p:cNvPr>
          <p:cNvSpPr/>
          <p:nvPr/>
        </p:nvSpPr>
        <p:spPr>
          <a:xfrm>
            <a:off x="2054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70">
            <a:extLst>
              <a:ext uri="{FF2B5EF4-FFF2-40B4-BE49-F238E27FC236}">
                <a16:creationId xmlns:a16="http://schemas.microsoft.com/office/drawing/2014/main" id="{46EBEB8D-01EC-4B1A-B44A-BDF60EEB1BDB}"/>
              </a:ext>
            </a:extLst>
          </p:cNvPr>
          <p:cNvSpPr/>
          <p:nvPr/>
        </p:nvSpPr>
        <p:spPr>
          <a:xfrm rot="10800000">
            <a:off x="114830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70">
            <a:extLst>
              <a:ext uri="{FF2B5EF4-FFF2-40B4-BE49-F238E27FC236}">
                <a16:creationId xmlns:a16="http://schemas.microsoft.com/office/drawing/2014/main" id="{0EFEE770-1BB8-4BC8-92D5-8B8941EDBE25}"/>
              </a:ext>
            </a:extLst>
          </p:cNvPr>
          <p:cNvSpPr/>
          <p:nvPr/>
        </p:nvSpPr>
        <p:spPr>
          <a:xfrm flipV="1">
            <a:off x="2054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70">
            <a:extLst>
              <a:ext uri="{FF2B5EF4-FFF2-40B4-BE49-F238E27FC236}">
                <a16:creationId xmlns:a16="http://schemas.microsoft.com/office/drawing/2014/main" id="{68FA4209-A2EF-480B-BBDC-DE5322790CE7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FE3DD1-8761-4FA2-A00F-4C407ED92CBC}"/>
              </a:ext>
            </a:extLst>
          </p:cNvPr>
          <p:cNvSpPr txBox="1"/>
          <p:nvPr/>
        </p:nvSpPr>
        <p:spPr>
          <a:xfrm>
            <a:off x="708963" y="250833"/>
            <a:ext cx="10774074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/>
              <a:t>EUROPE MAP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EAF1C9A-77E7-4AEC-ABA9-00E05A048D5F}"/>
              </a:ext>
            </a:extLst>
          </p:cNvPr>
          <p:cNvGrpSpPr/>
          <p:nvPr/>
        </p:nvGrpSpPr>
        <p:grpSpPr>
          <a:xfrm>
            <a:off x="793154" y="1443959"/>
            <a:ext cx="3382861" cy="4419469"/>
            <a:chOff x="1148524" y="1365228"/>
            <a:chExt cx="3382861" cy="4419469"/>
          </a:xfrm>
        </p:grpSpPr>
        <p:cxnSp>
          <p:nvCxnSpPr>
            <p:cNvPr id="1709" name="Straight Connector 1708">
              <a:extLst>
                <a:ext uri="{FF2B5EF4-FFF2-40B4-BE49-F238E27FC236}">
                  <a16:creationId xmlns:a16="http://schemas.microsoft.com/office/drawing/2014/main" id="{80B4AA8E-2D06-4569-B0EA-B490D94139D6}"/>
                </a:ext>
              </a:extLst>
            </p:cNvPr>
            <p:cNvCxnSpPr>
              <a:stCxn id="1765" idx="0"/>
            </p:cNvCxnSpPr>
            <p:nvPr/>
          </p:nvCxnSpPr>
          <p:spPr>
            <a:xfrm>
              <a:off x="1449175" y="1365228"/>
              <a:ext cx="0" cy="4011838"/>
            </a:xfrm>
            <a:prstGeom prst="line">
              <a:avLst/>
            </a:prstGeom>
            <a:ln w="66675">
              <a:solidFill>
                <a:schemeClr val="accent2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65" name="Oval 1764">
              <a:extLst>
                <a:ext uri="{FF2B5EF4-FFF2-40B4-BE49-F238E27FC236}">
                  <a16:creationId xmlns:a16="http://schemas.microsoft.com/office/drawing/2014/main" id="{08239138-4926-4E0C-B2B5-8B41F4012BC2}"/>
                </a:ext>
              </a:extLst>
            </p:cNvPr>
            <p:cNvSpPr/>
            <p:nvPr/>
          </p:nvSpPr>
          <p:spPr>
            <a:xfrm>
              <a:off x="1148524" y="1365228"/>
              <a:ext cx="601302" cy="60130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66" name="Oval 1765">
              <a:extLst>
                <a:ext uri="{FF2B5EF4-FFF2-40B4-BE49-F238E27FC236}">
                  <a16:creationId xmlns:a16="http://schemas.microsoft.com/office/drawing/2014/main" id="{AAAEF477-9DAF-4CD4-96C9-553F094C843D}"/>
                </a:ext>
              </a:extLst>
            </p:cNvPr>
            <p:cNvSpPr/>
            <p:nvPr/>
          </p:nvSpPr>
          <p:spPr>
            <a:xfrm>
              <a:off x="1223291" y="1439995"/>
              <a:ext cx="451766" cy="45176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63" name="TextBox 1762">
              <a:extLst>
                <a:ext uri="{FF2B5EF4-FFF2-40B4-BE49-F238E27FC236}">
                  <a16:creationId xmlns:a16="http://schemas.microsoft.com/office/drawing/2014/main" id="{50647587-5EE5-481F-9AC6-C791C52AA647}"/>
                </a:ext>
              </a:extLst>
            </p:cNvPr>
            <p:cNvSpPr txBox="1"/>
            <p:nvPr/>
          </p:nvSpPr>
          <p:spPr>
            <a:xfrm>
              <a:off x="1868522" y="1667061"/>
              <a:ext cx="2662863" cy="64633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, sed do </a:t>
              </a:r>
              <a:r>
                <a:rPr lang="en-US" sz="1400" dirty="0" err="1"/>
                <a:t>eiusmod</a:t>
              </a:r>
              <a:r>
                <a:rPr lang="en-US" sz="1400" dirty="0"/>
                <a:t> </a:t>
              </a:r>
              <a:r>
                <a:rPr lang="en-US" sz="1400" dirty="0" err="1"/>
                <a:t>tempor</a:t>
              </a:r>
              <a:r>
                <a:rPr lang="en-US" sz="1400" dirty="0"/>
                <a:t> </a:t>
              </a:r>
              <a:r>
                <a:rPr lang="en-US" sz="1400" dirty="0" err="1"/>
                <a:t>incididunt</a:t>
              </a:r>
              <a:r>
                <a:rPr lang="en-US" sz="1400" dirty="0"/>
                <a:t>.</a:t>
              </a:r>
            </a:p>
          </p:txBody>
        </p:sp>
        <p:sp>
          <p:nvSpPr>
            <p:cNvPr id="1764" name="TextBox 1763">
              <a:extLst>
                <a:ext uri="{FF2B5EF4-FFF2-40B4-BE49-F238E27FC236}">
                  <a16:creationId xmlns:a16="http://schemas.microsoft.com/office/drawing/2014/main" id="{B6A420BD-EDE1-4F55-9896-4330600EF15C}"/>
                </a:ext>
              </a:extLst>
            </p:cNvPr>
            <p:cNvSpPr txBox="1"/>
            <p:nvPr/>
          </p:nvSpPr>
          <p:spPr>
            <a:xfrm>
              <a:off x="1868522" y="1365228"/>
              <a:ext cx="1524633" cy="307777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/>
                <a:t>STEP 1</a:t>
              </a:r>
            </a:p>
          </p:txBody>
        </p:sp>
        <p:grpSp>
          <p:nvGrpSpPr>
            <p:cNvPr id="1757" name="Group 1756">
              <a:extLst>
                <a:ext uri="{FF2B5EF4-FFF2-40B4-BE49-F238E27FC236}">
                  <a16:creationId xmlns:a16="http://schemas.microsoft.com/office/drawing/2014/main" id="{9952C3A6-8076-4C39-98D0-70AE3364E30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318267" y="1534970"/>
              <a:ext cx="261817" cy="261818"/>
              <a:chOff x="5881688" y="1624013"/>
              <a:chExt cx="371475" cy="371476"/>
            </a:xfrm>
            <a:solidFill>
              <a:schemeClr val="tx2"/>
            </a:solidFill>
          </p:grpSpPr>
          <p:sp>
            <p:nvSpPr>
              <p:cNvPr id="1758" name="Freeform 19">
                <a:extLst>
                  <a:ext uri="{FF2B5EF4-FFF2-40B4-BE49-F238E27FC236}">
                    <a16:creationId xmlns:a16="http://schemas.microsoft.com/office/drawing/2014/main" id="{C5B3B847-95F1-4E53-BB93-FFC736B5C1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9638" y="1701801"/>
                <a:ext cx="15875" cy="263525"/>
              </a:xfrm>
              <a:custGeom>
                <a:avLst/>
                <a:gdLst>
                  <a:gd name="T0" fmla="*/ 2 w 4"/>
                  <a:gd name="T1" fmla="*/ 68 h 68"/>
                  <a:gd name="T2" fmla="*/ 0 w 4"/>
                  <a:gd name="T3" fmla="*/ 66 h 68"/>
                  <a:gd name="T4" fmla="*/ 0 w 4"/>
                  <a:gd name="T5" fmla="*/ 2 h 68"/>
                  <a:gd name="T6" fmla="*/ 2 w 4"/>
                  <a:gd name="T7" fmla="*/ 0 h 68"/>
                  <a:gd name="T8" fmla="*/ 4 w 4"/>
                  <a:gd name="T9" fmla="*/ 2 h 68"/>
                  <a:gd name="T10" fmla="*/ 4 w 4"/>
                  <a:gd name="T11" fmla="*/ 66 h 68"/>
                  <a:gd name="T12" fmla="*/ 2 w 4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68">
                    <a:moveTo>
                      <a:pt x="2" y="68"/>
                    </a:moveTo>
                    <a:cubicBezTo>
                      <a:pt x="1" y="68"/>
                      <a:pt x="0" y="67"/>
                      <a:pt x="0" y="6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4" y="1"/>
                      <a:pt x="4" y="2"/>
                    </a:cubicBezTo>
                    <a:cubicBezTo>
                      <a:pt x="4" y="66"/>
                      <a:pt x="4" y="66"/>
                      <a:pt x="4" y="66"/>
                    </a:cubicBezTo>
                    <a:cubicBezTo>
                      <a:pt x="4" y="67"/>
                      <a:pt x="3" y="68"/>
                      <a:pt x="2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9" name="Freeform 20">
                <a:extLst>
                  <a:ext uri="{FF2B5EF4-FFF2-40B4-BE49-F238E27FC236}">
                    <a16:creationId xmlns:a16="http://schemas.microsoft.com/office/drawing/2014/main" id="{17BF228B-167C-4D0F-8D25-56B0941B5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9176" y="1624013"/>
                <a:ext cx="14288" cy="169863"/>
              </a:xfrm>
              <a:custGeom>
                <a:avLst/>
                <a:gdLst>
                  <a:gd name="T0" fmla="*/ 2 w 4"/>
                  <a:gd name="T1" fmla="*/ 44 h 44"/>
                  <a:gd name="T2" fmla="*/ 0 w 4"/>
                  <a:gd name="T3" fmla="*/ 42 h 44"/>
                  <a:gd name="T4" fmla="*/ 0 w 4"/>
                  <a:gd name="T5" fmla="*/ 2 h 44"/>
                  <a:gd name="T6" fmla="*/ 2 w 4"/>
                  <a:gd name="T7" fmla="*/ 0 h 44"/>
                  <a:gd name="T8" fmla="*/ 4 w 4"/>
                  <a:gd name="T9" fmla="*/ 2 h 44"/>
                  <a:gd name="T10" fmla="*/ 4 w 4"/>
                  <a:gd name="T11" fmla="*/ 42 h 44"/>
                  <a:gd name="T12" fmla="*/ 2 w 4"/>
                  <a:gd name="T13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44">
                    <a:moveTo>
                      <a:pt x="2" y="44"/>
                    </a:moveTo>
                    <a:cubicBezTo>
                      <a:pt x="1" y="44"/>
                      <a:pt x="0" y="43"/>
                      <a:pt x="0" y="4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4" y="1"/>
                      <a:pt x="4" y="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3"/>
                      <a:pt x="3" y="44"/>
                      <a:pt x="2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0" name="Freeform 21">
                <a:extLst>
                  <a:ext uri="{FF2B5EF4-FFF2-40B4-BE49-F238E27FC236}">
                    <a16:creationId xmlns:a16="http://schemas.microsoft.com/office/drawing/2014/main" id="{832F666D-8A1A-43DE-A823-BEA9A4BCC3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1688" y="1624013"/>
                <a:ext cx="341313" cy="341313"/>
              </a:xfrm>
              <a:custGeom>
                <a:avLst/>
                <a:gdLst>
                  <a:gd name="T0" fmla="*/ 30 w 88"/>
                  <a:gd name="T1" fmla="*/ 88 h 88"/>
                  <a:gd name="T2" fmla="*/ 29 w 88"/>
                  <a:gd name="T3" fmla="*/ 88 h 88"/>
                  <a:gd name="T4" fmla="*/ 1 w 88"/>
                  <a:gd name="T5" fmla="*/ 68 h 88"/>
                  <a:gd name="T6" fmla="*/ 0 w 88"/>
                  <a:gd name="T7" fmla="*/ 66 h 88"/>
                  <a:gd name="T8" fmla="*/ 0 w 88"/>
                  <a:gd name="T9" fmla="*/ 2 h 88"/>
                  <a:gd name="T10" fmla="*/ 1 w 88"/>
                  <a:gd name="T11" fmla="*/ 0 h 88"/>
                  <a:gd name="T12" fmla="*/ 3 w 88"/>
                  <a:gd name="T13" fmla="*/ 0 h 88"/>
                  <a:gd name="T14" fmla="*/ 30 w 88"/>
                  <a:gd name="T15" fmla="*/ 20 h 88"/>
                  <a:gd name="T16" fmla="*/ 57 w 88"/>
                  <a:gd name="T17" fmla="*/ 0 h 88"/>
                  <a:gd name="T18" fmla="*/ 59 w 88"/>
                  <a:gd name="T19" fmla="*/ 0 h 88"/>
                  <a:gd name="T20" fmla="*/ 87 w 88"/>
                  <a:gd name="T21" fmla="*/ 20 h 88"/>
                  <a:gd name="T22" fmla="*/ 88 w 88"/>
                  <a:gd name="T23" fmla="*/ 22 h 88"/>
                  <a:gd name="T24" fmla="*/ 88 w 88"/>
                  <a:gd name="T25" fmla="*/ 42 h 88"/>
                  <a:gd name="T26" fmla="*/ 86 w 88"/>
                  <a:gd name="T27" fmla="*/ 44 h 88"/>
                  <a:gd name="T28" fmla="*/ 84 w 88"/>
                  <a:gd name="T29" fmla="*/ 42 h 88"/>
                  <a:gd name="T30" fmla="*/ 84 w 88"/>
                  <a:gd name="T31" fmla="*/ 23 h 88"/>
                  <a:gd name="T32" fmla="*/ 58 w 88"/>
                  <a:gd name="T33" fmla="*/ 4 h 88"/>
                  <a:gd name="T34" fmla="*/ 31 w 88"/>
                  <a:gd name="T35" fmla="*/ 24 h 88"/>
                  <a:gd name="T36" fmla="*/ 29 w 88"/>
                  <a:gd name="T37" fmla="*/ 24 h 88"/>
                  <a:gd name="T38" fmla="*/ 4 w 88"/>
                  <a:gd name="T39" fmla="*/ 6 h 88"/>
                  <a:gd name="T40" fmla="*/ 4 w 88"/>
                  <a:gd name="T41" fmla="*/ 65 h 88"/>
                  <a:gd name="T42" fmla="*/ 30 w 88"/>
                  <a:gd name="T43" fmla="*/ 84 h 88"/>
                  <a:gd name="T44" fmla="*/ 53 w 88"/>
                  <a:gd name="T45" fmla="*/ 67 h 88"/>
                  <a:gd name="T46" fmla="*/ 56 w 88"/>
                  <a:gd name="T47" fmla="*/ 68 h 88"/>
                  <a:gd name="T48" fmla="*/ 55 w 88"/>
                  <a:gd name="T49" fmla="*/ 70 h 88"/>
                  <a:gd name="T50" fmla="*/ 31 w 88"/>
                  <a:gd name="T51" fmla="*/ 88 h 88"/>
                  <a:gd name="T52" fmla="*/ 30 w 88"/>
                  <a:gd name="T53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8" h="88">
                    <a:moveTo>
                      <a:pt x="30" y="88"/>
                    </a:moveTo>
                    <a:cubicBezTo>
                      <a:pt x="30" y="88"/>
                      <a:pt x="29" y="88"/>
                      <a:pt x="29" y="88"/>
                    </a:cubicBezTo>
                    <a:cubicBezTo>
                      <a:pt x="1" y="68"/>
                      <a:pt x="1" y="68"/>
                      <a:pt x="1" y="68"/>
                    </a:cubicBezTo>
                    <a:cubicBezTo>
                      <a:pt x="0" y="67"/>
                      <a:pt x="0" y="67"/>
                      <a:pt x="0" y="6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8" y="0"/>
                      <a:pt x="58" y="0"/>
                      <a:pt x="59" y="0"/>
                    </a:cubicBezTo>
                    <a:cubicBezTo>
                      <a:pt x="87" y="20"/>
                      <a:pt x="87" y="20"/>
                      <a:pt x="87" y="20"/>
                    </a:cubicBezTo>
                    <a:cubicBezTo>
                      <a:pt x="88" y="21"/>
                      <a:pt x="88" y="21"/>
                      <a:pt x="88" y="22"/>
                    </a:cubicBezTo>
                    <a:cubicBezTo>
                      <a:pt x="88" y="42"/>
                      <a:pt x="88" y="42"/>
                      <a:pt x="88" y="42"/>
                    </a:cubicBezTo>
                    <a:cubicBezTo>
                      <a:pt x="88" y="43"/>
                      <a:pt x="87" y="44"/>
                      <a:pt x="86" y="44"/>
                    </a:cubicBezTo>
                    <a:cubicBezTo>
                      <a:pt x="85" y="44"/>
                      <a:pt x="84" y="43"/>
                      <a:pt x="84" y="42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58" y="4"/>
                      <a:pt x="58" y="4"/>
                      <a:pt x="58" y="4"/>
                    </a:cubicBezTo>
                    <a:cubicBezTo>
                      <a:pt x="31" y="24"/>
                      <a:pt x="31" y="24"/>
                      <a:pt x="31" y="24"/>
                    </a:cubicBezTo>
                    <a:cubicBezTo>
                      <a:pt x="30" y="24"/>
                      <a:pt x="30" y="24"/>
                      <a:pt x="29" y="2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30" y="84"/>
                      <a:pt x="30" y="84"/>
                      <a:pt x="30" y="84"/>
                    </a:cubicBezTo>
                    <a:cubicBezTo>
                      <a:pt x="53" y="67"/>
                      <a:pt x="53" y="67"/>
                      <a:pt x="53" y="67"/>
                    </a:cubicBezTo>
                    <a:cubicBezTo>
                      <a:pt x="54" y="67"/>
                      <a:pt x="55" y="67"/>
                      <a:pt x="56" y="68"/>
                    </a:cubicBezTo>
                    <a:cubicBezTo>
                      <a:pt x="56" y="69"/>
                      <a:pt x="56" y="70"/>
                      <a:pt x="55" y="70"/>
                    </a:cubicBezTo>
                    <a:cubicBezTo>
                      <a:pt x="31" y="88"/>
                      <a:pt x="31" y="88"/>
                      <a:pt x="31" y="88"/>
                    </a:cubicBezTo>
                    <a:cubicBezTo>
                      <a:pt x="31" y="88"/>
                      <a:pt x="30" y="88"/>
                      <a:pt x="30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1" name="Freeform 22">
                <a:extLst>
                  <a:ext uri="{FF2B5EF4-FFF2-40B4-BE49-F238E27FC236}">
                    <a16:creationId xmlns:a16="http://schemas.microsoft.com/office/drawing/2014/main" id="{C63837D9-D8DA-4C09-862C-846B2071E7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13463" y="1809751"/>
                <a:ext cx="139700" cy="185738"/>
              </a:xfrm>
              <a:custGeom>
                <a:avLst/>
                <a:gdLst>
                  <a:gd name="T0" fmla="*/ 18 w 36"/>
                  <a:gd name="T1" fmla="*/ 48 h 48"/>
                  <a:gd name="T2" fmla="*/ 16 w 36"/>
                  <a:gd name="T3" fmla="*/ 47 h 48"/>
                  <a:gd name="T4" fmla="*/ 0 w 36"/>
                  <a:gd name="T5" fmla="*/ 18 h 48"/>
                  <a:gd name="T6" fmla="*/ 18 w 36"/>
                  <a:gd name="T7" fmla="*/ 0 h 48"/>
                  <a:gd name="T8" fmla="*/ 36 w 36"/>
                  <a:gd name="T9" fmla="*/ 18 h 48"/>
                  <a:gd name="T10" fmla="*/ 20 w 36"/>
                  <a:gd name="T11" fmla="*/ 47 h 48"/>
                  <a:gd name="T12" fmla="*/ 18 w 36"/>
                  <a:gd name="T13" fmla="*/ 48 h 48"/>
                  <a:gd name="T14" fmla="*/ 18 w 36"/>
                  <a:gd name="T15" fmla="*/ 4 h 48"/>
                  <a:gd name="T16" fmla="*/ 4 w 36"/>
                  <a:gd name="T17" fmla="*/ 18 h 48"/>
                  <a:gd name="T18" fmla="*/ 18 w 36"/>
                  <a:gd name="T19" fmla="*/ 43 h 48"/>
                  <a:gd name="T20" fmla="*/ 32 w 36"/>
                  <a:gd name="T21" fmla="*/ 18 h 48"/>
                  <a:gd name="T22" fmla="*/ 18 w 36"/>
                  <a:gd name="T23" fmla="*/ 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48">
                    <a:moveTo>
                      <a:pt x="18" y="48"/>
                    </a:moveTo>
                    <a:cubicBezTo>
                      <a:pt x="17" y="48"/>
                      <a:pt x="17" y="48"/>
                      <a:pt x="16" y="47"/>
                    </a:cubicBezTo>
                    <a:cubicBezTo>
                      <a:pt x="15" y="45"/>
                      <a:pt x="0" y="27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28" y="0"/>
                      <a:pt x="36" y="8"/>
                      <a:pt x="36" y="18"/>
                    </a:cubicBezTo>
                    <a:cubicBezTo>
                      <a:pt x="36" y="27"/>
                      <a:pt x="21" y="45"/>
                      <a:pt x="20" y="47"/>
                    </a:cubicBezTo>
                    <a:cubicBezTo>
                      <a:pt x="19" y="48"/>
                      <a:pt x="19" y="48"/>
                      <a:pt x="18" y="48"/>
                    </a:cubicBezTo>
                    <a:close/>
                    <a:moveTo>
                      <a:pt x="18" y="4"/>
                    </a:moveTo>
                    <a:cubicBezTo>
                      <a:pt x="10" y="4"/>
                      <a:pt x="4" y="10"/>
                      <a:pt x="4" y="18"/>
                    </a:cubicBezTo>
                    <a:cubicBezTo>
                      <a:pt x="4" y="24"/>
                      <a:pt x="13" y="37"/>
                      <a:pt x="18" y="43"/>
                    </a:cubicBezTo>
                    <a:cubicBezTo>
                      <a:pt x="23" y="37"/>
                      <a:pt x="32" y="24"/>
                      <a:pt x="32" y="18"/>
                    </a:cubicBezTo>
                    <a:cubicBezTo>
                      <a:pt x="32" y="10"/>
                      <a:pt x="26" y="4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2" name="Freeform 23">
                <a:extLst>
                  <a:ext uri="{FF2B5EF4-FFF2-40B4-BE49-F238E27FC236}">
                    <a16:creationId xmlns:a16="http://schemas.microsoft.com/office/drawing/2014/main" id="{504E6C59-06E6-4D68-ABBE-BC03B227AF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53151" y="1847851"/>
                <a:ext cx="61913" cy="61913"/>
              </a:xfrm>
              <a:custGeom>
                <a:avLst/>
                <a:gdLst>
                  <a:gd name="T0" fmla="*/ 8 w 16"/>
                  <a:gd name="T1" fmla="*/ 16 h 16"/>
                  <a:gd name="T2" fmla="*/ 0 w 16"/>
                  <a:gd name="T3" fmla="*/ 8 h 16"/>
                  <a:gd name="T4" fmla="*/ 8 w 16"/>
                  <a:gd name="T5" fmla="*/ 0 h 16"/>
                  <a:gd name="T6" fmla="*/ 16 w 16"/>
                  <a:gd name="T7" fmla="*/ 8 h 16"/>
                  <a:gd name="T8" fmla="*/ 8 w 16"/>
                  <a:gd name="T9" fmla="*/ 16 h 16"/>
                  <a:gd name="T10" fmla="*/ 8 w 16"/>
                  <a:gd name="T11" fmla="*/ 4 h 16"/>
                  <a:gd name="T12" fmla="*/ 4 w 16"/>
                  <a:gd name="T13" fmla="*/ 8 h 16"/>
                  <a:gd name="T14" fmla="*/ 8 w 16"/>
                  <a:gd name="T15" fmla="*/ 12 h 16"/>
                  <a:gd name="T16" fmla="*/ 12 w 16"/>
                  <a:gd name="T17" fmla="*/ 8 h 16"/>
                  <a:gd name="T18" fmla="*/ 8 w 16"/>
                  <a:gd name="T19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6">
                    <a:moveTo>
                      <a:pt x="8" y="16"/>
                    </a:moveTo>
                    <a:cubicBezTo>
                      <a:pt x="4" y="16"/>
                      <a:pt x="0" y="12"/>
                      <a:pt x="0" y="8"/>
                    </a:cubicBezTo>
                    <a:cubicBezTo>
                      <a:pt x="0" y="4"/>
                      <a:pt x="4" y="0"/>
                      <a:pt x="8" y="0"/>
                    </a:cubicBezTo>
                    <a:cubicBezTo>
                      <a:pt x="12" y="0"/>
                      <a:pt x="16" y="4"/>
                      <a:pt x="16" y="8"/>
                    </a:cubicBezTo>
                    <a:cubicBezTo>
                      <a:pt x="16" y="12"/>
                      <a:pt x="12" y="16"/>
                      <a:pt x="8" y="16"/>
                    </a:cubicBezTo>
                    <a:close/>
                    <a:moveTo>
                      <a:pt x="8" y="4"/>
                    </a:moveTo>
                    <a:cubicBezTo>
                      <a:pt x="6" y="4"/>
                      <a:pt x="4" y="6"/>
                      <a:pt x="4" y="8"/>
                    </a:cubicBezTo>
                    <a:cubicBezTo>
                      <a:pt x="4" y="10"/>
                      <a:pt x="6" y="12"/>
                      <a:pt x="8" y="12"/>
                    </a:cubicBezTo>
                    <a:cubicBezTo>
                      <a:pt x="10" y="12"/>
                      <a:pt x="12" y="10"/>
                      <a:pt x="12" y="8"/>
                    </a:cubicBezTo>
                    <a:cubicBezTo>
                      <a:pt x="12" y="6"/>
                      <a:pt x="10" y="4"/>
                      <a:pt x="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753" name="Oval 1752">
              <a:extLst>
                <a:ext uri="{FF2B5EF4-FFF2-40B4-BE49-F238E27FC236}">
                  <a16:creationId xmlns:a16="http://schemas.microsoft.com/office/drawing/2014/main" id="{7138A2E7-1C8A-40DB-951B-06580CEB7190}"/>
                </a:ext>
              </a:extLst>
            </p:cNvPr>
            <p:cNvSpPr/>
            <p:nvPr/>
          </p:nvSpPr>
          <p:spPr>
            <a:xfrm>
              <a:off x="1148524" y="2522330"/>
              <a:ext cx="601302" cy="60130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54" name="Oval 1753">
              <a:extLst>
                <a:ext uri="{FF2B5EF4-FFF2-40B4-BE49-F238E27FC236}">
                  <a16:creationId xmlns:a16="http://schemas.microsoft.com/office/drawing/2014/main" id="{904A3BA9-D1BC-4E89-B855-B9D0BC4B60F8}"/>
                </a:ext>
              </a:extLst>
            </p:cNvPr>
            <p:cNvSpPr/>
            <p:nvPr/>
          </p:nvSpPr>
          <p:spPr>
            <a:xfrm>
              <a:off x="1223291" y="2597097"/>
              <a:ext cx="451766" cy="45176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51" name="TextBox 1750">
              <a:extLst>
                <a:ext uri="{FF2B5EF4-FFF2-40B4-BE49-F238E27FC236}">
                  <a16:creationId xmlns:a16="http://schemas.microsoft.com/office/drawing/2014/main" id="{C671D231-F437-499C-9BD3-BE80F028D5B9}"/>
                </a:ext>
              </a:extLst>
            </p:cNvPr>
            <p:cNvSpPr txBox="1"/>
            <p:nvPr/>
          </p:nvSpPr>
          <p:spPr>
            <a:xfrm>
              <a:off x="1868522" y="2824163"/>
              <a:ext cx="2662863" cy="64633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, sed do </a:t>
              </a:r>
              <a:r>
                <a:rPr lang="en-US" sz="1400" dirty="0" err="1"/>
                <a:t>eiusmod</a:t>
              </a:r>
              <a:r>
                <a:rPr lang="en-US" sz="1400" dirty="0"/>
                <a:t> </a:t>
              </a:r>
              <a:r>
                <a:rPr lang="en-US" sz="1400" dirty="0" err="1"/>
                <a:t>tempor</a:t>
              </a:r>
              <a:r>
                <a:rPr lang="en-US" sz="1400" dirty="0"/>
                <a:t> </a:t>
              </a:r>
              <a:r>
                <a:rPr lang="en-US" sz="1400" dirty="0" err="1"/>
                <a:t>incididunt</a:t>
              </a:r>
              <a:r>
                <a:rPr lang="en-US" sz="1400" dirty="0"/>
                <a:t>.</a:t>
              </a:r>
            </a:p>
          </p:txBody>
        </p:sp>
        <p:sp>
          <p:nvSpPr>
            <p:cNvPr id="1752" name="TextBox 1751">
              <a:extLst>
                <a:ext uri="{FF2B5EF4-FFF2-40B4-BE49-F238E27FC236}">
                  <a16:creationId xmlns:a16="http://schemas.microsoft.com/office/drawing/2014/main" id="{6F438A81-E5EB-4008-A17F-7D8B78BCD6B9}"/>
                </a:ext>
              </a:extLst>
            </p:cNvPr>
            <p:cNvSpPr txBox="1"/>
            <p:nvPr/>
          </p:nvSpPr>
          <p:spPr>
            <a:xfrm>
              <a:off x="1868522" y="2522330"/>
              <a:ext cx="1524633" cy="307777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/>
                <a:t>STEP 2</a:t>
              </a:r>
            </a:p>
          </p:txBody>
        </p:sp>
        <p:sp>
          <p:nvSpPr>
            <p:cNvPr id="1749" name="Oval 1748">
              <a:extLst>
                <a:ext uri="{FF2B5EF4-FFF2-40B4-BE49-F238E27FC236}">
                  <a16:creationId xmlns:a16="http://schemas.microsoft.com/office/drawing/2014/main" id="{BE28D6AD-AC81-4B0A-984B-E5732DE83B08}"/>
                </a:ext>
              </a:extLst>
            </p:cNvPr>
            <p:cNvSpPr/>
            <p:nvPr/>
          </p:nvSpPr>
          <p:spPr>
            <a:xfrm>
              <a:off x="1148524" y="3679432"/>
              <a:ext cx="601302" cy="60130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50" name="Oval 1749">
              <a:extLst>
                <a:ext uri="{FF2B5EF4-FFF2-40B4-BE49-F238E27FC236}">
                  <a16:creationId xmlns:a16="http://schemas.microsoft.com/office/drawing/2014/main" id="{6FB7A8D5-55AB-430B-A9CA-FF7B708DAA25}"/>
                </a:ext>
              </a:extLst>
            </p:cNvPr>
            <p:cNvSpPr/>
            <p:nvPr/>
          </p:nvSpPr>
          <p:spPr>
            <a:xfrm>
              <a:off x="1223291" y="3754199"/>
              <a:ext cx="451766" cy="45176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47" name="TextBox 1746">
              <a:extLst>
                <a:ext uri="{FF2B5EF4-FFF2-40B4-BE49-F238E27FC236}">
                  <a16:creationId xmlns:a16="http://schemas.microsoft.com/office/drawing/2014/main" id="{22058045-B01E-4C93-9055-C1099C2D6E0E}"/>
                </a:ext>
              </a:extLst>
            </p:cNvPr>
            <p:cNvSpPr txBox="1"/>
            <p:nvPr/>
          </p:nvSpPr>
          <p:spPr>
            <a:xfrm>
              <a:off x="1868522" y="3981265"/>
              <a:ext cx="2662863" cy="64633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, sed do </a:t>
              </a:r>
              <a:r>
                <a:rPr lang="en-US" sz="1400" dirty="0" err="1"/>
                <a:t>eiusmod</a:t>
              </a:r>
              <a:r>
                <a:rPr lang="en-US" sz="1400" dirty="0"/>
                <a:t> </a:t>
              </a:r>
              <a:r>
                <a:rPr lang="en-US" sz="1400" dirty="0" err="1"/>
                <a:t>tempor</a:t>
              </a:r>
              <a:r>
                <a:rPr lang="en-US" sz="1400" dirty="0"/>
                <a:t> </a:t>
              </a:r>
              <a:r>
                <a:rPr lang="en-US" sz="1400" dirty="0" err="1"/>
                <a:t>incididunt</a:t>
              </a:r>
              <a:r>
                <a:rPr lang="en-US" sz="1400" dirty="0"/>
                <a:t>.</a:t>
              </a:r>
            </a:p>
          </p:txBody>
        </p:sp>
        <p:sp>
          <p:nvSpPr>
            <p:cNvPr id="1748" name="TextBox 1747">
              <a:extLst>
                <a:ext uri="{FF2B5EF4-FFF2-40B4-BE49-F238E27FC236}">
                  <a16:creationId xmlns:a16="http://schemas.microsoft.com/office/drawing/2014/main" id="{A41BBD59-4983-46BA-9963-295BC96CE394}"/>
                </a:ext>
              </a:extLst>
            </p:cNvPr>
            <p:cNvSpPr txBox="1"/>
            <p:nvPr/>
          </p:nvSpPr>
          <p:spPr>
            <a:xfrm>
              <a:off x="1868522" y="3679432"/>
              <a:ext cx="1524633" cy="307777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/>
                <a:t>STEP 3</a:t>
              </a:r>
            </a:p>
          </p:txBody>
        </p:sp>
        <p:sp>
          <p:nvSpPr>
            <p:cNvPr id="1745" name="Oval 1744">
              <a:extLst>
                <a:ext uri="{FF2B5EF4-FFF2-40B4-BE49-F238E27FC236}">
                  <a16:creationId xmlns:a16="http://schemas.microsoft.com/office/drawing/2014/main" id="{D23AB768-6845-4D76-863B-DE4EFBF12E7A}"/>
                </a:ext>
              </a:extLst>
            </p:cNvPr>
            <p:cNvSpPr/>
            <p:nvPr/>
          </p:nvSpPr>
          <p:spPr>
            <a:xfrm>
              <a:off x="1148524" y="4836533"/>
              <a:ext cx="601302" cy="60130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46" name="Oval 1745">
              <a:extLst>
                <a:ext uri="{FF2B5EF4-FFF2-40B4-BE49-F238E27FC236}">
                  <a16:creationId xmlns:a16="http://schemas.microsoft.com/office/drawing/2014/main" id="{E599D5EF-84CC-490D-AEEB-61099774E7B9}"/>
                </a:ext>
              </a:extLst>
            </p:cNvPr>
            <p:cNvSpPr/>
            <p:nvPr/>
          </p:nvSpPr>
          <p:spPr>
            <a:xfrm>
              <a:off x="1223291" y="4911300"/>
              <a:ext cx="451766" cy="45176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43" name="TextBox 1742">
              <a:extLst>
                <a:ext uri="{FF2B5EF4-FFF2-40B4-BE49-F238E27FC236}">
                  <a16:creationId xmlns:a16="http://schemas.microsoft.com/office/drawing/2014/main" id="{8DAD00FE-A46F-4EFA-8F5A-0BAC47158989}"/>
                </a:ext>
              </a:extLst>
            </p:cNvPr>
            <p:cNvSpPr txBox="1"/>
            <p:nvPr/>
          </p:nvSpPr>
          <p:spPr>
            <a:xfrm>
              <a:off x="1868522" y="5138366"/>
              <a:ext cx="2662863" cy="64633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, sed do </a:t>
              </a:r>
              <a:r>
                <a:rPr lang="en-US" sz="1400" dirty="0" err="1"/>
                <a:t>eiusmod</a:t>
              </a:r>
              <a:r>
                <a:rPr lang="en-US" sz="1400" dirty="0"/>
                <a:t> </a:t>
              </a:r>
              <a:r>
                <a:rPr lang="en-US" sz="1400" dirty="0" err="1"/>
                <a:t>tempor</a:t>
              </a:r>
              <a:r>
                <a:rPr lang="en-US" sz="1400" dirty="0"/>
                <a:t> </a:t>
              </a:r>
              <a:r>
                <a:rPr lang="en-US" sz="1400" dirty="0" err="1"/>
                <a:t>incididunt</a:t>
              </a:r>
              <a:r>
                <a:rPr lang="en-US" sz="1400" dirty="0"/>
                <a:t>.</a:t>
              </a:r>
            </a:p>
          </p:txBody>
        </p:sp>
        <p:sp>
          <p:nvSpPr>
            <p:cNvPr id="1744" name="TextBox 1743">
              <a:extLst>
                <a:ext uri="{FF2B5EF4-FFF2-40B4-BE49-F238E27FC236}">
                  <a16:creationId xmlns:a16="http://schemas.microsoft.com/office/drawing/2014/main" id="{17A7986F-32D9-4616-B7E5-070FFC95A331}"/>
                </a:ext>
              </a:extLst>
            </p:cNvPr>
            <p:cNvSpPr txBox="1"/>
            <p:nvPr/>
          </p:nvSpPr>
          <p:spPr>
            <a:xfrm>
              <a:off x="1868522" y="4836533"/>
              <a:ext cx="1524633" cy="307777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/>
                <a:t>STEP 4</a:t>
              </a:r>
            </a:p>
          </p:txBody>
        </p:sp>
        <p:grpSp>
          <p:nvGrpSpPr>
            <p:cNvPr id="1717" name="Group 1716">
              <a:extLst>
                <a:ext uri="{FF2B5EF4-FFF2-40B4-BE49-F238E27FC236}">
                  <a16:creationId xmlns:a16="http://schemas.microsoft.com/office/drawing/2014/main" id="{0B2A84C7-0D36-4051-ADDD-A9E2CBA41A2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319061" y="2708436"/>
              <a:ext cx="260229" cy="229091"/>
              <a:chOff x="6007100" y="2617788"/>
              <a:chExt cx="371475" cy="327026"/>
            </a:xfrm>
            <a:solidFill>
              <a:schemeClr val="accent1"/>
            </a:solidFill>
          </p:grpSpPr>
          <p:sp>
            <p:nvSpPr>
              <p:cNvPr id="1737" name="Freeform 27">
                <a:extLst>
                  <a:ext uri="{FF2B5EF4-FFF2-40B4-BE49-F238E27FC236}">
                    <a16:creationId xmlns:a16="http://schemas.microsoft.com/office/drawing/2014/main" id="{5AB680CF-129E-4917-B8D0-CE059A7E2E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07100" y="2679701"/>
                <a:ext cx="371475" cy="265113"/>
              </a:xfrm>
              <a:custGeom>
                <a:avLst/>
                <a:gdLst>
                  <a:gd name="T0" fmla="*/ 82 w 96"/>
                  <a:gd name="T1" fmla="*/ 68 h 68"/>
                  <a:gd name="T2" fmla="*/ 14 w 96"/>
                  <a:gd name="T3" fmla="*/ 68 h 68"/>
                  <a:gd name="T4" fmla="*/ 0 w 96"/>
                  <a:gd name="T5" fmla="*/ 54 h 68"/>
                  <a:gd name="T6" fmla="*/ 0 w 96"/>
                  <a:gd name="T7" fmla="*/ 14 h 68"/>
                  <a:gd name="T8" fmla="*/ 14 w 96"/>
                  <a:gd name="T9" fmla="*/ 0 h 68"/>
                  <a:gd name="T10" fmla="*/ 82 w 96"/>
                  <a:gd name="T11" fmla="*/ 0 h 68"/>
                  <a:gd name="T12" fmla="*/ 96 w 96"/>
                  <a:gd name="T13" fmla="*/ 14 h 68"/>
                  <a:gd name="T14" fmla="*/ 96 w 96"/>
                  <a:gd name="T15" fmla="*/ 54 h 68"/>
                  <a:gd name="T16" fmla="*/ 82 w 96"/>
                  <a:gd name="T17" fmla="*/ 68 h 68"/>
                  <a:gd name="T18" fmla="*/ 14 w 96"/>
                  <a:gd name="T19" fmla="*/ 4 h 68"/>
                  <a:gd name="T20" fmla="*/ 4 w 96"/>
                  <a:gd name="T21" fmla="*/ 14 h 68"/>
                  <a:gd name="T22" fmla="*/ 4 w 96"/>
                  <a:gd name="T23" fmla="*/ 54 h 68"/>
                  <a:gd name="T24" fmla="*/ 14 w 96"/>
                  <a:gd name="T25" fmla="*/ 64 h 68"/>
                  <a:gd name="T26" fmla="*/ 82 w 96"/>
                  <a:gd name="T27" fmla="*/ 64 h 68"/>
                  <a:gd name="T28" fmla="*/ 92 w 96"/>
                  <a:gd name="T29" fmla="*/ 54 h 68"/>
                  <a:gd name="T30" fmla="*/ 92 w 96"/>
                  <a:gd name="T31" fmla="*/ 14 h 68"/>
                  <a:gd name="T32" fmla="*/ 82 w 96"/>
                  <a:gd name="T33" fmla="*/ 4 h 68"/>
                  <a:gd name="T34" fmla="*/ 14 w 96"/>
                  <a:gd name="T35" fmla="*/ 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8">
                    <a:moveTo>
                      <a:pt x="82" y="68"/>
                    </a:moveTo>
                    <a:cubicBezTo>
                      <a:pt x="14" y="68"/>
                      <a:pt x="14" y="68"/>
                      <a:pt x="14" y="68"/>
                    </a:cubicBezTo>
                    <a:cubicBezTo>
                      <a:pt x="6" y="68"/>
                      <a:pt x="0" y="62"/>
                      <a:pt x="0" y="5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90" y="0"/>
                      <a:pt x="96" y="6"/>
                      <a:pt x="96" y="14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6" y="62"/>
                      <a:pt x="90" y="68"/>
                      <a:pt x="82" y="68"/>
                    </a:cubicBezTo>
                    <a:close/>
                    <a:moveTo>
                      <a:pt x="14" y="4"/>
                    </a:moveTo>
                    <a:cubicBezTo>
                      <a:pt x="8" y="4"/>
                      <a:pt x="4" y="8"/>
                      <a:pt x="4" y="14"/>
                    </a:cubicBezTo>
                    <a:cubicBezTo>
                      <a:pt x="4" y="54"/>
                      <a:pt x="4" y="54"/>
                      <a:pt x="4" y="54"/>
                    </a:cubicBezTo>
                    <a:cubicBezTo>
                      <a:pt x="4" y="60"/>
                      <a:pt x="8" y="64"/>
                      <a:pt x="14" y="64"/>
                    </a:cubicBezTo>
                    <a:cubicBezTo>
                      <a:pt x="82" y="64"/>
                      <a:pt x="82" y="64"/>
                      <a:pt x="82" y="64"/>
                    </a:cubicBezTo>
                    <a:cubicBezTo>
                      <a:pt x="88" y="64"/>
                      <a:pt x="92" y="60"/>
                      <a:pt x="92" y="54"/>
                    </a:cubicBezTo>
                    <a:cubicBezTo>
                      <a:pt x="92" y="14"/>
                      <a:pt x="92" y="14"/>
                      <a:pt x="92" y="14"/>
                    </a:cubicBezTo>
                    <a:cubicBezTo>
                      <a:pt x="92" y="8"/>
                      <a:pt x="88" y="4"/>
                      <a:pt x="82" y="4"/>
                    </a:cubicBezTo>
                    <a:lnTo>
                      <a:pt x="1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8" name="Freeform 28">
                <a:extLst>
                  <a:ext uri="{FF2B5EF4-FFF2-40B4-BE49-F238E27FC236}">
                    <a16:creationId xmlns:a16="http://schemas.microsoft.com/office/drawing/2014/main" id="{E646D775-2211-4847-9860-DD68A98E49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25" y="2617788"/>
                <a:ext cx="123825" cy="77788"/>
              </a:xfrm>
              <a:custGeom>
                <a:avLst/>
                <a:gdLst>
                  <a:gd name="T0" fmla="*/ 30 w 32"/>
                  <a:gd name="T1" fmla="*/ 20 h 20"/>
                  <a:gd name="T2" fmla="*/ 28 w 32"/>
                  <a:gd name="T3" fmla="*/ 18 h 20"/>
                  <a:gd name="T4" fmla="*/ 28 w 32"/>
                  <a:gd name="T5" fmla="*/ 10 h 20"/>
                  <a:gd name="T6" fmla="*/ 22 w 32"/>
                  <a:gd name="T7" fmla="*/ 4 h 20"/>
                  <a:gd name="T8" fmla="*/ 10 w 32"/>
                  <a:gd name="T9" fmla="*/ 4 h 20"/>
                  <a:gd name="T10" fmla="*/ 4 w 32"/>
                  <a:gd name="T11" fmla="*/ 10 h 20"/>
                  <a:gd name="T12" fmla="*/ 4 w 32"/>
                  <a:gd name="T13" fmla="*/ 18 h 20"/>
                  <a:gd name="T14" fmla="*/ 2 w 32"/>
                  <a:gd name="T15" fmla="*/ 20 h 20"/>
                  <a:gd name="T16" fmla="*/ 0 w 32"/>
                  <a:gd name="T17" fmla="*/ 18 h 20"/>
                  <a:gd name="T18" fmla="*/ 0 w 32"/>
                  <a:gd name="T19" fmla="*/ 10 h 20"/>
                  <a:gd name="T20" fmla="*/ 10 w 32"/>
                  <a:gd name="T21" fmla="*/ 0 h 20"/>
                  <a:gd name="T22" fmla="*/ 22 w 32"/>
                  <a:gd name="T23" fmla="*/ 0 h 20"/>
                  <a:gd name="T24" fmla="*/ 32 w 32"/>
                  <a:gd name="T25" fmla="*/ 10 h 20"/>
                  <a:gd name="T26" fmla="*/ 32 w 32"/>
                  <a:gd name="T27" fmla="*/ 18 h 20"/>
                  <a:gd name="T28" fmla="*/ 30 w 32"/>
                  <a:gd name="T2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2" h="20">
                    <a:moveTo>
                      <a:pt x="30" y="20"/>
                    </a:moveTo>
                    <a:cubicBezTo>
                      <a:pt x="29" y="20"/>
                      <a:pt x="28" y="19"/>
                      <a:pt x="28" y="18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28" y="7"/>
                      <a:pt x="25" y="4"/>
                      <a:pt x="22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7" y="4"/>
                      <a:pt x="4" y="7"/>
                      <a:pt x="4" y="10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4" y="19"/>
                      <a:pt x="3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4" y="0"/>
                      <a:pt x="10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8" y="0"/>
                      <a:pt x="32" y="4"/>
                      <a:pt x="32" y="10"/>
                    </a:cubicBezTo>
                    <a:cubicBezTo>
                      <a:pt x="32" y="18"/>
                      <a:pt x="32" y="18"/>
                      <a:pt x="32" y="18"/>
                    </a:cubicBezTo>
                    <a:cubicBezTo>
                      <a:pt x="32" y="19"/>
                      <a:pt x="31" y="20"/>
                      <a:pt x="30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9" name="Rectangle 29">
                <a:extLst>
                  <a:ext uri="{FF2B5EF4-FFF2-40B4-BE49-F238E27FC236}">
                    <a16:creationId xmlns:a16="http://schemas.microsoft.com/office/drawing/2014/main" id="{A43E1443-5412-4FCE-A741-669FBC174E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00788" y="2687638"/>
                <a:ext cx="15875" cy="2492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0" name="Rectangle 30">
                <a:extLst>
                  <a:ext uri="{FF2B5EF4-FFF2-40B4-BE49-F238E27FC236}">
                    <a16:creationId xmlns:a16="http://schemas.microsoft.com/office/drawing/2014/main" id="{46383973-BD2B-437B-AC05-D226EFE345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4750" y="2687638"/>
                <a:ext cx="15875" cy="2492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1" name="Rectangle 31">
                <a:extLst>
                  <a:ext uri="{FF2B5EF4-FFF2-40B4-BE49-F238E27FC236}">
                    <a16:creationId xmlns:a16="http://schemas.microsoft.com/office/drawing/2014/main" id="{464221FB-E054-43A0-8AF5-B98A5BAA45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15050" y="2687638"/>
                <a:ext cx="15875" cy="2492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2" name="Rectangle 32">
                <a:extLst>
                  <a:ext uri="{FF2B5EF4-FFF2-40B4-BE49-F238E27FC236}">
                    <a16:creationId xmlns:a16="http://schemas.microsoft.com/office/drawing/2014/main" id="{BE1FE064-D4DE-4E11-B6F7-AFBBF5153B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69013" y="2687638"/>
                <a:ext cx="15875" cy="2492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718" name="Group 1717">
              <a:extLst>
                <a:ext uri="{FF2B5EF4-FFF2-40B4-BE49-F238E27FC236}">
                  <a16:creationId xmlns:a16="http://schemas.microsoft.com/office/drawing/2014/main" id="{7C024F0E-E5B7-4221-B7B0-92098B367D3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323175" y="3854083"/>
              <a:ext cx="252001" cy="252000"/>
              <a:chOff x="6223000" y="3652838"/>
              <a:chExt cx="371476" cy="371475"/>
            </a:xfrm>
            <a:solidFill>
              <a:schemeClr val="accent2"/>
            </a:solidFill>
          </p:grpSpPr>
          <p:sp>
            <p:nvSpPr>
              <p:cNvPr id="1732" name="Freeform 36">
                <a:extLst>
                  <a:ext uri="{FF2B5EF4-FFF2-40B4-BE49-F238E27FC236}">
                    <a16:creationId xmlns:a16="http://schemas.microsoft.com/office/drawing/2014/main" id="{2B03A90B-3136-4175-9A7C-2C38BB7D1B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3000" y="3652838"/>
                <a:ext cx="368300" cy="371475"/>
              </a:xfrm>
              <a:custGeom>
                <a:avLst/>
                <a:gdLst>
                  <a:gd name="T0" fmla="*/ 48 w 95"/>
                  <a:gd name="T1" fmla="*/ 96 h 96"/>
                  <a:gd name="T2" fmla="*/ 0 w 95"/>
                  <a:gd name="T3" fmla="*/ 48 h 96"/>
                  <a:gd name="T4" fmla="*/ 48 w 95"/>
                  <a:gd name="T5" fmla="*/ 0 h 96"/>
                  <a:gd name="T6" fmla="*/ 88 w 95"/>
                  <a:gd name="T7" fmla="*/ 21 h 96"/>
                  <a:gd name="T8" fmla="*/ 87 w 95"/>
                  <a:gd name="T9" fmla="*/ 24 h 96"/>
                  <a:gd name="T10" fmla="*/ 84 w 95"/>
                  <a:gd name="T11" fmla="*/ 23 h 96"/>
                  <a:gd name="T12" fmla="*/ 48 w 95"/>
                  <a:gd name="T13" fmla="*/ 4 h 96"/>
                  <a:gd name="T14" fmla="*/ 4 w 95"/>
                  <a:gd name="T15" fmla="*/ 48 h 96"/>
                  <a:gd name="T16" fmla="*/ 48 w 95"/>
                  <a:gd name="T17" fmla="*/ 92 h 96"/>
                  <a:gd name="T18" fmla="*/ 91 w 95"/>
                  <a:gd name="T19" fmla="*/ 56 h 96"/>
                  <a:gd name="T20" fmla="*/ 94 w 95"/>
                  <a:gd name="T21" fmla="*/ 54 h 96"/>
                  <a:gd name="T22" fmla="*/ 95 w 95"/>
                  <a:gd name="T23" fmla="*/ 56 h 96"/>
                  <a:gd name="T24" fmla="*/ 48 w 95"/>
                  <a:gd name="T25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5" h="96">
                    <a:moveTo>
                      <a:pt x="48" y="96"/>
                    </a:moveTo>
                    <a:cubicBezTo>
                      <a:pt x="22" y="96"/>
                      <a:pt x="0" y="74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64" y="0"/>
                      <a:pt x="79" y="8"/>
                      <a:pt x="88" y="21"/>
                    </a:cubicBezTo>
                    <a:cubicBezTo>
                      <a:pt x="88" y="22"/>
                      <a:pt x="88" y="23"/>
                      <a:pt x="87" y="24"/>
                    </a:cubicBezTo>
                    <a:cubicBezTo>
                      <a:pt x="86" y="24"/>
                      <a:pt x="85" y="24"/>
                      <a:pt x="84" y="23"/>
                    </a:cubicBezTo>
                    <a:cubicBezTo>
                      <a:pt x="76" y="11"/>
                      <a:pt x="62" y="4"/>
                      <a:pt x="48" y="4"/>
                    </a:cubicBezTo>
                    <a:cubicBezTo>
                      <a:pt x="24" y="4"/>
                      <a:pt x="4" y="24"/>
                      <a:pt x="4" y="48"/>
                    </a:cubicBezTo>
                    <a:cubicBezTo>
                      <a:pt x="4" y="72"/>
                      <a:pt x="24" y="92"/>
                      <a:pt x="48" y="92"/>
                    </a:cubicBezTo>
                    <a:cubicBezTo>
                      <a:pt x="69" y="92"/>
                      <a:pt x="88" y="77"/>
                      <a:pt x="91" y="56"/>
                    </a:cubicBezTo>
                    <a:cubicBezTo>
                      <a:pt x="92" y="54"/>
                      <a:pt x="93" y="54"/>
                      <a:pt x="94" y="54"/>
                    </a:cubicBezTo>
                    <a:cubicBezTo>
                      <a:pt x="95" y="54"/>
                      <a:pt x="95" y="55"/>
                      <a:pt x="95" y="56"/>
                    </a:cubicBezTo>
                    <a:cubicBezTo>
                      <a:pt x="91" y="79"/>
                      <a:pt x="71" y="96"/>
                      <a:pt x="48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3" name="Freeform 37">
                <a:extLst>
                  <a:ext uri="{FF2B5EF4-FFF2-40B4-BE49-F238E27FC236}">
                    <a16:creationId xmlns:a16="http://schemas.microsoft.com/office/drawing/2014/main" id="{B5966BDB-E953-433A-90CA-187F84D85B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6975" y="3656013"/>
                <a:ext cx="182563" cy="330200"/>
              </a:xfrm>
              <a:custGeom>
                <a:avLst/>
                <a:gdLst>
                  <a:gd name="T0" fmla="*/ 32 w 47"/>
                  <a:gd name="T1" fmla="*/ 85 h 85"/>
                  <a:gd name="T2" fmla="*/ 30 w 47"/>
                  <a:gd name="T3" fmla="*/ 83 h 85"/>
                  <a:gd name="T4" fmla="*/ 30 w 47"/>
                  <a:gd name="T5" fmla="*/ 74 h 85"/>
                  <a:gd name="T6" fmla="*/ 9 w 47"/>
                  <a:gd name="T7" fmla="*/ 67 h 85"/>
                  <a:gd name="T8" fmla="*/ 8 w 47"/>
                  <a:gd name="T9" fmla="*/ 66 h 85"/>
                  <a:gd name="T10" fmla="*/ 0 w 47"/>
                  <a:gd name="T11" fmla="*/ 40 h 85"/>
                  <a:gd name="T12" fmla="*/ 0 w 47"/>
                  <a:gd name="T13" fmla="*/ 38 h 85"/>
                  <a:gd name="T14" fmla="*/ 1 w 47"/>
                  <a:gd name="T15" fmla="*/ 37 h 85"/>
                  <a:gd name="T16" fmla="*/ 21 w 47"/>
                  <a:gd name="T17" fmla="*/ 31 h 85"/>
                  <a:gd name="T18" fmla="*/ 28 w 47"/>
                  <a:gd name="T19" fmla="*/ 19 h 85"/>
                  <a:gd name="T20" fmla="*/ 25 w 47"/>
                  <a:gd name="T21" fmla="*/ 14 h 85"/>
                  <a:gd name="T22" fmla="*/ 25 w 47"/>
                  <a:gd name="T23" fmla="*/ 11 h 85"/>
                  <a:gd name="T24" fmla="*/ 44 w 47"/>
                  <a:gd name="T25" fmla="*/ 1 h 85"/>
                  <a:gd name="T26" fmla="*/ 47 w 47"/>
                  <a:gd name="T27" fmla="*/ 1 h 85"/>
                  <a:gd name="T28" fmla="*/ 46 w 47"/>
                  <a:gd name="T29" fmla="*/ 4 h 85"/>
                  <a:gd name="T30" fmla="*/ 29 w 47"/>
                  <a:gd name="T31" fmla="*/ 14 h 85"/>
                  <a:gd name="T32" fmla="*/ 32 w 47"/>
                  <a:gd name="T33" fmla="*/ 19 h 85"/>
                  <a:gd name="T34" fmla="*/ 32 w 47"/>
                  <a:gd name="T35" fmla="*/ 21 h 85"/>
                  <a:gd name="T36" fmla="*/ 24 w 47"/>
                  <a:gd name="T37" fmla="*/ 34 h 85"/>
                  <a:gd name="T38" fmla="*/ 23 w 47"/>
                  <a:gd name="T39" fmla="*/ 35 h 85"/>
                  <a:gd name="T40" fmla="*/ 5 w 47"/>
                  <a:gd name="T41" fmla="*/ 40 h 85"/>
                  <a:gd name="T42" fmla="*/ 12 w 47"/>
                  <a:gd name="T43" fmla="*/ 63 h 85"/>
                  <a:gd name="T44" fmla="*/ 33 w 47"/>
                  <a:gd name="T45" fmla="*/ 71 h 85"/>
                  <a:gd name="T46" fmla="*/ 34 w 47"/>
                  <a:gd name="T47" fmla="*/ 73 h 85"/>
                  <a:gd name="T48" fmla="*/ 34 w 47"/>
                  <a:gd name="T49" fmla="*/ 83 h 85"/>
                  <a:gd name="T50" fmla="*/ 32 w 47"/>
                  <a:gd name="T51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7" h="85">
                    <a:moveTo>
                      <a:pt x="32" y="85"/>
                    </a:moveTo>
                    <a:cubicBezTo>
                      <a:pt x="31" y="85"/>
                      <a:pt x="30" y="84"/>
                      <a:pt x="30" y="83"/>
                    </a:cubicBezTo>
                    <a:cubicBezTo>
                      <a:pt x="30" y="74"/>
                      <a:pt x="30" y="74"/>
                      <a:pt x="30" y="74"/>
                    </a:cubicBezTo>
                    <a:cubicBezTo>
                      <a:pt x="9" y="67"/>
                      <a:pt x="9" y="67"/>
                      <a:pt x="9" y="67"/>
                    </a:cubicBezTo>
                    <a:cubicBezTo>
                      <a:pt x="9" y="67"/>
                      <a:pt x="8" y="66"/>
                      <a:pt x="8" y="66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39"/>
                      <a:pt x="0" y="39"/>
                      <a:pt x="0" y="38"/>
                    </a:cubicBezTo>
                    <a:cubicBezTo>
                      <a:pt x="1" y="38"/>
                      <a:pt x="1" y="37"/>
                      <a:pt x="1" y="37"/>
                    </a:cubicBezTo>
                    <a:cubicBezTo>
                      <a:pt x="21" y="31"/>
                      <a:pt x="21" y="31"/>
                      <a:pt x="21" y="31"/>
                    </a:cubicBezTo>
                    <a:cubicBezTo>
                      <a:pt x="28" y="19"/>
                      <a:pt x="28" y="19"/>
                      <a:pt x="28" y="19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4" y="13"/>
                      <a:pt x="24" y="12"/>
                      <a:pt x="25" y="11"/>
                    </a:cubicBezTo>
                    <a:cubicBezTo>
                      <a:pt x="44" y="1"/>
                      <a:pt x="44" y="1"/>
                      <a:pt x="44" y="1"/>
                    </a:cubicBezTo>
                    <a:cubicBezTo>
                      <a:pt x="45" y="0"/>
                      <a:pt x="46" y="0"/>
                      <a:pt x="47" y="1"/>
                    </a:cubicBezTo>
                    <a:cubicBezTo>
                      <a:pt x="47" y="2"/>
                      <a:pt x="47" y="4"/>
                      <a:pt x="46" y="4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32" y="19"/>
                      <a:pt x="32" y="20"/>
                      <a:pt x="32" y="21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4"/>
                      <a:pt x="23" y="35"/>
                      <a:pt x="23" y="35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12" y="63"/>
                      <a:pt x="12" y="63"/>
                      <a:pt x="12" y="63"/>
                    </a:cubicBezTo>
                    <a:cubicBezTo>
                      <a:pt x="33" y="71"/>
                      <a:pt x="33" y="71"/>
                      <a:pt x="33" y="71"/>
                    </a:cubicBezTo>
                    <a:cubicBezTo>
                      <a:pt x="34" y="71"/>
                      <a:pt x="34" y="72"/>
                      <a:pt x="34" y="73"/>
                    </a:cubicBezTo>
                    <a:cubicBezTo>
                      <a:pt x="34" y="83"/>
                      <a:pt x="34" y="83"/>
                      <a:pt x="34" y="83"/>
                    </a:cubicBezTo>
                    <a:cubicBezTo>
                      <a:pt x="34" y="84"/>
                      <a:pt x="33" y="85"/>
                      <a:pt x="32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4" name="Freeform 38">
                <a:extLst>
                  <a:ext uri="{FF2B5EF4-FFF2-40B4-BE49-F238E27FC236}">
                    <a16:creationId xmlns:a16="http://schemas.microsoft.com/office/drawing/2014/main" id="{79999164-4335-43A2-A183-F1A6782B50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02400" y="3711576"/>
                <a:ext cx="46038" cy="49213"/>
              </a:xfrm>
              <a:custGeom>
                <a:avLst/>
                <a:gdLst>
                  <a:gd name="T0" fmla="*/ 2 w 12"/>
                  <a:gd name="T1" fmla="*/ 13 h 13"/>
                  <a:gd name="T2" fmla="*/ 1 w 12"/>
                  <a:gd name="T3" fmla="*/ 12 h 13"/>
                  <a:gd name="T4" fmla="*/ 1 w 12"/>
                  <a:gd name="T5" fmla="*/ 10 h 13"/>
                  <a:gd name="T6" fmla="*/ 8 w 12"/>
                  <a:gd name="T7" fmla="*/ 1 h 13"/>
                  <a:gd name="T8" fmla="*/ 11 w 12"/>
                  <a:gd name="T9" fmla="*/ 1 h 13"/>
                  <a:gd name="T10" fmla="*/ 11 w 12"/>
                  <a:gd name="T11" fmla="*/ 3 h 13"/>
                  <a:gd name="T12" fmla="*/ 4 w 12"/>
                  <a:gd name="T13" fmla="*/ 12 h 13"/>
                  <a:gd name="T14" fmla="*/ 2 w 12"/>
                  <a:gd name="T1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3">
                    <a:moveTo>
                      <a:pt x="2" y="13"/>
                    </a:moveTo>
                    <a:cubicBezTo>
                      <a:pt x="2" y="13"/>
                      <a:pt x="1" y="13"/>
                      <a:pt x="1" y="12"/>
                    </a:cubicBezTo>
                    <a:cubicBezTo>
                      <a:pt x="0" y="12"/>
                      <a:pt x="0" y="10"/>
                      <a:pt x="1" y="10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9" y="0"/>
                      <a:pt x="10" y="0"/>
                      <a:pt x="11" y="1"/>
                    </a:cubicBezTo>
                    <a:cubicBezTo>
                      <a:pt x="12" y="1"/>
                      <a:pt x="12" y="3"/>
                      <a:pt x="11" y="3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3" y="13"/>
                      <a:pt x="3" y="13"/>
                      <a:pt x="2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5" name="Freeform 39">
                <a:extLst>
                  <a:ext uri="{FF2B5EF4-FFF2-40B4-BE49-F238E27FC236}">
                    <a16:creationId xmlns:a16="http://schemas.microsoft.com/office/drawing/2014/main" id="{DDD3E5AE-8680-4A3B-80D3-3BA7A82BAD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23013" y="3768726"/>
                <a:ext cx="271463" cy="177800"/>
              </a:xfrm>
              <a:custGeom>
                <a:avLst/>
                <a:gdLst>
                  <a:gd name="T0" fmla="*/ 31 w 70"/>
                  <a:gd name="T1" fmla="*/ 46 h 46"/>
                  <a:gd name="T2" fmla="*/ 30 w 70"/>
                  <a:gd name="T3" fmla="*/ 45 h 46"/>
                  <a:gd name="T4" fmla="*/ 29 w 70"/>
                  <a:gd name="T5" fmla="*/ 43 h 46"/>
                  <a:gd name="T6" fmla="*/ 35 w 70"/>
                  <a:gd name="T7" fmla="*/ 28 h 46"/>
                  <a:gd name="T8" fmla="*/ 21 w 70"/>
                  <a:gd name="T9" fmla="*/ 33 h 46"/>
                  <a:gd name="T10" fmla="*/ 19 w 70"/>
                  <a:gd name="T11" fmla="*/ 33 h 46"/>
                  <a:gd name="T12" fmla="*/ 1 w 70"/>
                  <a:gd name="T13" fmla="*/ 21 h 46"/>
                  <a:gd name="T14" fmla="*/ 0 w 70"/>
                  <a:gd name="T15" fmla="*/ 19 h 46"/>
                  <a:gd name="T16" fmla="*/ 1 w 70"/>
                  <a:gd name="T17" fmla="*/ 18 h 46"/>
                  <a:gd name="T18" fmla="*/ 9 w 70"/>
                  <a:gd name="T19" fmla="*/ 13 h 46"/>
                  <a:gd name="T20" fmla="*/ 11 w 70"/>
                  <a:gd name="T21" fmla="*/ 13 h 46"/>
                  <a:gd name="T22" fmla="*/ 21 w 70"/>
                  <a:gd name="T23" fmla="*/ 17 h 46"/>
                  <a:gd name="T24" fmla="*/ 60 w 70"/>
                  <a:gd name="T25" fmla="*/ 2 h 46"/>
                  <a:gd name="T26" fmla="*/ 69 w 70"/>
                  <a:gd name="T27" fmla="*/ 5 h 46"/>
                  <a:gd name="T28" fmla="*/ 70 w 70"/>
                  <a:gd name="T29" fmla="*/ 11 h 46"/>
                  <a:gd name="T30" fmla="*/ 66 w 70"/>
                  <a:gd name="T31" fmla="*/ 15 h 46"/>
                  <a:gd name="T32" fmla="*/ 53 w 70"/>
                  <a:gd name="T33" fmla="*/ 21 h 46"/>
                  <a:gd name="T34" fmla="*/ 42 w 70"/>
                  <a:gd name="T35" fmla="*/ 40 h 46"/>
                  <a:gd name="T36" fmla="*/ 41 w 70"/>
                  <a:gd name="T37" fmla="*/ 41 h 46"/>
                  <a:gd name="T38" fmla="*/ 32 w 70"/>
                  <a:gd name="T39" fmla="*/ 46 h 46"/>
                  <a:gd name="T40" fmla="*/ 31 w 70"/>
                  <a:gd name="T41" fmla="*/ 46 h 46"/>
                  <a:gd name="T42" fmla="*/ 39 w 70"/>
                  <a:gd name="T43" fmla="*/ 22 h 46"/>
                  <a:gd name="T44" fmla="*/ 40 w 70"/>
                  <a:gd name="T45" fmla="*/ 23 h 46"/>
                  <a:gd name="T46" fmla="*/ 41 w 70"/>
                  <a:gd name="T47" fmla="*/ 25 h 46"/>
                  <a:gd name="T48" fmla="*/ 35 w 70"/>
                  <a:gd name="T49" fmla="*/ 40 h 46"/>
                  <a:gd name="T50" fmla="*/ 39 w 70"/>
                  <a:gd name="T51" fmla="*/ 38 h 46"/>
                  <a:gd name="T52" fmla="*/ 49 w 70"/>
                  <a:gd name="T53" fmla="*/ 18 h 46"/>
                  <a:gd name="T54" fmla="*/ 50 w 70"/>
                  <a:gd name="T55" fmla="*/ 17 h 46"/>
                  <a:gd name="T56" fmla="*/ 64 w 70"/>
                  <a:gd name="T57" fmla="*/ 11 h 46"/>
                  <a:gd name="T58" fmla="*/ 66 w 70"/>
                  <a:gd name="T59" fmla="*/ 9 h 46"/>
                  <a:gd name="T60" fmla="*/ 66 w 70"/>
                  <a:gd name="T61" fmla="*/ 7 h 46"/>
                  <a:gd name="T62" fmla="*/ 62 w 70"/>
                  <a:gd name="T63" fmla="*/ 5 h 46"/>
                  <a:gd name="T64" fmla="*/ 22 w 70"/>
                  <a:gd name="T65" fmla="*/ 21 h 46"/>
                  <a:gd name="T66" fmla="*/ 20 w 70"/>
                  <a:gd name="T67" fmla="*/ 21 h 46"/>
                  <a:gd name="T68" fmla="*/ 10 w 70"/>
                  <a:gd name="T69" fmla="*/ 17 h 46"/>
                  <a:gd name="T70" fmla="*/ 6 w 70"/>
                  <a:gd name="T71" fmla="*/ 19 h 46"/>
                  <a:gd name="T72" fmla="*/ 21 w 70"/>
                  <a:gd name="T73" fmla="*/ 29 h 46"/>
                  <a:gd name="T74" fmla="*/ 38 w 70"/>
                  <a:gd name="T75" fmla="*/ 22 h 46"/>
                  <a:gd name="T76" fmla="*/ 39 w 70"/>
                  <a:gd name="T77" fmla="*/ 2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0" h="46">
                    <a:moveTo>
                      <a:pt x="31" y="46"/>
                    </a:moveTo>
                    <a:cubicBezTo>
                      <a:pt x="30" y="46"/>
                      <a:pt x="30" y="46"/>
                      <a:pt x="30" y="45"/>
                    </a:cubicBezTo>
                    <a:cubicBezTo>
                      <a:pt x="29" y="45"/>
                      <a:pt x="29" y="44"/>
                      <a:pt x="29" y="43"/>
                    </a:cubicBezTo>
                    <a:cubicBezTo>
                      <a:pt x="35" y="28"/>
                      <a:pt x="35" y="28"/>
                      <a:pt x="35" y="28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21" y="33"/>
                      <a:pt x="20" y="33"/>
                      <a:pt x="19" y="3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1" y="21"/>
                      <a:pt x="0" y="20"/>
                      <a:pt x="0" y="19"/>
                    </a:cubicBezTo>
                    <a:cubicBezTo>
                      <a:pt x="0" y="19"/>
                      <a:pt x="1" y="18"/>
                      <a:pt x="1" y="18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10" y="13"/>
                      <a:pt x="10" y="13"/>
                      <a:pt x="11" y="13"/>
                    </a:cubicBezTo>
                    <a:cubicBezTo>
                      <a:pt x="21" y="17"/>
                      <a:pt x="21" y="17"/>
                      <a:pt x="21" y="17"/>
                    </a:cubicBezTo>
                    <a:cubicBezTo>
                      <a:pt x="60" y="2"/>
                      <a:pt x="60" y="2"/>
                      <a:pt x="60" y="2"/>
                    </a:cubicBezTo>
                    <a:cubicBezTo>
                      <a:pt x="64" y="0"/>
                      <a:pt x="68" y="2"/>
                      <a:pt x="69" y="5"/>
                    </a:cubicBezTo>
                    <a:cubicBezTo>
                      <a:pt x="70" y="7"/>
                      <a:pt x="70" y="9"/>
                      <a:pt x="70" y="11"/>
                    </a:cubicBezTo>
                    <a:cubicBezTo>
                      <a:pt x="69" y="13"/>
                      <a:pt x="68" y="14"/>
                      <a:pt x="66" y="15"/>
                    </a:cubicBezTo>
                    <a:cubicBezTo>
                      <a:pt x="53" y="21"/>
                      <a:pt x="53" y="21"/>
                      <a:pt x="53" y="21"/>
                    </a:cubicBezTo>
                    <a:cubicBezTo>
                      <a:pt x="42" y="40"/>
                      <a:pt x="42" y="40"/>
                      <a:pt x="42" y="40"/>
                    </a:cubicBezTo>
                    <a:cubicBezTo>
                      <a:pt x="42" y="41"/>
                      <a:pt x="41" y="41"/>
                      <a:pt x="41" y="41"/>
                    </a:cubicBezTo>
                    <a:cubicBezTo>
                      <a:pt x="32" y="46"/>
                      <a:pt x="32" y="46"/>
                      <a:pt x="32" y="46"/>
                    </a:cubicBezTo>
                    <a:cubicBezTo>
                      <a:pt x="32" y="46"/>
                      <a:pt x="31" y="46"/>
                      <a:pt x="31" y="46"/>
                    </a:cubicBezTo>
                    <a:close/>
                    <a:moveTo>
                      <a:pt x="39" y="22"/>
                    </a:moveTo>
                    <a:cubicBezTo>
                      <a:pt x="39" y="22"/>
                      <a:pt x="40" y="22"/>
                      <a:pt x="40" y="23"/>
                    </a:cubicBezTo>
                    <a:cubicBezTo>
                      <a:pt x="41" y="23"/>
                      <a:pt x="41" y="24"/>
                      <a:pt x="41" y="25"/>
                    </a:cubicBezTo>
                    <a:cubicBezTo>
                      <a:pt x="35" y="40"/>
                      <a:pt x="35" y="40"/>
                      <a:pt x="35" y="40"/>
                    </a:cubicBezTo>
                    <a:cubicBezTo>
                      <a:pt x="39" y="38"/>
                      <a:pt x="39" y="38"/>
                      <a:pt x="39" y="38"/>
                    </a:cubicBezTo>
                    <a:cubicBezTo>
                      <a:pt x="49" y="18"/>
                      <a:pt x="49" y="18"/>
                      <a:pt x="49" y="18"/>
                    </a:cubicBezTo>
                    <a:cubicBezTo>
                      <a:pt x="50" y="18"/>
                      <a:pt x="50" y="17"/>
                      <a:pt x="50" y="17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5" y="11"/>
                      <a:pt x="65" y="10"/>
                      <a:pt x="66" y="9"/>
                    </a:cubicBezTo>
                    <a:cubicBezTo>
                      <a:pt x="66" y="9"/>
                      <a:pt x="66" y="8"/>
                      <a:pt x="66" y="7"/>
                    </a:cubicBezTo>
                    <a:cubicBezTo>
                      <a:pt x="65" y="6"/>
                      <a:pt x="63" y="5"/>
                      <a:pt x="62" y="5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21" y="22"/>
                      <a:pt x="21" y="22"/>
                      <a:pt x="20" y="21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38" y="22"/>
                      <a:pt x="38" y="22"/>
                      <a:pt x="38" y="22"/>
                    </a:cubicBezTo>
                    <a:cubicBezTo>
                      <a:pt x="38" y="22"/>
                      <a:pt x="38" y="22"/>
                      <a:pt x="39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6" name="Freeform 40">
                <a:extLst>
                  <a:ext uri="{FF2B5EF4-FFF2-40B4-BE49-F238E27FC236}">
                    <a16:creationId xmlns:a16="http://schemas.microsoft.com/office/drawing/2014/main" id="{52DC163A-843E-416B-B714-C2419A78C3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0800" y="3757613"/>
                <a:ext cx="112713" cy="69850"/>
              </a:xfrm>
              <a:custGeom>
                <a:avLst/>
                <a:gdLst>
                  <a:gd name="T0" fmla="*/ 17 w 29"/>
                  <a:gd name="T1" fmla="*/ 18 h 18"/>
                  <a:gd name="T2" fmla="*/ 16 w 29"/>
                  <a:gd name="T3" fmla="*/ 18 h 18"/>
                  <a:gd name="T4" fmla="*/ 1 w 29"/>
                  <a:gd name="T5" fmla="*/ 8 h 18"/>
                  <a:gd name="T6" fmla="*/ 0 w 29"/>
                  <a:gd name="T7" fmla="*/ 6 h 18"/>
                  <a:gd name="T8" fmla="*/ 1 w 29"/>
                  <a:gd name="T9" fmla="*/ 5 h 18"/>
                  <a:gd name="T10" fmla="*/ 9 w 29"/>
                  <a:gd name="T11" fmla="*/ 0 h 18"/>
                  <a:gd name="T12" fmla="*/ 11 w 29"/>
                  <a:gd name="T13" fmla="*/ 0 h 18"/>
                  <a:gd name="T14" fmla="*/ 27 w 29"/>
                  <a:gd name="T15" fmla="*/ 11 h 18"/>
                  <a:gd name="T16" fmla="*/ 28 w 29"/>
                  <a:gd name="T17" fmla="*/ 13 h 18"/>
                  <a:gd name="T18" fmla="*/ 25 w 29"/>
                  <a:gd name="T19" fmla="*/ 14 h 18"/>
                  <a:gd name="T20" fmla="*/ 10 w 29"/>
                  <a:gd name="T21" fmla="*/ 4 h 18"/>
                  <a:gd name="T22" fmla="*/ 6 w 29"/>
                  <a:gd name="T23" fmla="*/ 7 h 18"/>
                  <a:gd name="T24" fmla="*/ 18 w 29"/>
                  <a:gd name="T25" fmla="*/ 15 h 18"/>
                  <a:gd name="T26" fmla="*/ 18 w 29"/>
                  <a:gd name="T27" fmla="*/ 17 h 18"/>
                  <a:gd name="T28" fmla="*/ 17 w 29"/>
                  <a:gd name="T29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18">
                    <a:moveTo>
                      <a:pt x="17" y="18"/>
                    </a:moveTo>
                    <a:cubicBezTo>
                      <a:pt x="16" y="18"/>
                      <a:pt x="16" y="18"/>
                      <a:pt x="16" y="1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7"/>
                      <a:pt x="0" y="6"/>
                    </a:cubicBezTo>
                    <a:cubicBezTo>
                      <a:pt x="0" y="6"/>
                      <a:pt x="0" y="5"/>
                      <a:pt x="1" y="5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0" y="0"/>
                      <a:pt x="11" y="0"/>
                    </a:cubicBezTo>
                    <a:cubicBezTo>
                      <a:pt x="27" y="11"/>
                      <a:pt x="27" y="11"/>
                      <a:pt x="27" y="11"/>
                    </a:cubicBezTo>
                    <a:cubicBezTo>
                      <a:pt x="28" y="11"/>
                      <a:pt x="29" y="13"/>
                      <a:pt x="28" y="13"/>
                    </a:cubicBezTo>
                    <a:cubicBezTo>
                      <a:pt x="27" y="14"/>
                      <a:pt x="26" y="15"/>
                      <a:pt x="25" y="1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9" y="15"/>
                      <a:pt x="19" y="16"/>
                      <a:pt x="18" y="17"/>
                    </a:cubicBezTo>
                    <a:cubicBezTo>
                      <a:pt x="18" y="18"/>
                      <a:pt x="17" y="18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719" name="Group 1718">
              <a:extLst>
                <a:ext uri="{FF2B5EF4-FFF2-40B4-BE49-F238E27FC236}">
                  <a16:creationId xmlns:a16="http://schemas.microsoft.com/office/drawing/2014/main" id="{FF793BEE-6E37-4059-97A5-3F958CCA952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319324" y="5011184"/>
              <a:ext cx="259703" cy="252000"/>
              <a:chOff x="6199188" y="4668838"/>
              <a:chExt cx="374650" cy="363537"/>
            </a:xfrm>
            <a:solidFill>
              <a:schemeClr val="accent3"/>
            </a:solidFill>
          </p:grpSpPr>
          <p:sp>
            <p:nvSpPr>
              <p:cNvPr id="1720" name="Freeform 44">
                <a:extLst>
                  <a:ext uri="{FF2B5EF4-FFF2-40B4-BE49-F238E27FC236}">
                    <a16:creationId xmlns:a16="http://schemas.microsoft.com/office/drawing/2014/main" id="{4904D48F-8DD6-479F-A112-A0788C979E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99188" y="4800600"/>
                <a:ext cx="374650" cy="169862"/>
              </a:xfrm>
              <a:custGeom>
                <a:avLst/>
                <a:gdLst>
                  <a:gd name="T0" fmla="*/ 62 w 97"/>
                  <a:gd name="T1" fmla="*/ 44 h 44"/>
                  <a:gd name="T2" fmla="*/ 10 w 97"/>
                  <a:gd name="T3" fmla="*/ 44 h 44"/>
                  <a:gd name="T4" fmla="*/ 0 w 97"/>
                  <a:gd name="T5" fmla="*/ 34 h 44"/>
                  <a:gd name="T6" fmla="*/ 10 w 97"/>
                  <a:gd name="T7" fmla="*/ 24 h 44"/>
                  <a:gd name="T8" fmla="*/ 55 w 97"/>
                  <a:gd name="T9" fmla="*/ 24 h 44"/>
                  <a:gd name="T10" fmla="*/ 56 w 97"/>
                  <a:gd name="T11" fmla="*/ 23 h 44"/>
                  <a:gd name="T12" fmla="*/ 79 w 97"/>
                  <a:gd name="T13" fmla="*/ 4 h 44"/>
                  <a:gd name="T14" fmla="*/ 93 w 97"/>
                  <a:gd name="T15" fmla="*/ 4 h 44"/>
                  <a:gd name="T16" fmla="*/ 93 w 97"/>
                  <a:gd name="T17" fmla="*/ 18 h 44"/>
                  <a:gd name="T18" fmla="*/ 66 w 97"/>
                  <a:gd name="T19" fmla="*/ 42 h 44"/>
                  <a:gd name="T20" fmla="*/ 62 w 97"/>
                  <a:gd name="T21" fmla="*/ 44 h 44"/>
                  <a:gd name="T22" fmla="*/ 10 w 97"/>
                  <a:gd name="T23" fmla="*/ 28 h 44"/>
                  <a:gd name="T24" fmla="*/ 4 w 97"/>
                  <a:gd name="T25" fmla="*/ 34 h 44"/>
                  <a:gd name="T26" fmla="*/ 10 w 97"/>
                  <a:gd name="T27" fmla="*/ 40 h 44"/>
                  <a:gd name="T28" fmla="*/ 62 w 97"/>
                  <a:gd name="T29" fmla="*/ 40 h 44"/>
                  <a:gd name="T30" fmla="*/ 63 w 97"/>
                  <a:gd name="T31" fmla="*/ 39 h 44"/>
                  <a:gd name="T32" fmla="*/ 90 w 97"/>
                  <a:gd name="T33" fmla="*/ 15 h 44"/>
                  <a:gd name="T34" fmla="*/ 90 w 97"/>
                  <a:gd name="T35" fmla="*/ 7 h 44"/>
                  <a:gd name="T36" fmla="*/ 81 w 97"/>
                  <a:gd name="T37" fmla="*/ 7 h 44"/>
                  <a:gd name="T38" fmla="*/ 59 w 97"/>
                  <a:gd name="T39" fmla="*/ 26 h 44"/>
                  <a:gd name="T40" fmla="*/ 55 w 97"/>
                  <a:gd name="T41" fmla="*/ 28 h 44"/>
                  <a:gd name="T42" fmla="*/ 10 w 97"/>
                  <a:gd name="T43" fmla="*/ 28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97" h="44">
                    <a:moveTo>
                      <a:pt x="62" y="44"/>
                    </a:moveTo>
                    <a:cubicBezTo>
                      <a:pt x="10" y="44"/>
                      <a:pt x="10" y="44"/>
                      <a:pt x="10" y="44"/>
                    </a:cubicBezTo>
                    <a:cubicBezTo>
                      <a:pt x="5" y="44"/>
                      <a:pt x="0" y="40"/>
                      <a:pt x="0" y="34"/>
                    </a:cubicBezTo>
                    <a:cubicBezTo>
                      <a:pt x="0" y="28"/>
                      <a:pt x="5" y="24"/>
                      <a:pt x="10" y="24"/>
                    </a:cubicBezTo>
                    <a:cubicBezTo>
                      <a:pt x="55" y="24"/>
                      <a:pt x="55" y="24"/>
                      <a:pt x="55" y="24"/>
                    </a:cubicBezTo>
                    <a:cubicBezTo>
                      <a:pt x="55" y="24"/>
                      <a:pt x="56" y="24"/>
                      <a:pt x="56" y="23"/>
                    </a:cubicBezTo>
                    <a:cubicBezTo>
                      <a:pt x="79" y="4"/>
                      <a:pt x="79" y="4"/>
                      <a:pt x="79" y="4"/>
                    </a:cubicBezTo>
                    <a:cubicBezTo>
                      <a:pt x="82" y="0"/>
                      <a:pt x="89" y="0"/>
                      <a:pt x="93" y="4"/>
                    </a:cubicBezTo>
                    <a:cubicBezTo>
                      <a:pt x="97" y="8"/>
                      <a:pt x="97" y="14"/>
                      <a:pt x="93" y="18"/>
                    </a:cubicBezTo>
                    <a:cubicBezTo>
                      <a:pt x="66" y="42"/>
                      <a:pt x="66" y="42"/>
                      <a:pt x="66" y="42"/>
                    </a:cubicBezTo>
                    <a:cubicBezTo>
                      <a:pt x="65" y="43"/>
                      <a:pt x="63" y="44"/>
                      <a:pt x="62" y="44"/>
                    </a:cubicBezTo>
                    <a:close/>
                    <a:moveTo>
                      <a:pt x="10" y="28"/>
                    </a:moveTo>
                    <a:cubicBezTo>
                      <a:pt x="7" y="28"/>
                      <a:pt x="4" y="31"/>
                      <a:pt x="4" y="34"/>
                    </a:cubicBezTo>
                    <a:cubicBezTo>
                      <a:pt x="4" y="37"/>
                      <a:pt x="7" y="40"/>
                      <a:pt x="10" y="40"/>
                    </a:cubicBezTo>
                    <a:cubicBezTo>
                      <a:pt x="62" y="40"/>
                      <a:pt x="62" y="40"/>
                      <a:pt x="62" y="40"/>
                    </a:cubicBezTo>
                    <a:cubicBezTo>
                      <a:pt x="62" y="40"/>
                      <a:pt x="63" y="40"/>
                      <a:pt x="63" y="39"/>
                    </a:cubicBezTo>
                    <a:cubicBezTo>
                      <a:pt x="90" y="15"/>
                      <a:pt x="90" y="15"/>
                      <a:pt x="90" y="15"/>
                    </a:cubicBezTo>
                    <a:cubicBezTo>
                      <a:pt x="93" y="13"/>
                      <a:pt x="93" y="9"/>
                      <a:pt x="90" y="7"/>
                    </a:cubicBezTo>
                    <a:cubicBezTo>
                      <a:pt x="88" y="4"/>
                      <a:pt x="84" y="4"/>
                      <a:pt x="81" y="7"/>
                    </a:cubicBezTo>
                    <a:cubicBezTo>
                      <a:pt x="59" y="26"/>
                      <a:pt x="59" y="26"/>
                      <a:pt x="59" y="26"/>
                    </a:cubicBezTo>
                    <a:cubicBezTo>
                      <a:pt x="58" y="27"/>
                      <a:pt x="57" y="28"/>
                      <a:pt x="55" y="28"/>
                    </a:cubicBezTo>
                    <a:lnTo>
                      <a:pt x="10" y="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1" name="Freeform 45">
                <a:extLst>
                  <a:ext uri="{FF2B5EF4-FFF2-40B4-BE49-F238E27FC236}">
                    <a16:creationId xmlns:a16="http://schemas.microsoft.com/office/drawing/2014/main" id="{832D8CBB-22C4-477E-8C55-6CE7EFE48D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1101" y="4954588"/>
                <a:ext cx="61913" cy="77787"/>
              </a:xfrm>
              <a:custGeom>
                <a:avLst/>
                <a:gdLst>
                  <a:gd name="T0" fmla="*/ 2 w 16"/>
                  <a:gd name="T1" fmla="*/ 20 h 20"/>
                  <a:gd name="T2" fmla="*/ 1 w 16"/>
                  <a:gd name="T3" fmla="*/ 20 h 20"/>
                  <a:gd name="T4" fmla="*/ 0 w 16"/>
                  <a:gd name="T5" fmla="*/ 17 h 20"/>
                  <a:gd name="T6" fmla="*/ 12 w 16"/>
                  <a:gd name="T7" fmla="*/ 1 h 20"/>
                  <a:gd name="T8" fmla="*/ 15 w 16"/>
                  <a:gd name="T9" fmla="*/ 0 h 20"/>
                  <a:gd name="T10" fmla="*/ 16 w 16"/>
                  <a:gd name="T11" fmla="*/ 3 h 20"/>
                  <a:gd name="T12" fmla="*/ 4 w 16"/>
                  <a:gd name="T13" fmla="*/ 19 h 20"/>
                  <a:gd name="T14" fmla="*/ 2 w 16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0">
                    <a:moveTo>
                      <a:pt x="2" y="20"/>
                    </a:moveTo>
                    <a:cubicBezTo>
                      <a:pt x="2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0" y="17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4" y="0"/>
                      <a:pt x="15" y="0"/>
                    </a:cubicBezTo>
                    <a:cubicBezTo>
                      <a:pt x="16" y="1"/>
                      <a:pt x="16" y="2"/>
                      <a:pt x="16" y="3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3" y="20"/>
                      <a:pt x="3" y="20"/>
                      <a:pt x="2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2" name="Freeform 46">
                <a:extLst>
                  <a:ext uri="{FF2B5EF4-FFF2-40B4-BE49-F238E27FC236}">
                    <a16:creationId xmlns:a16="http://schemas.microsoft.com/office/drawing/2014/main" id="{AFE4ACF5-B7B2-4A13-9604-5182681AC4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0801" y="4954588"/>
                <a:ext cx="61913" cy="77787"/>
              </a:xfrm>
              <a:custGeom>
                <a:avLst/>
                <a:gdLst>
                  <a:gd name="T0" fmla="*/ 14 w 16"/>
                  <a:gd name="T1" fmla="*/ 20 h 20"/>
                  <a:gd name="T2" fmla="*/ 12 w 16"/>
                  <a:gd name="T3" fmla="*/ 19 h 20"/>
                  <a:gd name="T4" fmla="*/ 0 w 16"/>
                  <a:gd name="T5" fmla="*/ 3 h 20"/>
                  <a:gd name="T6" fmla="*/ 1 w 16"/>
                  <a:gd name="T7" fmla="*/ 0 h 20"/>
                  <a:gd name="T8" fmla="*/ 3 w 16"/>
                  <a:gd name="T9" fmla="*/ 1 h 20"/>
                  <a:gd name="T10" fmla="*/ 15 w 16"/>
                  <a:gd name="T11" fmla="*/ 17 h 20"/>
                  <a:gd name="T12" fmla="*/ 15 w 16"/>
                  <a:gd name="T13" fmla="*/ 20 h 20"/>
                  <a:gd name="T14" fmla="*/ 14 w 16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0">
                    <a:moveTo>
                      <a:pt x="14" y="20"/>
                    </a:moveTo>
                    <a:cubicBezTo>
                      <a:pt x="13" y="20"/>
                      <a:pt x="13" y="20"/>
                      <a:pt x="12" y="19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16" y="18"/>
                      <a:pt x="16" y="19"/>
                      <a:pt x="15" y="20"/>
                    </a:cubicBezTo>
                    <a:cubicBezTo>
                      <a:pt x="15" y="20"/>
                      <a:pt x="14" y="20"/>
                      <a:pt x="14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3" name="Freeform 47">
                <a:extLst>
                  <a:ext uri="{FF2B5EF4-FFF2-40B4-BE49-F238E27FC236}">
                    <a16:creationId xmlns:a16="http://schemas.microsoft.com/office/drawing/2014/main" id="{7D2EEA15-0D80-4318-9BFD-05BF4942A9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2851" y="4668838"/>
                <a:ext cx="14288" cy="30162"/>
              </a:xfrm>
              <a:custGeom>
                <a:avLst/>
                <a:gdLst>
                  <a:gd name="T0" fmla="*/ 2 w 4"/>
                  <a:gd name="T1" fmla="*/ 8 h 8"/>
                  <a:gd name="T2" fmla="*/ 0 w 4"/>
                  <a:gd name="T3" fmla="*/ 6 h 8"/>
                  <a:gd name="T4" fmla="*/ 0 w 4"/>
                  <a:gd name="T5" fmla="*/ 2 h 8"/>
                  <a:gd name="T6" fmla="*/ 2 w 4"/>
                  <a:gd name="T7" fmla="*/ 0 h 8"/>
                  <a:gd name="T8" fmla="*/ 4 w 4"/>
                  <a:gd name="T9" fmla="*/ 2 h 8"/>
                  <a:gd name="T10" fmla="*/ 4 w 4"/>
                  <a:gd name="T11" fmla="*/ 6 h 8"/>
                  <a:gd name="T12" fmla="*/ 2 w 4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2" y="8"/>
                    </a:moveTo>
                    <a:cubicBezTo>
                      <a:pt x="1" y="8"/>
                      <a:pt x="0" y="7"/>
                      <a:pt x="0" y="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4" y="1"/>
                      <a:pt x="4" y="2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7"/>
                      <a:pt x="3" y="8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4" name="Freeform 48">
                <a:extLst>
                  <a:ext uri="{FF2B5EF4-FFF2-40B4-BE49-F238E27FC236}">
                    <a16:creationId xmlns:a16="http://schemas.microsoft.com/office/drawing/2014/main" id="{BB66DB5B-20AB-4243-AECC-C0F51181AD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8888" y="4691063"/>
                <a:ext cx="30163" cy="26987"/>
              </a:xfrm>
              <a:custGeom>
                <a:avLst/>
                <a:gdLst>
                  <a:gd name="T0" fmla="*/ 3 w 8"/>
                  <a:gd name="T1" fmla="*/ 7 h 7"/>
                  <a:gd name="T2" fmla="*/ 1 w 8"/>
                  <a:gd name="T3" fmla="*/ 7 h 7"/>
                  <a:gd name="T4" fmla="*/ 1 w 8"/>
                  <a:gd name="T5" fmla="*/ 4 h 7"/>
                  <a:gd name="T6" fmla="*/ 4 w 8"/>
                  <a:gd name="T7" fmla="*/ 1 h 7"/>
                  <a:gd name="T8" fmla="*/ 7 w 8"/>
                  <a:gd name="T9" fmla="*/ 1 h 7"/>
                  <a:gd name="T10" fmla="*/ 7 w 8"/>
                  <a:gd name="T11" fmla="*/ 4 h 7"/>
                  <a:gd name="T12" fmla="*/ 4 w 8"/>
                  <a:gd name="T13" fmla="*/ 7 h 7"/>
                  <a:gd name="T14" fmla="*/ 3 w 8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7">
                    <a:moveTo>
                      <a:pt x="3" y="7"/>
                    </a:moveTo>
                    <a:cubicBezTo>
                      <a:pt x="2" y="7"/>
                      <a:pt x="2" y="7"/>
                      <a:pt x="1" y="7"/>
                    </a:cubicBezTo>
                    <a:cubicBezTo>
                      <a:pt x="0" y="6"/>
                      <a:pt x="0" y="5"/>
                      <a:pt x="1" y="4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5" y="0"/>
                      <a:pt x="6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7"/>
                      <a:pt x="3" y="7"/>
                      <a:pt x="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5" name="Freeform 49">
                <a:extLst>
                  <a:ext uri="{FF2B5EF4-FFF2-40B4-BE49-F238E27FC236}">
                    <a16:creationId xmlns:a16="http://schemas.microsoft.com/office/drawing/2014/main" id="{70F62579-6367-4D18-A7A8-30E1C09C71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1113" y="4752975"/>
                <a:ext cx="31750" cy="15875"/>
              </a:xfrm>
              <a:custGeom>
                <a:avLst/>
                <a:gdLst>
                  <a:gd name="T0" fmla="*/ 6 w 8"/>
                  <a:gd name="T1" fmla="*/ 4 h 4"/>
                  <a:gd name="T2" fmla="*/ 2 w 8"/>
                  <a:gd name="T3" fmla="*/ 4 h 4"/>
                  <a:gd name="T4" fmla="*/ 0 w 8"/>
                  <a:gd name="T5" fmla="*/ 2 h 4"/>
                  <a:gd name="T6" fmla="*/ 2 w 8"/>
                  <a:gd name="T7" fmla="*/ 0 h 4"/>
                  <a:gd name="T8" fmla="*/ 6 w 8"/>
                  <a:gd name="T9" fmla="*/ 0 h 4"/>
                  <a:gd name="T10" fmla="*/ 8 w 8"/>
                  <a:gd name="T11" fmla="*/ 2 h 4"/>
                  <a:gd name="T12" fmla="*/ 6 w 8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6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3"/>
                      <a:pt x="7" y="4"/>
                      <a:pt x="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6" name="Freeform 50">
                <a:extLst>
                  <a:ext uri="{FF2B5EF4-FFF2-40B4-BE49-F238E27FC236}">
                    <a16:creationId xmlns:a16="http://schemas.microsoft.com/office/drawing/2014/main" id="{A27A4B66-99F6-4CD8-8374-1618DE100A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8888" y="4803775"/>
                <a:ext cx="30163" cy="26987"/>
              </a:xfrm>
              <a:custGeom>
                <a:avLst/>
                <a:gdLst>
                  <a:gd name="T0" fmla="*/ 6 w 8"/>
                  <a:gd name="T1" fmla="*/ 7 h 7"/>
                  <a:gd name="T2" fmla="*/ 4 w 8"/>
                  <a:gd name="T3" fmla="*/ 6 h 7"/>
                  <a:gd name="T4" fmla="*/ 1 w 8"/>
                  <a:gd name="T5" fmla="*/ 3 h 7"/>
                  <a:gd name="T6" fmla="*/ 1 w 8"/>
                  <a:gd name="T7" fmla="*/ 0 h 7"/>
                  <a:gd name="T8" fmla="*/ 4 w 8"/>
                  <a:gd name="T9" fmla="*/ 0 h 7"/>
                  <a:gd name="T10" fmla="*/ 7 w 8"/>
                  <a:gd name="T11" fmla="*/ 3 h 7"/>
                  <a:gd name="T12" fmla="*/ 7 w 8"/>
                  <a:gd name="T13" fmla="*/ 6 h 7"/>
                  <a:gd name="T14" fmla="*/ 6 w 8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7">
                    <a:moveTo>
                      <a:pt x="6" y="7"/>
                    </a:moveTo>
                    <a:cubicBezTo>
                      <a:pt x="5" y="7"/>
                      <a:pt x="4" y="6"/>
                      <a:pt x="4" y="6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3" y="0"/>
                      <a:pt x="4" y="0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8" y="4"/>
                      <a:pt x="8" y="5"/>
                      <a:pt x="7" y="6"/>
                    </a:cubicBezTo>
                    <a:cubicBezTo>
                      <a:pt x="7" y="6"/>
                      <a:pt x="6" y="7"/>
                      <a:pt x="6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7" name="Freeform 51">
                <a:extLst>
                  <a:ext uri="{FF2B5EF4-FFF2-40B4-BE49-F238E27FC236}">
                    <a16:creationId xmlns:a16="http://schemas.microsoft.com/office/drawing/2014/main" id="{360C1F42-B821-4F91-94C1-F1E93DF073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2851" y="4822825"/>
                <a:ext cx="14288" cy="31750"/>
              </a:xfrm>
              <a:custGeom>
                <a:avLst/>
                <a:gdLst>
                  <a:gd name="T0" fmla="*/ 2 w 4"/>
                  <a:gd name="T1" fmla="*/ 8 h 8"/>
                  <a:gd name="T2" fmla="*/ 0 w 4"/>
                  <a:gd name="T3" fmla="*/ 6 h 8"/>
                  <a:gd name="T4" fmla="*/ 0 w 4"/>
                  <a:gd name="T5" fmla="*/ 2 h 8"/>
                  <a:gd name="T6" fmla="*/ 2 w 4"/>
                  <a:gd name="T7" fmla="*/ 0 h 8"/>
                  <a:gd name="T8" fmla="*/ 4 w 4"/>
                  <a:gd name="T9" fmla="*/ 2 h 8"/>
                  <a:gd name="T10" fmla="*/ 4 w 4"/>
                  <a:gd name="T11" fmla="*/ 6 h 8"/>
                  <a:gd name="T12" fmla="*/ 2 w 4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2" y="8"/>
                    </a:moveTo>
                    <a:cubicBezTo>
                      <a:pt x="1" y="8"/>
                      <a:pt x="0" y="7"/>
                      <a:pt x="0" y="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4" y="1"/>
                      <a:pt x="4" y="2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7"/>
                      <a:pt x="3" y="8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8" name="Freeform 52">
                <a:extLst>
                  <a:ext uri="{FF2B5EF4-FFF2-40B4-BE49-F238E27FC236}">
                    <a16:creationId xmlns:a16="http://schemas.microsoft.com/office/drawing/2014/main" id="{21CA0297-297F-4B4E-9FF5-75CD4BC730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0938" y="4803775"/>
                <a:ext cx="26988" cy="26987"/>
              </a:xfrm>
              <a:custGeom>
                <a:avLst/>
                <a:gdLst>
                  <a:gd name="T0" fmla="*/ 2 w 7"/>
                  <a:gd name="T1" fmla="*/ 7 h 7"/>
                  <a:gd name="T2" fmla="*/ 1 w 7"/>
                  <a:gd name="T3" fmla="*/ 6 h 7"/>
                  <a:gd name="T4" fmla="*/ 1 w 7"/>
                  <a:gd name="T5" fmla="*/ 3 h 7"/>
                  <a:gd name="T6" fmla="*/ 4 w 7"/>
                  <a:gd name="T7" fmla="*/ 0 h 7"/>
                  <a:gd name="T8" fmla="*/ 7 w 7"/>
                  <a:gd name="T9" fmla="*/ 0 h 7"/>
                  <a:gd name="T10" fmla="*/ 7 w 7"/>
                  <a:gd name="T11" fmla="*/ 3 h 7"/>
                  <a:gd name="T12" fmla="*/ 4 w 7"/>
                  <a:gd name="T13" fmla="*/ 6 h 7"/>
                  <a:gd name="T14" fmla="*/ 2 w 7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7">
                    <a:moveTo>
                      <a:pt x="2" y="7"/>
                    </a:moveTo>
                    <a:cubicBezTo>
                      <a:pt x="2" y="7"/>
                      <a:pt x="1" y="6"/>
                      <a:pt x="1" y="6"/>
                    </a:cubicBezTo>
                    <a:cubicBezTo>
                      <a:pt x="0" y="5"/>
                      <a:pt x="0" y="4"/>
                      <a:pt x="1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6" y="0"/>
                      <a:pt x="7" y="0"/>
                    </a:cubicBezTo>
                    <a:cubicBezTo>
                      <a:pt x="7" y="1"/>
                      <a:pt x="7" y="2"/>
                      <a:pt x="7" y="3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6"/>
                      <a:pt x="3" y="7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9" name="Freeform 53">
                <a:extLst>
                  <a:ext uri="{FF2B5EF4-FFF2-40B4-BE49-F238E27FC236}">
                    <a16:creationId xmlns:a16="http://schemas.microsoft.com/office/drawing/2014/main" id="{6235B764-3DF1-4B8E-94D2-45057C61E3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7126" y="4752975"/>
                <a:ext cx="30163" cy="15875"/>
              </a:xfrm>
              <a:custGeom>
                <a:avLst/>
                <a:gdLst>
                  <a:gd name="T0" fmla="*/ 6 w 8"/>
                  <a:gd name="T1" fmla="*/ 4 h 4"/>
                  <a:gd name="T2" fmla="*/ 2 w 8"/>
                  <a:gd name="T3" fmla="*/ 4 h 4"/>
                  <a:gd name="T4" fmla="*/ 0 w 8"/>
                  <a:gd name="T5" fmla="*/ 2 h 4"/>
                  <a:gd name="T6" fmla="*/ 2 w 8"/>
                  <a:gd name="T7" fmla="*/ 0 h 4"/>
                  <a:gd name="T8" fmla="*/ 6 w 8"/>
                  <a:gd name="T9" fmla="*/ 0 h 4"/>
                  <a:gd name="T10" fmla="*/ 8 w 8"/>
                  <a:gd name="T11" fmla="*/ 2 h 4"/>
                  <a:gd name="T12" fmla="*/ 6 w 8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6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3"/>
                      <a:pt x="7" y="4"/>
                      <a:pt x="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0" name="Freeform 54">
                <a:extLst>
                  <a:ext uri="{FF2B5EF4-FFF2-40B4-BE49-F238E27FC236}">
                    <a16:creationId xmlns:a16="http://schemas.microsoft.com/office/drawing/2014/main" id="{F780B82B-0A7E-40D5-8B8A-502B345E3B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0938" y="4691063"/>
                <a:ext cx="26988" cy="26987"/>
              </a:xfrm>
              <a:custGeom>
                <a:avLst/>
                <a:gdLst>
                  <a:gd name="T0" fmla="*/ 5 w 7"/>
                  <a:gd name="T1" fmla="*/ 7 h 7"/>
                  <a:gd name="T2" fmla="*/ 4 w 7"/>
                  <a:gd name="T3" fmla="*/ 7 h 7"/>
                  <a:gd name="T4" fmla="*/ 1 w 7"/>
                  <a:gd name="T5" fmla="*/ 4 h 7"/>
                  <a:gd name="T6" fmla="*/ 1 w 7"/>
                  <a:gd name="T7" fmla="*/ 1 h 7"/>
                  <a:gd name="T8" fmla="*/ 4 w 7"/>
                  <a:gd name="T9" fmla="*/ 1 h 7"/>
                  <a:gd name="T10" fmla="*/ 7 w 7"/>
                  <a:gd name="T11" fmla="*/ 4 h 7"/>
                  <a:gd name="T12" fmla="*/ 7 w 7"/>
                  <a:gd name="T13" fmla="*/ 7 h 7"/>
                  <a:gd name="T14" fmla="*/ 5 w 7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7">
                    <a:moveTo>
                      <a:pt x="5" y="7"/>
                    </a:moveTo>
                    <a:cubicBezTo>
                      <a:pt x="5" y="7"/>
                      <a:pt x="4" y="7"/>
                      <a:pt x="4" y="7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5"/>
                      <a:pt x="7" y="6"/>
                      <a:pt x="7" y="7"/>
                    </a:cubicBezTo>
                    <a:cubicBezTo>
                      <a:pt x="6" y="7"/>
                      <a:pt x="6" y="7"/>
                      <a:pt x="5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1" name="Freeform 55">
                <a:extLst>
                  <a:ext uri="{FF2B5EF4-FFF2-40B4-BE49-F238E27FC236}">
                    <a16:creationId xmlns:a16="http://schemas.microsoft.com/office/drawing/2014/main" id="{393BEF42-CBF7-41BB-AF1C-13AACAD065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3163" y="4714875"/>
                <a:ext cx="93663" cy="93662"/>
              </a:xfrm>
              <a:custGeom>
                <a:avLst/>
                <a:gdLst>
                  <a:gd name="T0" fmla="*/ 12 w 24"/>
                  <a:gd name="T1" fmla="*/ 24 h 24"/>
                  <a:gd name="T2" fmla="*/ 0 w 24"/>
                  <a:gd name="T3" fmla="*/ 12 h 24"/>
                  <a:gd name="T4" fmla="*/ 12 w 24"/>
                  <a:gd name="T5" fmla="*/ 0 h 24"/>
                  <a:gd name="T6" fmla="*/ 24 w 24"/>
                  <a:gd name="T7" fmla="*/ 12 h 24"/>
                  <a:gd name="T8" fmla="*/ 12 w 24"/>
                  <a:gd name="T9" fmla="*/ 24 h 24"/>
                  <a:gd name="T10" fmla="*/ 12 w 24"/>
                  <a:gd name="T11" fmla="*/ 4 h 24"/>
                  <a:gd name="T12" fmla="*/ 4 w 24"/>
                  <a:gd name="T13" fmla="*/ 12 h 24"/>
                  <a:gd name="T14" fmla="*/ 12 w 24"/>
                  <a:gd name="T15" fmla="*/ 20 h 24"/>
                  <a:gd name="T16" fmla="*/ 20 w 24"/>
                  <a:gd name="T17" fmla="*/ 12 h 24"/>
                  <a:gd name="T18" fmla="*/ 12 w 24"/>
                  <a:gd name="T19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24"/>
                    </a:moveTo>
                    <a:cubicBezTo>
                      <a:pt x="5" y="24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19"/>
                      <a:pt x="19" y="24"/>
                      <a:pt x="12" y="24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20"/>
                      <a:pt x="12" y="20"/>
                    </a:cubicBezTo>
                    <a:cubicBezTo>
                      <a:pt x="16" y="20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708" name="Group 1707">
            <a:extLst>
              <a:ext uri="{FF2B5EF4-FFF2-40B4-BE49-F238E27FC236}">
                <a16:creationId xmlns:a16="http://schemas.microsoft.com/office/drawing/2014/main" id="{147F7FEF-3677-4A09-B40D-10BC1BD7CAE7}"/>
              </a:ext>
            </a:extLst>
          </p:cNvPr>
          <p:cNvGrpSpPr/>
          <p:nvPr/>
        </p:nvGrpSpPr>
        <p:grpSpPr>
          <a:xfrm>
            <a:off x="4914798" y="1275204"/>
            <a:ext cx="5698576" cy="4764792"/>
            <a:chOff x="2616200" y="2406651"/>
            <a:chExt cx="2170113" cy="1814512"/>
          </a:xfrm>
          <a:solidFill>
            <a:srgbClr val="BFBFBF"/>
          </a:solidFill>
        </p:grpSpPr>
        <p:sp>
          <p:nvSpPr>
            <p:cNvPr id="1710" name="Freeform 5">
              <a:extLst>
                <a:ext uri="{FF2B5EF4-FFF2-40B4-BE49-F238E27FC236}">
                  <a16:creationId xmlns:a16="http://schemas.microsoft.com/office/drawing/2014/main" id="{94EEC13B-2671-4AD0-AA4E-B701C7C0A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438" y="3563938"/>
              <a:ext cx="125413" cy="149225"/>
            </a:xfrm>
            <a:custGeom>
              <a:avLst/>
              <a:gdLst>
                <a:gd name="T0" fmla="*/ 28 w 42"/>
                <a:gd name="T1" fmla="*/ 46 h 50"/>
                <a:gd name="T2" fmla="*/ 31 w 42"/>
                <a:gd name="T3" fmla="*/ 45 h 50"/>
                <a:gd name="T4" fmla="*/ 34 w 42"/>
                <a:gd name="T5" fmla="*/ 40 h 50"/>
                <a:gd name="T6" fmla="*/ 37 w 42"/>
                <a:gd name="T7" fmla="*/ 34 h 50"/>
                <a:gd name="T8" fmla="*/ 39 w 42"/>
                <a:gd name="T9" fmla="*/ 34 h 50"/>
                <a:gd name="T10" fmla="*/ 42 w 42"/>
                <a:gd name="T11" fmla="*/ 29 h 50"/>
                <a:gd name="T12" fmla="*/ 41 w 42"/>
                <a:gd name="T13" fmla="*/ 21 h 50"/>
                <a:gd name="T14" fmla="*/ 37 w 42"/>
                <a:gd name="T15" fmla="*/ 17 h 50"/>
                <a:gd name="T16" fmla="*/ 35 w 42"/>
                <a:gd name="T17" fmla="*/ 17 h 50"/>
                <a:gd name="T18" fmla="*/ 31 w 42"/>
                <a:gd name="T19" fmla="*/ 14 h 50"/>
                <a:gd name="T20" fmla="*/ 27 w 42"/>
                <a:gd name="T21" fmla="*/ 3 h 50"/>
                <a:gd name="T22" fmla="*/ 23 w 42"/>
                <a:gd name="T23" fmla="*/ 0 h 50"/>
                <a:gd name="T24" fmla="*/ 5 w 42"/>
                <a:gd name="T25" fmla="*/ 0 h 50"/>
                <a:gd name="T26" fmla="*/ 0 w 42"/>
                <a:gd name="T27" fmla="*/ 5 h 50"/>
                <a:gd name="T28" fmla="*/ 0 w 42"/>
                <a:gd name="T29" fmla="*/ 8 h 50"/>
                <a:gd name="T30" fmla="*/ 1 w 42"/>
                <a:gd name="T31" fmla="*/ 8 h 50"/>
                <a:gd name="T32" fmla="*/ 8 w 42"/>
                <a:gd name="T33" fmla="*/ 12 h 50"/>
                <a:gd name="T34" fmla="*/ 8 w 42"/>
                <a:gd name="T35" fmla="*/ 14 h 50"/>
                <a:gd name="T36" fmla="*/ 13 w 42"/>
                <a:gd name="T37" fmla="*/ 19 h 50"/>
                <a:gd name="T38" fmla="*/ 16 w 42"/>
                <a:gd name="T39" fmla="*/ 20 h 50"/>
                <a:gd name="T40" fmla="*/ 20 w 42"/>
                <a:gd name="T41" fmla="*/ 23 h 50"/>
                <a:gd name="T42" fmla="*/ 28 w 42"/>
                <a:gd name="T43" fmla="*/ 40 h 50"/>
                <a:gd name="T44" fmla="*/ 28 w 42"/>
                <a:gd name="T45" fmla="*/ 42 h 50"/>
                <a:gd name="T46" fmla="*/ 28 w 42"/>
                <a:gd name="T47" fmla="*/ 50 h 50"/>
                <a:gd name="T48" fmla="*/ 28 w 42"/>
                <a:gd name="T49" fmla="*/ 50 h 50"/>
                <a:gd name="T50" fmla="*/ 28 w 42"/>
                <a:gd name="T51" fmla="*/ 50 h 50"/>
                <a:gd name="T52" fmla="*/ 28 w 42"/>
                <a:gd name="T53" fmla="*/ 4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2" h="50">
                  <a:moveTo>
                    <a:pt x="28" y="46"/>
                  </a:moveTo>
                  <a:cubicBezTo>
                    <a:pt x="31" y="45"/>
                    <a:pt x="31" y="45"/>
                    <a:pt x="31" y="45"/>
                  </a:cubicBezTo>
                  <a:cubicBezTo>
                    <a:pt x="34" y="45"/>
                    <a:pt x="35" y="42"/>
                    <a:pt x="34" y="40"/>
                  </a:cubicBezTo>
                  <a:cubicBezTo>
                    <a:pt x="33" y="38"/>
                    <a:pt x="35" y="35"/>
                    <a:pt x="37" y="34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41" y="33"/>
                    <a:pt x="42" y="31"/>
                    <a:pt x="42" y="29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18"/>
                    <a:pt x="39" y="17"/>
                    <a:pt x="37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3" y="17"/>
                    <a:pt x="32" y="16"/>
                    <a:pt x="31" y="14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1"/>
                    <a:pt x="24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4" y="8"/>
                    <a:pt x="7" y="10"/>
                    <a:pt x="8" y="12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7"/>
                    <a:pt x="10" y="18"/>
                    <a:pt x="13" y="19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8" y="20"/>
                    <a:pt x="19" y="21"/>
                    <a:pt x="20" y="23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1"/>
                    <a:pt x="28" y="41"/>
                    <a:pt x="28" y="4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lnTo>
                    <a:pt x="28" y="4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1" name="Freeform 6">
              <a:extLst>
                <a:ext uri="{FF2B5EF4-FFF2-40B4-BE49-F238E27FC236}">
                  <a16:creationId xmlns:a16="http://schemas.microsoft.com/office/drawing/2014/main" id="{DE2FD500-0868-497D-98E2-D5A6320D5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3650" y="4048126"/>
              <a:ext cx="96838" cy="61913"/>
            </a:xfrm>
            <a:custGeom>
              <a:avLst/>
              <a:gdLst>
                <a:gd name="T0" fmla="*/ 29 w 32"/>
                <a:gd name="T1" fmla="*/ 1 h 21"/>
                <a:gd name="T2" fmla="*/ 17 w 32"/>
                <a:gd name="T3" fmla="*/ 4 h 21"/>
                <a:gd name="T4" fmla="*/ 3 w 32"/>
                <a:gd name="T5" fmla="*/ 1 h 21"/>
                <a:gd name="T6" fmla="*/ 0 w 32"/>
                <a:gd name="T7" fmla="*/ 5 h 21"/>
                <a:gd name="T8" fmla="*/ 3 w 32"/>
                <a:gd name="T9" fmla="*/ 9 h 21"/>
                <a:gd name="T10" fmla="*/ 15 w 32"/>
                <a:gd name="T11" fmla="*/ 13 h 21"/>
                <a:gd name="T12" fmla="*/ 25 w 32"/>
                <a:gd name="T13" fmla="*/ 20 h 21"/>
                <a:gd name="T14" fmla="*/ 30 w 32"/>
                <a:gd name="T15" fmla="*/ 15 h 21"/>
                <a:gd name="T16" fmla="*/ 29 w 32"/>
                <a:gd name="T17" fmla="*/ 8 h 21"/>
                <a:gd name="T18" fmla="*/ 32 w 32"/>
                <a:gd name="T19" fmla="*/ 5 h 21"/>
                <a:gd name="T20" fmla="*/ 29 w 32"/>
                <a:gd name="T21" fmla="*/ 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21">
                  <a:moveTo>
                    <a:pt x="29" y="1"/>
                  </a:moveTo>
                  <a:cubicBezTo>
                    <a:pt x="26" y="1"/>
                    <a:pt x="23" y="4"/>
                    <a:pt x="17" y="4"/>
                  </a:cubicBezTo>
                  <a:cubicBezTo>
                    <a:pt x="10" y="4"/>
                    <a:pt x="6" y="0"/>
                    <a:pt x="3" y="1"/>
                  </a:cubicBezTo>
                  <a:cubicBezTo>
                    <a:pt x="1" y="2"/>
                    <a:pt x="0" y="2"/>
                    <a:pt x="0" y="5"/>
                  </a:cubicBezTo>
                  <a:cubicBezTo>
                    <a:pt x="0" y="7"/>
                    <a:pt x="0" y="9"/>
                    <a:pt x="3" y="9"/>
                  </a:cubicBezTo>
                  <a:cubicBezTo>
                    <a:pt x="6" y="10"/>
                    <a:pt x="13" y="11"/>
                    <a:pt x="15" y="13"/>
                  </a:cubicBezTo>
                  <a:cubicBezTo>
                    <a:pt x="17" y="15"/>
                    <a:pt x="22" y="20"/>
                    <a:pt x="25" y="20"/>
                  </a:cubicBezTo>
                  <a:cubicBezTo>
                    <a:pt x="29" y="21"/>
                    <a:pt x="30" y="19"/>
                    <a:pt x="30" y="15"/>
                  </a:cubicBezTo>
                  <a:cubicBezTo>
                    <a:pt x="30" y="11"/>
                    <a:pt x="26" y="9"/>
                    <a:pt x="29" y="8"/>
                  </a:cubicBezTo>
                  <a:cubicBezTo>
                    <a:pt x="29" y="8"/>
                    <a:pt x="32" y="7"/>
                    <a:pt x="32" y="5"/>
                  </a:cubicBezTo>
                  <a:cubicBezTo>
                    <a:pt x="32" y="3"/>
                    <a:pt x="32" y="0"/>
                    <a:pt x="29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2" name="Freeform 7">
              <a:extLst>
                <a:ext uri="{FF2B5EF4-FFF2-40B4-BE49-F238E27FC236}">
                  <a16:creationId xmlns:a16="http://schemas.microsoft.com/office/drawing/2014/main" id="{751CEF82-3AD3-41E3-9676-656BE1A4E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800" y="4133851"/>
              <a:ext cx="20638" cy="20638"/>
            </a:xfrm>
            <a:custGeom>
              <a:avLst/>
              <a:gdLst>
                <a:gd name="T0" fmla="*/ 6 w 7"/>
                <a:gd name="T1" fmla="*/ 5 h 7"/>
                <a:gd name="T2" fmla="*/ 2 w 7"/>
                <a:gd name="T3" fmla="*/ 1 h 7"/>
                <a:gd name="T4" fmla="*/ 1 w 7"/>
                <a:gd name="T5" fmla="*/ 5 h 7"/>
                <a:gd name="T6" fmla="*/ 5 w 7"/>
                <a:gd name="T7" fmla="*/ 7 h 7"/>
                <a:gd name="T8" fmla="*/ 6 w 7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5"/>
                  </a:moveTo>
                  <a:cubicBezTo>
                    <a:pt x="6" y="5"/>
                    <a:pt x="4" y="0"/>
                    <a:pt x="2" y="1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2" y="6"/>
                    <a:pt x="4" y="7"/>
                    <a:pt x="5" y="7"/>
                  </a:cubicBezTo>
                  <a:cubicBezTo>
                    <a:pt x="6" y="6"/>
                    <a:pt x="7" y="6"/>
                    <a:pt x="6" y="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3" name="Freeform 8">
              <a:extLst>
                <a:ext uri="{FF2B5EF4-FFF2-40B4-BE49-F238E27FC236}">
                  <a16:creationId xmlns:a16="http://schemas.microsoft.com/office/drawing/2014/main" id="{58AF4E5D-E600-4859-86E4-43E6119828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2850" y="2528888"/>
              <a:ext cx="458788" cy="758825"/>
            </a:xfrm>
            <a:custGeom>
              <a:avLst/>
              <a:gdLst>
                <a:gd name="T0" fmla="*/ 81 w 153"/>
                <a:gd name="T1" fmla="*/ 124 h 254"/>
                <a:gd name="T2" fmla="*/ 110 w 153"/>
                <a:gd name="T3" fmla="*/ 106 h 254"/>
                <a:gd name="T4" fmla="*/ 126 w 153"/>
                <a:gd name="T5" fmla="*/ 70 h 254"/>
                <a:gd name="T6" fmla="*/ 150 w 153"/>
                <a:gd name="T7" fmla="*/ 62 h 254"/>
                <a:gd name="T8" fmla="*/ 152 w 153"/>
                <a:gd name="T9" fmla="*/ 53 h 254"/>
                <a:gd name="T10" fmla="*/ 153 w 153"/>
                <a:gd name="T11" fmla="*/ 43 h 254"/>
                <a:gd name="T12" fmla="*/ 148 w 153"/>
                <a:gd name="T13" fmla="*/ 21 h 254"/>
                <a:gd name="T14" fmla="*/ 131 w 153"/>
                <a:gd name="T15" fmla="*/ 12 h 254"/>
                <a:gd name="T16" fmla="*/ 119 w 153"/>
                <a:gd name="T17" fmla="*/ 1 h 254"/>
                <a:gd name="T18" fmla="*/ 115 w 153"/>
                <a:gd name="T19" fmla="*/ 12 h 254"/>
                <a:gd name="T20" fmla="*/ 106 w 153"/>
                <a:gd name="T21" fmla="*/ 8 h 254"/>
                <a:gd name="T22" fmla="*/ 99 w 153"/>
                <a:gd name="T23" fmla="*/ 4 h 254"/>
                <a:gd name="T24" fmla="*/ 95 w 153"/>
                <a:gd name="T25" fmla="*/ 12 h 254"/>
                <a:gd name="T26" fmla="*/ 85 w 153"/>
                <a:gd name="T27" fmla="*/ 16 h 254"/>
                <a:gd name="T28" fmla="*/ 70 w 153"/>
                <a:gd name="T29" fmla="*/ 29 h 254"/>
                <a:gd name="T30" fmla="*/ 69 w 153"/>
                <a:gd name="T31" fmla="*/ 41 h 254"/>
                <a:gd name="T32" fmla="*/ 55 w 153"/>
                <a:gd name="T33" fmla="*/ 56 h 254"/>
                <a:gd name="T34" fmla="*/ 49 w 153"/>
                <a:gd name="T35" fmla="*/ 57 h 254"/>
                <a:gd name="T36" fmla="*/ 48 w 153"/>
                <a:gd name="T37" fmla="*/ 69 h 254"/>
                <a:gd name="T38" fmla="*/ 45 w 153"/>
                <a:gd name="T39" fmla="*/ 89 h 254"/>
                <a:gd name="T40" fmla="*/ 46 w 153"/>
                <a:gd name="T41" fmla="*/ 94 h 254"/>
                <a:gd name="T42" fmla="*/ 29 w 153"/>
                <a:gd name="T43" fmla="*/ 104 h 254"/>
                <a:gd name="T44" fmla="*/ 16 w 153"/>
                <a:gd name="T45" fmla="*/ 139 h 254"/>
                <a:gd name="T46" fmla="*/ 22 w 153"/>
                <a:gd name="T47" fmla="*/ 146 h 254"/>
                <a:gd name="T48" fmla="*/ 23 w 153"/>
                <a:gd name="T49" fmla="*/ 151 h 254"/>
                <a:gd name="T50" fmla="*/ 15 w 153"/>
                <a:gd name="T51" fmla="*/ 155 h 254"/>
                <a:gd name="T52" fmla="*/ 20 w 153"/>
                <a:gd name="T53" fmla="*/ 160 h 254"/>
                <a:gd name="T54" fmla="*/ 24 w 153"/>
                <a:gd name="T55" fmla="*/ 167 h 254"/>
                <a:gd name="T56" fmla="*/ 17 w 153"/>
                <a:gd name="T57" fmla="*/ 175 h 254"/>
                <a:gd name="T58" fmla="*/ 13 w 153"/>
                <a:gd name="T59" fmla="*/ 193 h 254"/>
                <a:gd name="T60" fmla="*/ 0 w 153"/>
                <a:gd name="T61" fmla="*/ 197 h 254"/>
                <a:gd name="T62" fmla="*/ 8 w 153"/>
                <a:gd name="T63" fmla="*/ 219 h 254"/>
                <a:gd name="T64" fmla="*/ 33 w 153"/>
                <a:gd name="T65" fmla="*/ 252 h 254"/>
                <a:gd name="T66" fmla="*/ 40 w 153"/>
                <a:gd name="T67" fmla="*/ 249 h 254"/>
                <a:gd name="T68" fmla="*/ 62 w 153"/>
                <a:gd name="T69" fmla="*/ 231 h 254"/>
                <a:gd name="T70" fmla="*/ 66 w 153"/>
                <a:gd name="T71" fmla="*/ 211 h 254"/>
                <a:gd name="T72" fmla="*/ 81 w 153"/>
                <a:gd name="T73" fmla="*/ 191 h 254"/>
                <a:gd name="T74" fmla="*/ 85 w 153"/>
                <a:gd name="T75" fmla="*/ 170 h 254"/>
                <a:gd name="T76" fmla="*/ 76 w 153"/>
                <a:gd name="T77" fmla="*/ 161 h 254"/>
                <a:gd name="T78" fmla="*/ 77 w 153"/>
                <a:gd name="T79" fmla="*/ 13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" h="254">
                  <a:moveTo>
                    <a:pt x="77" y="131"/>
                  </a:moveTo>
                  <a:cubicBezTo>
                    <a:pt x="78" y="128"/>
                    <a:pt x="79" y="126"/>
                    <a:pt x="81" y="12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110" y="106"/>
                    <a:pt x="110" y="106"/>
                    <a:pt x="110" y="106"/>
                  </a:cubicBezTo>
                  <a:cubicBezTo>
                    <a:pt x="116" y="88"/>
                    <a:pt x="116" y="88"/>
                    <a:pt x="116" y="88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9" y="65"/>
                    <a:pt x="135" y="62"/>
                    <a:pt x="141" y="62"/>
                  </a:cubicBezTo>
                  <a:cubicBezTo>
                    <a:pt x="150" y="62"/>
                    <a:pt x="150" y="62"/>
                    <a:pt x="150" y="62"/>
                  </a:cubicBezTo>
                  <a:cubicBezTo>
                    <a:pt x="151" y="62"/>
                    <a:pt x="152" y="62"/>
                    <a:pt x="152" y="62"/>
                  </a:cubicBezTo>
                  <a:cubicBezTo>
                    <a:pt x="152" y="53"/>
                    <a:pt x="152" y="53"/>
                    <a:pt x="152" y="53"/>
                  </a:cubicBezTo>
                  <a:cubicBezTo>
                    <a:pt x="148" y="49"/>
                    <a:pt x="148" y="49"/>
                    <a:pt x="148" y="49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48" y="38"/>
                    <a:pt x="148" y="38"/>
                    <a:pt x="148" y="38"/>
                  </a:cubicBezTo>
                  <a:cubicBezTo>
                    <a:pt x="148" y="21"/>
                    <a:pt x="148" y="21"/>
                    <a:pt x="148" y="21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119" y="0"/>
                    <a:pt x="119" y="1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19" y="10"/>
                    <a:pt x="117" y="12"/>
                    <a:pt x="115" y="12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108" y="12"/>
                    <a:pt x="106" y="10"/>
                    <a:pt x="106" y="8"/>
                  </a:cubicBezTo>
                  <a:cubicBezTo>
                    <a:pt x="106" y="6"/>
                    <a:pt x="104" y="4"/>
                    <a:pt x="102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7" y="4"/>
                    <a:pt x="95" y="6"/>
                    <a:pt x="95" y="8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14"/>
                    <a:pt x="93" y="16"/>
                    <a:pt x="91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4" y="16"/>
                    <a:pt x="83" y="16"/>
                    <a:pt x="82" y="17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69" y="29"/>
                    <a:pt x="69" y="30"/>
                    <a:pt x="69" y="3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2"/>
                    <a:pt x="69" y="43"/>
                    <a:pt x="68" y="44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7"/>
                    <a:pt x="54" y="57"/>
                    <a:pt x="52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7"/>
                    <a:pt x="49" y="68"/>
                    <a:pt x="48" y="69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1" y="79"/>
                    <a:pt x="41" y="85"/>
                    <a:pt x="45" y="89"/>
                  </a:cubicBezTo>
                  <a:cubicBezTo>
                    <a:pt x="46" y="89"/>
                    <a:pt x="46" y="90"/>
                    <a:pt x="46" y="91"/>
                  </a:cubicBezTo>
                  <a:cubicBezTo>
                    <a:pt x="46" y="94"/>
                    <a:pt x="46" y="94"/>
                    <a:pt x="46" y="94"/>
                  </a:cubicBezTo>
                  <a:cubicBezTo>
                    <a:pt x="46" y="96"/>
                    <a:pt x="45" y="98"/>
                    <a:pt x="44" y="98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1" y="108"/>
                    <a:pt x="16" y="116"/>
                    <a:pt x="16" y="125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40"/>
                    <a:pt x="17" y="141"/>
                    <a:pt x="17" y="141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3" y="147"/>
                    <a:pt x="23" y="148"/>
                  </a:cubicBezTo>
                  <a:cubicBezTo>
                    <a:pt x="23" y="151"/>
                    <a:pt x="23" y="151"/>
                    <a:pt x="23" y="151"/>
                  </a:cubicBezTo>
                  <a:cubicBezTo>
                    <a:pt x="23" y="154"/>
                    <a:pt x="21" y="155"/>
                    <a:pt x="19" y="155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15" y="160"/>
                    <a:pt x="15" y="160"/>
                    <a:pt x="15" y="160"/>
                  </a:cubicBezTo>
                  <a:cubicBezTo>
                    <a:pt x="20" y="160"/>
                    <a:pt x="20" y="160"/>
                    <a:pt x="20" y="160"/>
                  </a:cubicBezTo>
                  <a:cubicBezTo>
                    <a:pt x="22" y="160"/>
                    <a:pt x="24" y="162"/>
                    <a:pt x="24" y="164"/>
                  </a:cubicBezTo>
                  <a:cubicBezTo>
                    <a:pt x="24" y="167"/>
                    <a:pt x="24" y="167"/>
                    <a:pt x="24" y="167"/>
                  </a:cubicBezTo>
                  <a:cubicBezTo>
                    <a:pt x="24" y="168"/>
                    <a:pt x="23" y="169"/>
                    <a:pt x="23" y="169"/>
                  </a:cubicBezTo>
                  <a:cubicBezTo>
                    <a:pt x="17" y="175"/>
                    <a:pt x="17" y="175"/>
                    <a:pt x="17" y="175"/>
                  </a:cubicBezTo>
                  <a:cubicBezTo>
                    <a:pt x="15" y="178"/>
                    <a:pt x="13" y="181"/>
                    <a:pt x="13" y="184"/>
                  </a:cubicBezTo>
                  <a:cubicBezTo>
                    <a:pt x="13" y="193"/>
                    <a:pt x="13" y="193"/>
                    <a:pt x="13" y="193"/>
                  </a:cubicBezTo>
                  <a:cubicBezTo>
                    <a:pt x="13" y="196"/>
                    <a:pt x="11" y="197"/>
                    <a:pt x="9" y="197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2" y="201"/>
                    <a:pt x="3" y="206"/>
                    <a:pt x="3" y="212"/>
                  </a:cubicBezTo>
                  <a:cubicBezTo>
                    <a:pt x="8" y="219"/>
                    <a:pt x="8" y="219"/>
                    <a:pt x="8" y="219"/>
                  </a:cubicBezTo>
                  <a:cubicBezTo>
                    <a:pt x="17" y="239"/>
                    <a:pt x="17" y="239"/>
                    <a:pt x="17" y="239"/>
                  </a:cubicBezTo>
                  <a:cubicBezTo>
                    <a:pt x="16" y="248"/>
                    <a:pt x="24" y="254"/>
                    <a:pt x="33" y="252"/>
                  </a:cubicBezTo>
                  <a:cubicBezTo>
                    <a:pt x="34" y="252"/>
                    <a:pt x="34" y="252"/>
                    <a:pt x="34" y="252"/>
                  </a:cubicBezTo>
                  <a:cubicBezTo>
                    <a:pt x="36" y="251"/>
                    <a:pt x="38" y="250"/>
                    <a:pt x="40" y="249"/>
                  </a:cubicBezTo>
                  <a:cubicBezTo>
                    <a:pt x="47" y="243"/>
                    <a:pt x="47" y="243"/>
                    <a:pt x="47" y="243"/>
                  </a:cubicBezTo>
                  <a:cubicBezTo>
                    <a:pt x="62" y="231"/>
                    <a:pt x="62" y="231"/>
                    <a:pt x="62" y="231"/>
                  </a:cubicBezTo>
                  <a:cubicBezTo>
                    <a:pt x="66" y="227"/>
                    <a:pt x="68" y="222"/>
                    <a:pt x="67" y="217"/>
                  </a:cubicBezTo>
                  <a:cubicBezTo>
                    <a:pt x="66" y="211"/>
                    <a:pt x="66" y="211"/>
                    <a:pt x="66" y="211"/>
                  </a:cubicBezTo>
                  <a:cubicBezTo>
                    <a:pt x="65" y="205"/>
                    <a:pt x="68" y="199"/>
                    <a:pt x="73" y="196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85" y="189"/>
                    <a:pt x="87" y="185"/>
                    <a:pt x="86" y="181"/>
                  </a:cubicBezTo>
                  <a:cubicBezTo>
                    <a:pt x="85" y="170"/>
                    <a:pt x="85" y="170"/>
                    <a:pt x="85" y="170"/>
                  </a:cubicBezTo>
                  <a:cubicBezTo>
                    <a:pt x="85" y="166"/>
                    <a:pt x="82" y="164"/>
                    <a:pt x="79" y="162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73" y="159"/>
                    <a:pt x="71" y="155"/>
                    <a:pt x="72" y="152"/>
                  </a:cubicBezTo>
                  <a:lnTo>
                    <a:pt x="77" y="1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4" name="Freeform 9">
              <a:extLst>
                <a:ext uri="{FF2B5EF4-FFF2-40B4-BE49-F238E27FC236}">
                  <a16:creationId xmlns:a16="http://schemas.microsoft.com/office/drawing/2014/main" id="{418B3154-B0B5-4688-8EC0-D4F744280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513" y="2471738"/>
              <a:ext cx="374650" cy="565150"/>
            </a:xfrm>
            <a:custGeom>
              <a:avLst/>
              <a:gdLst>
                <a:gd name="T0" fmla="*/ 118 w 125"/>
                <a:gd name="T1" fmla="*/ 130 h 189"/>
                <a:gd name="T2" fmla="*/ 114 w 125"/>
                <a:gd name="T3" fmla="*/ 127 h 189"/>
                <a:gd name="T4" fmla="*/ 114 w 125"/>
                <a:gd name="T5" fmla="*/ 119 h 189"/>
                <a:gd name="T6" fmla="*/ 115 w 125"/>
                <a:gd name="T7" fmla="*/ 112 h 189"/>
                <a:gd name="T8" fmla="*/ 114 w 125"/>
                <a:gd name="T9" fmla="*/ 111 h 189"/>
                <a:gd name="T10" fmla="*/ 106 w 125"/>
                <a:gd name="T11" fmla="*/ 95 h 189"/>
                <a:gd name="T12" fmla="*/ 106 w 125"/>
                <a:gd name="T13" fmla="*/ 91 h 189"/>
                <a:gd name="T14" fmla="*/ 108 w 125"/>
                <a:gd name="T15" fmla="*/ 83 h 189"/>
                <a:gd name="T16" fmla="*/ 108 w 125"/>
                <a:gd name="T17" fmla="*/ 79 h 189"/>
                <a:gd name="T18" fmla="*/ 99 w 125"/>
                <a:gd name="T19" fmla="*/ 61 h 189"/>
                <a:gd name="T20" fmla="*/ 100 w 125"/>
                <a:gd name="T21" fmla="*/ 55 h 189"/>
                <a:gd name="T22" fmla="*/ 103 w 125"/>
                <a:gd name="T23" fmla="*/ 52 h 189"/>
                <a:gd name="T24" fmla="*/ 103 w 125"/>
                <a:gd name="T25" fmla="*/ 45 h 189"/>
                <a:gd name="T26" fmla="*/ 98 w 125"/>
                <a:gd name="T27" fmla="*/ 37 h 189"/>
                <a:gd name="T28" fmla="*/ 98 w 125"/>
                <a:gd name="T29" fmla="*/ 33 h 189"/>
                <a:gd name="T30" fmla="*/ 100 w 125"/>
                <a:gd name="T31" fmla="*/ 15 h 189"/>
                <a:gd name="T32" fmla="*/ 99 w 125"/>
                <a:gd name="T33" fmla="*/ 15 h 189"/>
                <a:gd name="T34" fmla="*/ 86 w 125"/>
                <a:gd name="T35" fmla="*/ 0 h 189"/>
                <a:gd name="T36" fmla="*/ 84 w 125"/>
                <a:gd name="T37" fmla="*/ 0 h 189"/>
                <a:gd name="T38" fmla="*/ 68 w 125"/>
                <a:gd name="T39" fmla="*/ 3 h 189"/>
                <a:gd name="T40" fmla="*/ 65 w 125"/>
                <a:gd name="T41" fmla="*/ 7 h 189"/>
                <a:gd name="T42" fmla="*/ 65 w 125"/>
                <a:gd name="T43" fmla="*/ 11 h 189"/>
                <a:gd name="T44" fmla="*/ 64 w 125"/>
                <a:gd name="T45" fmla="*/ 14 h 189"/>
                <a:gd name="T46" fmla="*/ 58 w 125"/>
                <a:gd name="T47" fmla="*/ 19 h 189"/>
                <a:gd name="T48" fmla="*/ 43 w 125"/>
                <a:gd name="T49" fmla="*/ 25 h 189"/>
                <a:gd name="T50" fmla="*/ 23 w 125"/>
                <a:gd name="T51" fmla="*/ 25 h 189"/>
                <a:gd name="T52" fmla="*/ 20 w 125"/>
                <a:gd name="T53" fmla="*/ 24 h 189"/>
                <a:gd name="T54" fmla="*/ 15 w 125"/>
                <a:gd name="T55" fmla="*/ 19 h 189"/>
                <a:gd name="T56" fmla="*/ 7 w 125"/>
                <a:gd name="T57" fmla="*/ 15 h 189"/>
                <a:gd name="T58" fmla="*/ 3 w 125"/>
                <a:gd name="T59" fmla="*/ 19 h 189"/>
                <a:gd name="T60" fmla="*/ 15 w 125"/>
                <a:gd name="T61" fmla="*/ 31 h 189"/>
                <a:gd name="T62" fmla="*/ 23 w 125"/>
                <a:gd name="T63" fmla="*/ 31 h 189"/>
                <a:gd name="T64" fmla="*/ 32 w 125"/>
                <a:gd name="T65" fmla="*/ 40 h 189"/>
                <a:gd name="T66" fmla="*/ 32 w 125"/>
                <a:gd name="T67" fmla="*/ 57 h 189"/>
                <a:gd name="T68" fmla="*/ 37 w 125"/>
                <a:gd name="T69" fmla="*/ 62 h 189"/>
                <a:gd name="T70" fmla="*/ 32 w 125"/>
                <a:gd name="T71" fmla="*/ 68 h 189"/>
                <a:gd name="T72" fmla="*/ 36 w 125"/>
                <a:gd name="T73" fmla="*/ 72 h 189"/>
                <a:gd name="T74" fmla="*/ 36 w 125"/>
                <a:gd name="T75" fmla="*/ 81 h 189"/>
                <a:gd name="T76" fmla="*/ 44 w 125"/>
                <a:gd name="T77" fmla="*/ 86 h 189"/>
                <a:gd name="T78" fmla="*/ 43 w 125"/>
                <a:gd name="T79" fmla="*/ 97 h 189"/>
                <a:gd name="T80" fmla="*/ 15 w 125"/>
                <a:gd name="T81" fmla="*/ 126 h 189"/>
                <a:gd name="T82" fmla="*/ 10 w 125"/>
                <a:gd name="T83" fmla="*/ 142 h 189"/>
                <a:gd name="T84" fmla="*/ 7 w 125"/>
                <a:gd name="T85" fmla="*/ 145 h 189"/>
                <a:gd name="T86" fmla="*/ 2 w 125"/>
                <a:gd name="T87" fmla="*/ 162 h 189"/>
                <a:gd name="T88" fmla="*/ 7 w 125"/>
                <a:gd name="T89" fmla="*/ 177 h 189"/>
                <a:gd name="T90" fmla="*/ 13 w 125"/>
                <a:gd name="T91" fmla="*/ 184 h 189"/>
                <a:gd name="T92" fmla="*/ 20 w 125"/>
                <a:gd name="T93" fmla="*/ 187 h 189"/>
                <a:gd name="T94" fmla="*/ 29 w 125"/>
                <a:gd name="T95" fmla="*/ 188 h 189"/>
                <a:gd name="T96" fmla="*/ 61 w 125"/>
                <a:gd name="T97" fmla="*/ 179 h 189"/>
                <a:gd name="T98" fmla="*/ 78 w 125"/>
                <a:gd name="T99" fmla="*/ 179 h 189"/>
                <a:gd name="T100" fmla="*/ 86 w 125"/>
                <a:gd name="T101" fmla="*/ 182 h 189"/>
                <a:gd name="T102" fmla="*/ 113 w 125"/>
                <a:gd name="T103" fmla="*/ 163 h 189"/>
                <a:gd name="T104" fmla="*/ 123 w 125"/>
                <a:gd name="T105" fmla="*/ 149 h 189"/>
                <a:gd name="T106" fmla="*/ 123 w 125"/>
                <a:gd name="T107" fmla="*/ 147 h 189"/>
                <a:gd name="T108" fmla="*/ 118 w 125"/>
                <a:gd name="T109" fmla="*/ 13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5" h="189">
                  <a:moveTo>
                    <a:pt x="118" y="130"/>
                  </a:moveTo>
                  <a:cubicBezTo>
                    <a:pt x="114" y="127"/>
                    <a:pt x="114" y="127"/>
                    <a:pt x="114" y="127"/>
                  </a:cubicBezTo>
                  <a:cubicBezTo>
                    <a:pt x="111" y="125"/>
                    <a:pt x="111" y="121"/>
                    <a:pt x="114" y="119"/>
                  </a:cubicBezTo>
                  <a:cubicBezTo>
                    <a:pt x="115" y="117"/>
                    <a:pt x="116" y="115"/>
                    <a:pt x="115" y="112"/>
                  </a:cubicBezTo>
                  <a:cubicBezTo>
                    <a:pt x="114" y="111"/>
                    <a:pt x="114" y="111"/>
                    <a:pt x="114" y="111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106" y="93"/>
                    <a:pt x="106" y="92"/>
                    <a:pt x="106" y="91"/>
                  </a:cubicBezTo>
                  <a:cubicBezTo>
                    <a:pt x="108" y="83"/>
                    <a:pt x="108" y="83"/>
                    <a:pt x="108" y="83"/>
                  </a:cubicBezTo>
                  <a:cubicBezTo>
                    <a:pt x="108" y="81"/>
                    <a:pt x="108" y="80"/>
                    <a:pt x="108" y="79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8" y="59"/>
                    <a:pt x="99" y="56"/>
                    <a:pt x="100" y="55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4" y="50"/>
                    <a:pt x="105" y="47"/>
                    <a:pt x="103" y="45"/>
                  </a:cubicBezTo>
                  <a:cubicBezTo>
                    <a:pt x="98" y="37"/>
                    <a:pt x="98" y="37"/>
                    <a:pt x="98" y="37"/>
                  </a:cubicBezTo>
                  <a:cubicBezTo>
                    <a:pt x="98" y="36"/>
                    <a:pt x="98" y="34"/>
                    <a:pt x="98" y="33"/>
                  </a:cubicBezTo>
                  <a:cubicBezTo>
                    <a:pt x="100" y="15"/>
                    <a:pt x="100" y="15"/>
                    <a:pt x="100" y="15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5" y="0"/>
                    <a:pt x="85" y="0"/>
                    <a:pt x="84" y="0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6" y="4"/>
                    <a:pt x="65" y="5"/>
                    <a:pt x="65" y="7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2"/>
                    <a:pt x="65" y="13"/>
                    <a:pt x="64" y="14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4" y="23"/>
                    <a:pt x="49" y="25"/>
                    <a:pt x="43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2" y="25"/>
                    <a:pt x="21" y="25"/>
                    <a:pt x="20" y="24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3" y="17"/>
                    <a:pt x="10" y="15"/>
                    <a:pt x="7" y="15"/>
                  </a:cubicBezTo>
                  <a:cubicBezTo>
                    <a:pt x="5" y="15"/>
                    <a:pt x="3" y="17"/>
                    <a:pt x="3" y="19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40" y="81"/>
                    <a:pt x="43" y="83"/>
                    <a:pt x="44" y="86"/>
                  </a:cubicBezTo>
                  <a:cubicBezTo>
                    <a:pt x="46" y="90"/>
                    <a:pt x="45" y="94"/>
                    <a:pt x="43" y="97"/>
                  </a:cubicBezTo>
                  <a:cubicBezTo>
                    <a:pt x="15" y="126"/>
                    <a:pt x="15" y="126"/>
                    <a:pt x="15" y="126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2" y="149"/>
                    <a:pt x="0" y="156"/>
                    <a:pt x="2" y="162"/>
                  </a:cubicBezTo>
                  <a:cubicBezTo>
                    <a:pt x="7" y="177"/>
                    <a:pt x="7" y="177"/>
                    <a:pt x="7" y="177"/>
                  </a:cubicBezTo>
                  <a:cubicBezTo>
                    <a:pt x="8" y="180"/>
                    <a:pt x="10" y="182"/>
                    <a:pt x="13" y="184"/>
                  </a:cubicBezTo>
                  <a:cubicBezTo>
                    <a:pt x="20" y="187"/>
                    <a:pt x="20" y="187"/>
                    <a:pt x="20" y="187"/>
                  </a:cubicBezTo>
                  <a:cubicBezTo>
                    <a:pt x="23" y="189"/>
                    <a:pt x="26" y="189"/>
                    <a:pt x="29" y="188"/>
                  </a:cubicBezTo>
                  <a:cubicBezTo>
                    <a:pt x="61" y="179"/>
                    <a:pt x="61" y="179"/>
                    <a:pt x="61" y="179"/>
                  </a:cubicBezTo>
                  <a:cubicBezTo>
                    <a:pt x="78" y="179"/>
                    <a:pt x="78" y="179"/>
                    <a:pt x="78" y="179"/>
                  </a:cubicBezTo>
                  <a:cubicBezTo>
                    <a:pt x="81" y="179"/>
                    <a:pt x="84" y="180"/>
                    <a:pt x="86" y="182"/>
                  </a:cubicBezTo>
                  <a:cubicBezTo>
                    <a:pt x="113" y="163"/>
                    <a:pt x="113" y="163"/>
                    <a:pt x="113" y="163"/>
                  </a:cubicBezTo>
                  <a:cubicBezTo>
                    <a:pt x="117" y="160"/>
                    <a:pt x="121" y="155"/>
                    <a:pt x="123" y="149"/>
                  </a:cubicBezTo>
                  <a:cubicBezTo>
                    <a:pt x="123" y="147"/>
                    <a:pt x="123" y="147"/>
                    <a:pt x="123" y="147"/>
                  </a:cubicBezTo>
                  <a:cubicBezTo>
                    <a:pt x="125" y="141"/>
                    <a:pt x="123" y="134"/>
                    <a:pt x="118" y="13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5" name="Freeform 10">
              <a:extLst>
                <a:ext uri="{FF2B5EF4-FFF2-40B4-BE49-F238E27FC236}">
                  <a16:creationId xmlns:a16="http://schemas.microsoft.com/office/drawing/2014/main" id="{CAA614BD-B926-49B8-9D62-C089E2530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188" y="2406651"/>
              <a:ext cx="892175" cy="750888"/>
            </a:xfrm>
            <a:custGeom>
              <a:avLst/>
              <a:gdLst>
                <a:gd name="T0" fmla="*/ 277 w 298"/>
                <a:gd name="T1" fmla="*/ 6 h 251"/>
                <a:gd name="T2" fmla="*/ 256 w 298"/>
                <a:gd name="T3" fmla="*/ 13 h 251"/>
                <a:gd name="T4" fmla="*/ 247 w 298"/>
                <a:gd name="T5" fmla="*/ 16 h 251"/>
                <a:gd name="T6" fmla="*/ 241 w 298"/>
                <a:gd name="T7" fmla="*/ 1 h 251"/>
                <a:gd name="T8" fmla="*/ 226 w 298"/>
                <a:gd name="T9" fmla="*/ 6 h 251"/>
                <a:gd name="T10" fmla="*/ 217 w 298"/>
                <a:gd name="T11" fmla="*/ 23 h 251"/>
                <a:gd name="T12" fmla="*/ 209 w 298"/>
                <a:gd name="T13" fmla="*/ 15 h 251"/>
                <a:gd name="T14" fmla="*/ 198 w 298"/>
                <a:gd name="T15" fmla="*/ 13 h 251"/>
                <a:gd name="T16" fmla="*/ 189 w 298"/>
                <a:gd name="T17" fmla="*/ 23 h 251"/>
                <a:gd name="T18" fmla="*/ 178 w 298"/>
                <a:gd name="T19" fmla="*/ 18 h 251"/>
                <a:gd name="T20" fmla="*/ 168 w 298"/>
                <a:gd name="T21" fmla="*/ 24 h 251"/>
                <a:gd name="T22" fmla="*/ 154 w 298"/>
                <a:gd name="T23" fmla="*/ 34 h 251"/>
                <a:gd name="T24" fmla="*/ 144 w 298"/>
                <a:gd name="T25" fmla="*/ 35 h 251"/>
                <a:gd name="T26" fmla="*/ 148 w 298"/>
                <a:gd name="T27" fmla="*/ 43 h 251"/>
                <a:gd name="T28" fmla="*/ 143 w 298"/>
                <a:gd name="T29" fmla="*/ 49 h 251"/>
                <a:gd name="T30" fmla="*/ 118 w 298"/>
                <a:gd name="T31" fmla="*/ 50 h 251"/>
                <a:gd name="T32" fmla="*/ 120 w 298"/>
                <a:gd name="T33" fmla="*/ 60 h 251"/>
                <a:gd name="T34" fmla="*/ 126 w 298"/>
                <a:gd name="T35" fmla="*/ 66 h 251"/>
                <a:gd name="T36" fmla="*/ 84 w 298"/>
                <a:gd name="T37" fmla="*/ 118 h 251"/>
                <a:gd name="T38" fmla="*/ 69 w 298"/>
                <a:gd name="T39" fmla="*/ 125 h 251"/>
                <a:gd name="T40" fmla="*/ 53 w 298"/>
                <a:gd name="T41" fmla="*/ 139 h 251"/>
                <a:gd name="T42" fmla="*/ 60 w 298"/>
                <a:gd name="T43" fmla="*/ 143 h 251"/>
                <a:gd name="T44" fmla="*/ 75 w 298"/>
                <a:gd name="T45" fmla="*/ 149 h 251"/>
                <a:gd name="T46" fmla="*/ 44 w 298"/>
                <a:gd name="T47" fmla="*/ 155 h 251"/>
                <a:gd name="T48" fmla="*/ 3 w 298"/>
                <a:gd name="T49" fmla="*/ 208 h 251"/>
                <a:gd name="T50" fmla="*/ 14 w 298"/>
                <a:gd name="T51" fmla="*/ 211 h 251"/>
                <a:gd name="T52" fmla="*/ 6 w 298"/>
                <a:gd name="T53" fmla="*/ 223 h 251"/>
                <a:gd name="T54" fmla="*/ 13 w 298"/>
                <a:gd name="T55" fmla="*/ 242 h 251"/>
                <a:gd name="T56" fmla="*/ 35 w 298"/>
                <a:gd name="T57" fmla="*/ 249 h 251"/>
                <a:gd name="T58" fmla="*/ 74 w 298"/>
                <a:gd name="T59" fmla="*/ 238 h 251"/>
                <a:gd name="T60" fmla="*/ 87 w 298"/>
                <a:gd name="T61" fmla="*/ 234 h 251"/>
                <a:gd name="T62" fmla="*/ 91 w 298"/>
                <a:gd name="T63" fmla="*/ 216 h 251"/>
                <a:gd name="T64" fmla="*/ 98 w 298"/>
                <a:gd name="T65" fmla="*/ 208 h 251"/>
                <a:gd name="T66" fmla="*/ 94 w 298"/>
                <a:gd name="T67" fmla="*/ 201 h 251"/>
                <a:gd name="T68" fmla="*/ 89 w 298"/>
                <a:gd name="T69" fmla="*/ 196 h 251"/>
                <a:gd name="T70" fmla="*/ 97 w 298"/>
                <a:gd name="T71" fmla="*/ 192 h 251"/>
                <a:gd name="T72" fmla="*/ 96 w 298"/>
                <a:gd name="T73" fmla="*/ 187 h 251"/>
                <a:gd name="T74" fmla="*/ 90 w 298"/>
                <a:gd name="T75" fmla="*/ 180 h 251"/>
                <a:gd name="T76" fmla="*/ 103 w 298"/>
                <a:gd name="T77" fmla="*/ 145 h 251"/>
                <a:gd name="T78" fmla="*/ 120 w 298"/>
                <a:gd name="T79" fmla="*/ 135 h 251"/>
                <a:gd name="T80" fmla="*/ 119 w 298"/>
                <a:gd name="T81" fmla="*/ 130 h 251"/>
                <a:gd name="T82" fmla="*/ 122 w 298"/>
                <a:gd name="T83" fmla="*/ 110 h 251"/>
                <a:gd name="T84" fmla="*/ 123 w 298"/>
                <a:gd name="T85" fmla="*/ 98 h 251"/>
                <a:gd name="T86" fmla="*/ 129 w 298"/>
                <a:gd name="T87" fmla="*/ 97 h 251"/>
                <a:gd name="T88" fmla="*/ 143 w 298"/>
                <a:gd name="T89" fmla="*/ 82 h 251"/>
                <a:gd name="T90" fmla="*/ 144 w 298"/>
                <a:gd name="T91" fmla="*/ 70 h 251"/>
                <a:gd name="T92" fmla="*/ 159 w 298"/>
                <a:gd name="T93" fmla="*/ 57 h 251"/>
                <a:gd name="T94" fmla="*/ 169 w 298"/>
                <a:gd name="T95" fmla="*/ 53 h 251"/>
                <a:gd name="T96" fmla="*/ 173 w 298"/>
                <a:gd name="T97" fmla="*/ 45 h 251"/>
                <a:gd name="T98" fmla="*/ 180 w 298"/>
                <a:gd name="T99" fmla="*/ 49 h 251"/>
                <a:gd name="T100" fmla="*/ 189 w 298"/>
                <a:gd name="T101" fmla="*/ 53 h 251"/>
                <a:gd name="T102" fmla="*/ 193 w 298"/>
                <a:gd name="T103" fmla="*/ 42 h 251"/>
                <a:gd name="T104" fmla="*/ 205 w 298"/>
                <a:gd name="T105" fmla="*/ 41 h 251"/>
                <a:gd name="T106" fmla="*/ 213 w 298"/>
                <a:gd name="T107" fmla="*/ 47 h 251"/>
                <a:gd name="T108" fmla="*/ 248 w 298"/>
                <a:gd name="T109" fmla="*/ 41 h 251"/>
                <a:gd name="T110" fmla="*/ 255 w 298"/>
                <a:gd name="T111" fmla="*/ 33 h 251"/>
                <a:gd name="T112" fmla="*/ 258 w 298"/>
                <a:gd name="T113" fmla="*/ 25 h 251"/>
                <a:gd name="T114" fmla="*/ 276 w 298"/>
                <a:gd name="T115" fmla="*/ 22 h 251"/>
                <a:gd name="T116" fmla="*/ 290 w 298"/>
                <a:gd name="T117" fmla="*/ 21 h 251"/>
                <a:gd name="T118" fmla="*/ 297 w 298"/>
                <a:gd name="T119" fmla="*/ 16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8" h="251">
                  <a:moveTo>
                    <a:pt x="289" y="8"/>
                  </a:moveTo>
                  <a:cubicBezTo>
                    <a:pt x="285" y="8"/>
                    <a:pt x="281" y="8"/>
                    <a:pt x="277" y="6"/>
                  </a:cubicBezTo>
                  <a:cubicBezTo>
                    <a:pt x="272" y="2"/>
                    <a:pt x="265" y="3"/>
                    <a:pt x="261" y="7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4" y="15"/>
                    <a:pt x="252" y="16"/>
                    <a:pt x="250" y="16"/>
                  </a:cubicBezTo>
                  <a:cubicBezTo>
                    <a:pt x="247" y="16"/>
                    <a:pt x="247" y="16"/>
                    <a:pt x="247" y="16"/>
                  </a:cubicBezTo>
                  <a:cubicBezTo>
                    <a:pt x="243" y="16"/>
                    <a:pt x="241" y="11"/>
                    <a:pt x="243" y="8"/>
                  </a:cubicBezTo>
                  <a:cubicBezTo>
                    <a:pt x="246" y="5"/>
                    <a:pt x="244" y="1"/>
                    <a:pt x="241" y="1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2" y="0"/>
                    <a:pt x="227" y="2"/>
                    <a:pt x="226" y="6"/>
                  </a:cubicBezTo>
                  <a:cubicBezTo>
                    <a:pt x="222" y="17"/>
                    <a:pt x="222" y="17"/>
                    <a:pt x="222" y="17"/>
                  </a:cubicBezTo>
                  <a:cubicBezTo>
                    <a:pt x="222" y="20"/>
                    <a:pt x="220" y="22"/>
                    <a:pt x="217" y="23"/>
                  </a:cubicBezTo>
                  <a:cubicBezTo>
                    <a:pt x="213" y="24"/>
                    <a:pt x="210" y="21"/>
                    <a:pt x="209" y="17"/>
                  </a:cubicBezTo>
                  <a:cubicBezTo>
                    <a:pt x="209" y="15"/>
                    <a:pt x="209" y="15"/>
                    <a:pt x="209" y="15"/>
                  </a:cubicBezTo>
                  <a:cubicBezTo>
                    <a:pt x="208" y="12"/>
                    <a:pt x="205" y="9"/>
                    <a:pt x="202" y="9"/>
                  </a:cubicBezTo>
                  <a:cubicBezTo>
                    <a:pt x="200" y="9"/>
                    <a:pt x="198" y="11"/>
                    <a:pt x="198" y="13"/>
                  </a:cubicBezTo>
                  <a:cubicBezTo>
                    <a:pt x="197" y="19"/>
                    <a:pt x="197" y="19"/>
                    <a:pt x="197" y="19"/>
                  </a:cubicBezTo>
                  <a:cubicBezTo>
                    <a:pt x="197" y="23"/>
                    <a:pt x="193" y="25"/>
                    <a:pt x="189" y="23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5" y="17"/>
                    <a:pt x="181" y="16"/>
                    <a:pt x="178" y="18"/>
                  </a:cubicBezTo>
                  <a:cubicBezTo>
                    <a:pt x="173" y="20"/>
                    <a:pt x="173" y="20"/>
                    <a:pt x="173" y="20"/>
                  </a:cubicBezTo>
                  <a:cubicBezTo>
                    <a:pt x="171" y="21"/>
                    <a:pt x="169" y="22"/>
                    <a:pt x="168" y="24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1" y="33"/>
                    <a:pt x="157" y="35"/>
                    <a:pt x="154" y="34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47" y="32"/>
                    <a:pt x="145" y="33"/>
                    <a:pt x="144" y="35"/>
                  </a:cubicBezTo>
                  <a:cubicBezTo>
                    <a:pt x="143" y="38"/>
                    <a:pt x="143" y="41"/>
                    <a:pt x="146" y="42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8" y="44"/>
                    <a:pt x="149" y="45"/>
                    <a:pt x="149" y="45"/>
                  </a:cubicBezTo>
                  <a:cubicBezTo>
                    <a:pt x="148" y="48"/>
                    <a:pt x="145" y="50"/>
                    <a:pt x="143" y="49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2" y="46"/>
                    <a:pt x="120" y="47"/>
                    <a:pt x="118" y="50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6" y="55"/>
                    <a:pt x="117" y="58"/>
                    <a:pt x="120" y="60"/>
                  </a:cubicBezTo>
                  <a:cubicBezTo>
                    <a:pt x="125" y="62"/>
                    <a:pt x="125" y="62"/>
                    <a:pt x="125" y="62"/>
                  </a:cubicBezTo>
                  <a:cubicBezTo>
                    <a:pt x="126" y="63"/>
                    <a:pt x="127" y="65"/>
                    <a:pt x="126" y="66"/>
                  </a:cubicBezTo>
                  <a:cubicBezTo>
                    <a:pt x="98" y="95"/>
                    <a:pt x="98" y="95"/>
                    <a:pt x="98" y="95"/>
                  </a:cubicBezTo>
                  <a:cubicBezTo>
                    <a:pt x="84" y="118"/>
                    <a:pt x="84" y="118"/>
                    <a:pt x="84" y="118"/>
                  </a:cubicBezTo>
                  <a:cubicBezTo>
                    <a:pt x="82" y="120"/>
                    <a:pt x="80" y="122"/>
                    <a:pt x="78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7" y="125"/>
                    <a:pt x="65" y="126"/>
                    <a:pt x="64" y="127"/>
                  </a:cubicBezTo>
                  <a:cubicBezTo>
                    <a:pt x="53" y="139"/>
                    <a:pt x="53" y="139"/>
                    <a:pt x="53" y="139"/>
                  </a:cubicBezTo>
                  <a:cubicBezTo>
                    <a:pt x="52" y="140"/>
                    <a:pt x="52" y="142"/>
                    <a:pt x="53" y="143"/>
                  </a:cubicBezTo>
                  <a:cubicBezTo>
                    <a:pt x="55" y="145"/>
                    <a:pt x="58" y="145"/>
                    <a:pt x="60" y="143"/>
                  </a:cubicBezTo>
                  <a:cubicBezTo>
                    <a:pt x="74" y="132"/>
                    <a:pt x="74" y="132"/>
                    <a:pt x="74" y="132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60" y="156"/>
                    <a:pt x="60" y="156"/>
                    <a:pt x="60" y="156"/>
                  </a:cubicBezTo>
                  <a:cubicBezTo>
                    <a:pt x="44" y="155"/>
                    <a:pt x="44" y="155"/>
                    <a:pt x="44" y="155"/>
                  </a:cubicBezTo>
                  <a:cubicBezTo>
                    <a:pt x="16" y="173"/>
                    <a:pt x="16" y="173"/>
                    <a:pt x="16" y="173"/>
                  </a:cubicBezTo>
                  <a:cubicBezTo>
                    <a:pt x="5" y="181"/>
                    <a:pt x="0" y="195"/>
                    <a:pt x="3" y="208"/>
                  </a:cubicBezTo>
                  <a:cubicBezTo>
                    <a:pt x="12" y="209"/>
                    <a:pt x="12" y="209"/>
                    <a:pt x="12" y="209"/>
                  </a:cubicBezTo>
                  <a:cubicBezTo>
                    <a:pt x="13" y="209"/>
                    <a:pt x="14" y="210"/>
                    <a:pt x="14" y="211"/>
                  </a:cubicBezTo>
                  <a:cubicBezTo>
                    <a:pt x="16" y="214"/>
                    <a:pt x="13" y="217"/>
                    <a:pt x="10" y="217"/>
                  </a:cubicBezTo>
                  <a:cubicBezTo>
                    <a:pt x="7" y="217"/>
                    <a:pt x="5" y="220"/>
                    <a:pt x="6" y="223"/>
                  </a:cubicBezTo>
                  <a:cubicBezTo>
                    <a:pt x="9" y="236"/>
                    <a:pt x="9" y="236"/>
                    <a:pt x="9" y="236"/>
                  </a:cubicBezTo>
                  <a:cubicBezTo>
                    <a:pt x="9" y="238"/>
                    <a:pt x="11" y="240"/>
                    <a:pt x="13" y="242"/>
                  </a:cubicBezTo>
                  <a:cubicBezTo>
                    <a:pt x="23" y="248"/>
                    <a:pt x="23" y="248"/>
                    <a:pt x="23" y="248"/>
                  </a:cubicBezTo>
                  <a:cubicBezTo>
                    <a:pt x="26" y="250"/>
                    <a:pt x="31" y="251"/>
                    <a:pt x="35" y="249"/>
                  </a:cubicBezTo>
                  <a:cubicBezTo>
                    <a:pt x="44" y="244"/>
                    <a:pt x="44" y="244"/>
                    <a:pt x="44" y="244"/>
                  </a:cubicBezTo>
                  <a:cubicBezTo>
                    <a:pt x="55" y="236"/>
                    <a:pt x="68" y="224"/>
                    <a:pt x="74" y="238"/>
                  </a:cubicBezTo>
                  <a:cubicBezTo>
                    <a:pt x="83" y="238"/>
                    <a:pt x="83" y="238"/>
                    <a:pt x="83" y="238"/>
                  </a:cubicBezTo>
                  <a:cubicBezTo>
                    <a:pt x="85" y="238"/>
                    <a:pt x="87" y="237"/>
                    <a:pt x="87" y="234"/>
                  </a:cubicBezTo>
                  <a:cubicBezTo>
                    <a:pt x="87" y="225"/>
                    <a:pt x="87" y="225"/>
                    <a:pt x="87" y="225"/>
                  </a:cubicBezTo>
                  <a:cubicBezTo>
                    <a:pt x="87" y="222"/>
                    <a:pt x="89" y="219"/>
                    <a:pt x="91" y="216"/>
                  </a:cubicBezTo>
                  <a:cubicBezTo>
                    <a:pt x="97" y="210"/>
                    <a:pt x="97" y="210"/>
                    <a:pt x="97" y="210"/>
                  </a:cubicBezTo>
                  <a:cubicBezTo>
                    <a:pt x="97" y="210"/>
                    <a:pt x="98" y="209"/>
                    <a:pt x="98" y="208"/>
                  </a:cubicBezTo>
                  <a:cubicBezTo>
                    <a:pt x="98" y="205"/>
                    <a:pt x="98" y="205"/>
                    <a:pt x="98" y="205"/>
                  </a:cubicBezTo>
                  <a:cubicBezTo>
                    <a:pt x="98" y="203"/>
                    <a:pt x="96" y="201"/>
                    <a:pt x="94" y="201"/>
                  </a:cubicBezTo>
                  <a:cubicBezTo>
                    <a:pt x="89" y="201"/>
                    <a:pt x="89" y="201"/>
                    <a:pt x="89" y="201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93" y="196"/>
                    <a:pt x="93" y="196"/>
                    <a:pt x="93" y="196"/>
                  </a:cubicBezTo>
                  <a:cubicBezTo>
                    <a:pt x="95" y="196"/>
                    <a:pt x="97" y="195"/>
                    <a:pt x="97" y="192"/>
                  </a:cubicBezTo>
                  <a:cubicBezTo>
                    <a:pt x="97" y="189"/>
                    <a:pt x="97" y="189"/>
                    <a:pt x="97" y="189"/>
                  </a:cubicBezTo>
                  <a:cubicBezTo>
                    <a:pt x="97" y="188"/>
                    <a:pt x="96" y="187"/>
                    <a:pt x="96" y="187"/>
                  </a:cubicBezTo>
                  <a:cubicBezTo>
                    <a:pt x="91" y="182"/>
                    <a:pt x="91" y="182"/>
                    <a:pt x="91" y="182"/>
                  </a:cubicBezTo>
                  <a:cubicBezTo>
                    <a:pt x="91" y="182"/>
                    <a:pt x="90" y="181"/>
                    <a:pt x="90" y="180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7"/>
                    <a:pt x="95" y="149"/>
                    <a:pt x="103" y="145"/>
                  </a:cubicBezTo>
                  <a:cubicBezTo>
                    <a:pt x="118" y="139"/>
                    <a:pt x="118" y="139"/>
                    <a:pt x="118" y="139"/>
                  </a:cubicBezTo>
                  <a:cubicBezTo>
                    <a:pt x="119" y="139"/>
                    <a:pt x="120" y="137"/>
                    <a:pt x="120" y="135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0" y="131"/>
                    <a:pt x="120" y="130"/>
                    <a:pt x="119" y="130"/>
                  </a:cubicBezTo>
                  <a:cubicBezTo>
                    <a:pt x="115" y="126"/>
                    <a:pt x="115" y="120"/>
                    <a:pt x="118" y="115"/>
                  </a:cubicBezTo>
                  <a:cubicBezTo>
                    <a:pt x="122" y="110"/>
                    <a:pt x="122" y="110"/>
                    <a:pt x="122" y="110"/>
                  </a:cubicBezTo>
                  <a:cubicBezTo>
                    <a:pt x="123" y="109"/>
                    <a:pt x="123" y="108"/>
                    <a:pt x="123" y="107"/>
                  </a:cubicBezTo>
                  <a:cubicBezTo>
                    <a:pt x="123" y="98"/>
                    <a:pt x="123" y="98"/>
                    <a:pt x="123" y="98"/>
                  </a:cubicBezTo>
                  <a:cubicBezTo>
                    <a:pt x="126" y="98"/>
                    <a:pt x="126" y="98"/>
                    <a:pt x="126" y="98"/>
                  </a:cubicBezTo>
                  <a:cubicBezTo>
                    <a:pt x="128" y="98"/>
                    <a:pt x="129" y="98"/>
                    <a:pt x="129" y="97"/>
                  </a:cubicBezTo>
                  <a:cubicBezTo>
                    <a:pt x="142" y="85"/>
                    <a:pt x="142" y="85"/>
                    <a:pt x="142" y="85"/>
                  </a:cubicBezTo>
                  <a:cubicBezTo>
                    <a:pt x="143" y="84"/>
                    <a:pt x="143" y="83"/>
                    <a:pt x="143" y="82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43" y="71"/>
                    <a:pt x="143" y="70"/>
                    <a:pt x="144" y="70"/>
                  </a:cubicBezTo>
                  <a:cubicBezTo>
                    <a:pt x="156" y="58"/>
                    <a:pt x="156" y="58"/>
                    <a:pt x="156" y="58"/>
                  </a:cubicBezTo>
                  <a:cubicBezTo>
                    <a:pt x="157" y="57"/>
                    <a:pt x="158" y="57"/>
                    <a:pt x="159" y="57"/>
                  </a:cubicBezTo>
                  <a:cubicBezTo>
                    <a:pt x="165" y="57"/>
                    <a:pt x="165" y="57"/>
                    <a:pt x="165" y="57"/>
                  </a:cubicBezTo>
                  <a:cubicBezTo>
                    <a:pt x="167" y="57"/>
                    <a:pt x="169" y="55"/>
                    <a:pt x="169" y="53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9" y="47"/>
                    <a:pt x="171" y="45"/>
                    <a:pt x="173" y="45"/>
                  </a:cubicBezTo>
                  <a:cubicBezTo>
                    <a:pt x="176" y="45"/>
                    <a:pt x="176" y="45"/>
                    <a:pt x="176" y="45"/>
                  </a:cubicBezTo>
                  <a:cubicBezTo>
                    <a:pt x="178" y="45"/>
                    <a:pt x="180" y="47"/>
                    <a:pt x="180" y="49"/>
                  </a:cubicBezTo>
                  <a:cubicBezTo>
                    <a:pt x="180" y="51"/>
                    <a:pt x="182" y="53"/>
                    <a:pt x="184" y="53"/>
                  </a:cubicBezTo>
                  <a:cubicBezTo>
                    <a:pt x="189" y="53"/>
                    <a:pt x="189" y="53"/>
                    <a:pt x="189" y="53"/>
                  </a:cubicBezTo>
                  <a:cubicBezTo>
                    <a:pt x="191" y="53"/>
                    <a:pt x="193" y="51"/>
                    <a:pt x="193" y="49"/>
                  </a:cubicBezTo>
                  <a:cubicBezTo>
                    <a:pt x="193" y="42"/>
                    <a:pt x="193" y="42"/>
                    <a:pt x="193" y="42"/>
                  </a:cubicBezTo>
                  <a:cubicBezTo>
                    <a:pt x="193" y="39"/>
                    <a:pt x="195" y="37"/>
                    <a:pt x="197" y="37"/>
                  </a:cubicBezTo>
                  <a:cubicBezTo>
                    <a:pt x="200" y="37"/>
                    <a:pt x="203" y="39"/>
                    <a:pt x="205" y="41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1" y="47"/>
                    <a:pt x="212" y="47"/>
                    <a:pt x="213" y="47"/>
                  </a:cubicBezTo>
                  <a:cubicBezTo>
                    <a:pt x="233" y="47"/>
                    <a:pt x="233" y="47"/>
                    <a:pt x="233" y="47"/>
                  </a:cubicBezTo>
                  <a:cubicBezTo>
                    <a:pt x="239" y="47"/>
                    <a:pt x="244" y="45"/>
                    <a:pt x="248" y="41"/>
                  </a:cubicBezTo>
                  <a:cubicBezTo>
                    <a:pt x="254" y="36"/>
                    <a:pt x="254" y="36"/>
                    <a:pt x="254" y="36"/>
                  </a:cubicBezTo>
                  <a:cubicBezTo>
                    <a:pt x="255" y="35"/>
                    <a:pt x="255" y="34"/>
                    <a:pt x="255" y="33"/>
                  </a:cubicBezTo>
                  <a:cubicBezTo>
                    <a:pt x="255" y="29"/>
                    <a:pt x="255" y="29"/>
                    <a:pt x="255" y="29"/>
                  </a:cubicBezTo>
                  <a:cubicBezTo>
                    <a:pt x="255" y="27"/>
                    <a:pt x="256" y="26"/>
                    <a:pt x="258" y="25"/>
                  </a:cubicBezTo>
                  <a:cubicBezTo>
                    <a:pt x="274" y="22"/>
                    <a:pt x="274" y="22"/>
                    <a:pt x="274" y="22"/>
                  </a:cubicBezTo>
                  <a:cubicBezTo>
                    <a:pt x="275" y="22"/>
                    <a:pt x="275" y="22"/>
                    <a:pt x="276" y="22"/>
                  </a:cubicBezTo>
                  <a:cubicBezTo>
                    <a:pt x="276" y="21"/>
                    <a:pt x="276" y="21"/>
                    <a:pt x="276" y="21"/>
                  </a:cubicBezTo>
                  <a:cubicBezTo>
                    <a:pt x="290" y="21"/>
                    <a:pt x="290" y="21"/>
                    <a:pt x="290" y="21"/>
                  </a:cubicBezTo>
                  <a:cubicBezTo>
                    <a:pt x="293" y="22"/>
                    <a:pt x="296" y="19"/>
                    <a:pt x="297" y="16"/>
                  </a:cubicBezTo>
                  <a:cubicBezTo>
                    <a:pt x="297" y="16"/>
                    <a:pt x="297" y="16"/>
                    <a:pt x="297" y="16"/>
                  </a:cubicBezTo>
                  <a:cubicBezTo>
                    <a:pt x="298" y="11"/>
                    <a:pt x="294" y="7"/>
                    <a:pt x="289" y="8"/>
                  </a:cubicBez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6" name="Freeform 11">
              <a:extLst>
                <a:ext uri="{FF2B5EF4-FFF2-40B4-BE49-F238E27FC236}">
                  <a16:creationId xmlns:a16="http://schemas.microsoft.com/office/drawing/2014/main" id="{B09F526F-28CB-4047-9892-B350A1F58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3933826"/>
              <a:ext cx="50800" cy="84138"/>
            </a:xfrm>
            <a:custGeom>
              <a:avLst/>
              <a:gdLst>
                <a:gd name="T0" fmla="*/ 14 w 17"/>
                <a:gd name="T1" fmla="*/ 1 h 28"/>
                <a:gd name="T2" fmla="*/ 10 w 17"/>
                <a:gd name="T3" fmla="*/ 0 h 28"/>
                <a:gd name="T4" fmla="*/ 9 w 17"/>
                <a:gd name="T5" fmla="*/ 0 h 28"/>
                <a:gd name="T6" fmla="*/ 6 w 17"/>
                <a:gd name="T7" fmla="*/ 2 h 28"/>
                <a:gd name="T8" fmla="*/ 2 w 17"/>
                <a:gd name="T9" fmla="*/ 2 h 28"/>
                <a:gd name="T10" fmla="*/ 1 w 17"/>
                <a:gd name="T11" fmla="*/ 9 h 28"/>
                <a:gd name="T12" fmla="*/ 3 w 17"/>
                <a:gd name="T13" fmla="*/ 12 h 28"/>
                <a:gd name="T14" fmla="*/ 3 w 17"/>
                <a:gd name="T15" fmla="*/ 28 h 28"/>
                <a:gd name="T16" fmla="*/ 5 w 17"/>
                <a:gd name="T17" fmla="*/ 28 h 28"/>
                <a:gd name="T18" fmla="*/ 11 w 17"/>
                <a:gd name="T19" fmla="*/ 25 h 28"/>
                <a:gd name="T20" fmla="*/ 13 w 17"/>
                <a:gd name="T21" fmla="*/ 22 h 28"/>
                <a:gd name="T22" fmla="*/ 16 w 17"/>
                <a:gd name="T23" fmla="*/ 17 h 28"/>
                <a:gd name="T24" fmla="*/ 16 w 17"/>
                <a:gd name="T25" fmla="*/ 10 h 28"/>
                <a:gd name="T26" fmla="*/ 16 w 17"/>
                <a:gd name="T27" fmla="*/ 8 h 28"/>
                <a:gd name="T28" fmla="*/ 14 w 17"/>
                <a:gd name="T29" fmla="*/ 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28">
                  <a:moveTo>
                    <a:pt x="14" y="1"/>
                  </a:moveTo>
                  <a:cubicBezTo>
                    <a:pt x="13" y="0"/>
                    <a:pt x="12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3" y="1"/>
                    <a:pt x="2" y="2"/>
                  </a:cubicBezTo>
                  <a:cubicBezTo>
                    <a:pt x="0" y="3"/>
                    <a:pt x="1" y="9"/>
                    <a:pt x="1" y="9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7" y="28"/>
                    <a:pt x="9" y="27"/>
                    <a:pt x="11" y="25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5" y="21"/>
                    <a:pt x="16" y="19"/>
                    <a:pt x="16" y="17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5"/>
                    <a:pt x="16" y="2"/>
                    <a:pt x="14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5" name="Freeform 12">
              <a:extLst>
                <a:ext uri="{FF2B5EF4-FFF2-40B4-BE49-F238E27FC236}">
                  <a16:creationId xmlns:a16="http://schemas.microsoft.com/office/drawing/2014/main" id="{4E568DC7-CDA0-4061-9EA6-C4D34D9435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063" y="3862388"/>
              <a:ext cx="30163" cy="47625"/>
            </a:xfrm>
            <a:custGeom>
              <a:avLst/>
              <a:gdLst>
                <a:gd name="T0" fmla="*/ 4 w 10"/>
                <a:gd name="T1" fmla="*/ 0 h 16"/>
                <a:gd name="T2" fmla="*/ 0 w 10"/>
                <a:gd name="T3" fmla="*/ 4 h 16"/>
                <a:gd name="T4" fmla="*/ 0 w 10"/>
                <a:gd name="T5" fmla="*/ 11 h 16"/>
                <a:gd name="T6" fmla="*/ 2 w 10"/>
                <a:gd name="T7" fmla="*/ 15 h 16"/>
                <a:gd name="T8" fmla="*/ 4 w 10"/>
                <a:gd name="T9" fmla="*/ 15 h 16"/>
                <a:gd name="T10" fmla="*/ 4 w 10"/>
                <a:gd name="T11" fmla="*/ 9 h 16"/>
                <a:gd name="T12" fmla="*/ 9 w 10"/>
                <a:gd name="T13" fmla="*/ 9 h 16"/>
                <a:gd name="T14" fmla="*/ 9 w 10"/>
                <a:gd name="T15" fmla="*/ 4 h 16"/>
                <a:gd name="T16" fmla="*/ 4 w 10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6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"/>
                    <a:pt x="0" y="14"/>
                    <a:pt x="2" y="15"/>
                  </a:cubicBezTo>
                  <a:cubicBezTo>
                    <a:pt x="2" y="15"/>
                    <a:pt x="3" y="16"/>
                    <a:pt x="4" y="15"/>
                  </a:cubicBezTo>
                  <a:cubicBezTo>
                    <a:pt x="5" y="14"/>
                    <a:pt x="4" y="9"/>
                    <a:pt x="4" y="9"/>
                  </a:cubicBezTo>
                  <a:cubicBezTo>
                    <a:pt x="4" y="9"/>
                    <a:pt x="8" y="10"/>
                    <a:pt x="9" y="9"/>
                  </a:cubicBezTo>
                  <a:cubicBezTo>
                    <a:pt x="10" y="8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6" name="Freeform 13">
              <a:extLst>
                <a:ext uri="{FF2B5EF4-FFF2-40B4-BE49-F238E27FC236}">
                  <a16:creationId xmlns:a16="http://schemas.microsoft.com/office/drawing/2014/main" id="{4D6A5E10-B8AC-4D7C-8D81-488680B1D5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300" y="3814763"/>
              <a:ext cx="442913" cy="315913"/>
            </a:xfrm>
            <a:custGeom>
              <a:avLst/>
              <a:gdLst>
                <a:gd name="T0" fmla="*/ 120 w 148"/>
                <a:gd name="T1" fmla="*/ 13 h 106"/>
                <a:gd name="T2" fmla="*/ 113 w 148"/>
                <a:gd name="T3" fmla="*/ 14 h 106"/>
                <a:gd name="T4" fmla="*/ 88 w 148"/>
                <a:gd name="T5" fmla="*/ 5 h 106"/>
                <a:gd name="T6" fmla="*/ 85 w 148"/>
                <a:gd name="T7" fmla="*/ 6 h 106"/>
                <a:gd name="T8" fmla="*/ 68 w 148"/>
                <a:gd name="T9" fmla="*/ 5 h 106"/>
                <a:gd name="T10" fmla="*/ 68 w 148"/>
                <a:gd name="T11" fmla="*/ 5 h 106"/>
                <a:gd name="T12" fmla="*/ 56 w 148"/>
                <a:gd name="T13" fmla="*/ 5 h 106"/>
                <a:gd name="T14" fmla="*/ 54 w 148"/>
                <a:gd name="T15" fmla="*/ 5 h 106"/>
                <a:gd name="T16" fmla="*/ 49 w 148"/>
                <a:gd name="T17" fmla="*/ 2 h 106"/>
                <a:gd name="T18" fmla="*/ 47 w 148"/>
                <a:gd name="T19" fmla="*/ 2 h 106"/>
                <a:gd name="T20" fmla="*/ 22 w 148"/>
                <a:gd name="T21" fmla="*/ 0 h 106"/>
                <a:gd name="T22" fmla="*/ 22 w 148"/>
                <a:gd name="T23" fmla="*/ 0 h 106"/>
                <a:gd name="T24" fmla="*/ 12 w 148"/>
                <a:gd name="T25" fmla="*/ 0 h 106"/>
                <a:gd name="T26" fmla="*/ 9 w 148"/>
                <a:gd name="T27" fmla="*/ 1 h 106"/>
                <a:gd name="T28" fmla="*/ 2 w 148"/>
                <a:gd name="T29" fmla="*/ 7 h 106"/>
                <a:gd name="T30" fmla="*/ 0 w 148"/>
                <a:gd name="T31" fmla="*/ 12 h 106"/>
                <a:gd name="T32" fmla="*/ 2 w 148"/>
                <a:gd name="T33" fmla="*/ 20 h 106"/>
                <a:gd name="T34" fmla="*/ 3 w 148"/>
                <a:gd name="T35" fmla="*/ 22 h 106"/>
                <a:gd name="T36" fmla="*/ 5 w 148"/>
                <a:gd name="T37" fmla="*/ 25 h 106"/>
                <a:gd name="T38" fmla="*/ 6 w 148"/>
                <a:gd name="T39" fmla="*/ 27 h 106"/>
                <a:gd name="T40" fmla="*/ 13 w 148"/>
                <a:gd name="T41" fmla="*/ 29 h 106"/>
                <a:gd name="T42" fmla="*/ 29 w 148"/>
                <a:gd name="T43" fmla="*/ 26 h 106"/>
                <a:gd name="T44" fmla="*/ 34 w 148"/>
                <a:gd name="T45" fmla="*/ 28 h 106"/>
                <a:gd name="T46" fmla="*/ 35 w 148"/>
                <a:gd name="T47" fmla="*/ 35 h 106"/>
                <a:gd name="T48" fmla="*/ 34 w 148"/>
                <a:gd name="T49" fmla="*/ 36 h 106"/>
                <a:gd name="T50" fmla="*/ 32 w 148"/>
                <a:gd name="T51" fmla="*/ 38 h 106"/>
                <a:gd name="T52" fmla="*/ 31 w 148"/>
                <a:gd name="T53" fmla="*/ 38 h 106"/>
                <a:gd name="T54" fmla="*/ 28 w 148"/>
                <a:gd name="T55" fmla="*/ 43 h 106"/>
                <a:gd name="T56" fmla="*/ 25 w 148"/>
                <a:gd name="T57" fmla="*/ 62 h 106"/>
                <a:gd name="T58" fmla="*/ 24 w 148"/>
                <a:gd name="T59" fmla="*/ 65 h 106"/>
                <a:gd name="T60" fmla="*/ 22 w 148"/>
                <a:gd name="T61" fmla="*/ 67 h 106"/>
                <a:gd name="T62" fmla="*/ 24 w 148"/>
                <a:gd name="T63" fmla="*/ 70 h 106"/>
                <a:gd name="T64" fmla="*/ 25 w 148"/>
                <a:gd name="T65" fmla="*/ 73 h 106"/>
                <a:gd name="T66" fmla="*/ 23 w 148"/>
                <a:gd name="T67" fmla="*/ 91 h 106"/>
                <a:gd name="T68" fmla="*/ 27 w 148"/>
                <a:gd name="T69" fmla="*/ 92 h 106"/>
                <a:gd name="T70" fmla="*/ 28 w 148"/>
                <a:gd name="T71" fmla="*/ 94 h 106"/>
                <a:gd name="T72" fmla="*/ 30 w 148"/>
                <a:gd name="T73" fmla="*/ 98 h 106"/>
                <a:gd name="T74" fmla="*/ 33 w 148"/>
                <a:gd name="T75" fmla="*/ 102 h 106"/>
                <a:gd name="T76" fmla="*/ 37 w 148"/>
                <a:gd name="T77" fmla="*/ 105 h 106"/>
                <a:gd name="T78" fmla="*/ 41 w 148"/>
                <a:gd name="T79" fmla="*/ 106 h 106"/>
                <a:gd name="T80" fmla="*/ 50 w 148"/>
                <a:gd name="T81" fmla="*/ 103 h 106"/>
                <a:gd name="T82" fmla="*/ 51 w 148"/>
                <a:gd name="T83" fmla="*/ 102 h 106"/>
                <a:gd name="T84" fmla="*/ 65 w 148"/>
                <a:gd name="T85" fmla="*/ 99 h 106"/>
                <a:gd name="T86" fmla="*/ 66 w 148"/>
                <a:gd name="T87" fmla="*/ 99 h 106"/>
                <a:gd name="T88" fmla="*/ 75 w 148"/>
                <a:gd name="T89" fmla="*/ 99 h 106"/>
                <a:gd name="T90" fmla="*/ 78 w 148"/>
                <a:gd name="T91" fmla="*/ 98 h 106"/>
                <a:gd name="T92" fmla="*/ 89 w 148"/>
                <a:gd name="T93" fmla="*/ 90 h 106"/>
                <a:gd name="T94" fmla="*/ 89 w 148"/>
                <a:gd name="T95" fmla="*/ 90 h 106"/>
                <a:gd name="T96" fmla="*/ 99 w 148"/>
                <a:gd name="T97" fmla="*/ 81 h 106"/>
                <a:gd name="T98" fmla="*/ 109 w 148"/>
                <a:gd name="T99" fmla="*/ 72 h 106"/>
                <a:gd name="T100" fmla="*/ 104 w 148"/>
                <a:gd name="T101" fmla="*/ 64 h 106"/>
                <a:gd name="T102" fmla="*/ 108 w 148"/>
                <a:gd name="T103" fmla="*/ 52 h 106"/>
                <a:gd name="T104" fmla="*/ 121 w 148"/>
                <a:gd name="T105" fmla="*/ 39 h 106"/>
                <a:gd name="T106" fmla="*/ 125 w 148"/>
                <a:gd name="T107" fmla="*/ 37 h 106"/>
                <a:gd name="T108" fmla="*/ 131 w 148"/>
                <a:gd name="T109" fmla="*/ 36 h 106"/>
                <a:gd name="T110" fmla="*/ 134 w 148"/>
                <a:gd name="T111" fmla="*/ 35 h 106"/>
                <a:gd name="T112" fmla="*/ 144 w 148"/>
                <a:gd name="T113" fmla="*/ 30 h 106"/>
                <a:gd name="T114" fmla="*/ 147 w 148"/>
                <a:gd name="T115" fmla="*/ 25 h 106"/>
                <a:gd name="T116" fmla="*/ 148 w 148"/>
                <a:gd name="T117" fmla="*/ 20 h 106"/>
                <a:gd name="T118" fmla="*/ 127 w 148"/>
                <a:gd name="T119" fmla="*/ 11 h 106"/>
                <a:gd name="T120" fmla="*/ 120 w 148"/>
                <a:gd name="T121" fmla="*/ 1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06">
                  <a:moveTo>
                    <a:pt x="120" y="13"/>
                  </a:moveTo>
                  <a:cubicBezTo>
                    <a:pt x="118" y="15"/>
                    <a:pt x="115" y="15"/>
                    <a:pt x="113" y="14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7" y="6"/>
                    <a:pt x="86" y="6"/>
                    <a:pt x="85" y="6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5" y="5"/>
                    <a:pt x="54" y="5"/>
                    <a:pt x="54" y="5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8" y="2"/>
                    <a:pt x="48" y="2"/>
                    <a:pt x="47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9" y="1"/>
                    <a:pt x="9" y="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8"/>
                    <a:pt x="0" y="10"/>
                    <a:pt x="0" y="1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1"/>
                    <a:pt x="2" y="21"/>
                    <a:pt x="3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6" y="26"/>
                    <a:pt x="6" y="26"/>
                    <a:pt x="6" y="27"/>
                  </a:cubicBezTo>
                  <a:cubicBezTo>
                    <a:pt x="9" y="28"/>
                    <a:pt x="12" y="29"/>
                    <a:pt x="13" y="29"/>
                  </a:cubicBezTo>
                  <a:cubicBezTo>
                    <a:pt x="14" y="29"/>
                    <a:pt x="23" y="27"/>
                    <a:pt x="29" y="26"/>
                  </a:cubicBezTo>
                  <a:cubicBezTo>
                    <a:pt x="31" y="26"/>
                    <a:pt x="33" y="27"/>
                    <a:pt x="34" y="28"/>
                  </a:cubicBezTo>
                  <a:cubicBezTo>
                    <a:pt x="36" y="30"/>
                    <a:pt x="36" y="33"/>
                    <a:pt x="35" y="35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3" y="37"/>
                    <a:pt x="33" y="38"/>
                    <a:pt x="32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8" y="41"/>
                    <a:pt x="28" y="43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5" y="63"/>
                    <a:pt x="25" y="64"/>
                    <a:pt x="24" y="65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5" y="71"/>
                    <a:pt x="25" y="72"/>
                    <a:pt x="25" y="73"/>
                  </a:cubicBezTo>
                  <a:cubicBezTo>
                    <a:pt x="23" y="91"/>
                    <a:pt x="23" y="91"/>
                    <a:pt x="23" y="91"/>
                  </a:cubicBezTo>
                  <a:cubicBezTo>
                    <a:pt x="24" y="91"/>
                    <a:pt x="26" y="92"/>
                    <a:pt x="27" y="92"/>
                  </a:cubicBezTo>
                  <a:cubicBezTo>
                    <a:pt x="28" y="94"/>
                    <a:pt x="28" y="94"/>
                    <a:pt x="28" y="94"/>
                  </a:cubicBezTo>
                  <a:cubicBezTo>
                    <a:pt x="30" y="95"/>
                    <a:pt x="30" y="96"/>
                    <a:pt x="30" y="98"/>
                  </a:cubicBezTo>
                  <a:cubicBezTo>
                    <a:pt x="30" y="100"/>
                    <a:pt x="31" y="101"/>
                    <a:pt x="33" y="102"/>
                  </a:cubicBezTo>
                  <a:cubicBezTo>
                    <a:pt x="37" y="105"/>
                    <a:pt x="37" y="105"/>
                    <a:pt x="37" y="105"/>
                  </a:cubicBezTo>
                  <a:cubicBezTo>
                    <a:pt x="38" y="106"/>
                    <a:pt x="40" y="106"/>
                    <a:pt x="41" y="106"/>
                  </a:cubicBezTo>
                  <a:cubicBezTo>
                    <a:pt x="50" y="103"/>
                    <a:pt x="50" y="103"/>
                    <a:pt x="50" y="103"/>
                  </a:cubicBezTo>
                  <a:cubicBezTo>
                    <a:pt x="50" y="103"/>
                    <a:pt x="50" y="102"/>
                    <a:pt x="51" y="102"/>
                  </a:cubicBezTo>
                  <a:cubicBezTo>
                    <a:pt x="65" y="99"/>
                    <a:pt x="65" y="99"/>
                    <a:pt x="65" y="99"/>
                  </a:cubicBezTo>
                  <a:cubicBezTo>
                    <a:pt x="65" y="99"/>
                    <a:pt x="66" y="99"/>
                    <a:pt x="66" y="99"/>
                  </a:cubicBezTo>
                  <a:cubicBezTo>
                    <a:pt x="75" y="99"/>
                    <a:pt x="75" y="99"/>
                    <a:pt x="75" y="99"/>
                  </a:cubicBezTo>
                  <a:cubicBezTo>
                    <a:pt x="76" y="99"/>
                    <a:pt x="77" y="99"/>
                    <a:pt x="78" y="98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8" y="52"/>
                    <a:pt x="108" y="52"/>
                    <a:pt x="108" y="52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2" y="38"/>
                    <a:pt x="124" y="37"/>
                    <a:pt x="125" y="37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2" y="36"/>
                    <a:pt x="133" y="36"/>
                    <a:pt x="134" y="35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29"/>
                    <a:pt x="147" y="27"/>
                    <a:pt x="147" y="25"/>
                  </a:cubicBezTo>
                  <a:cubicBezTo>
                    <a:pt x="148" y="20"/>
                    <a:pt x="148" y="20"/>
                    <a:pt x="148" y="20"/>
                  </a:cubicBezTo>
                  <a:cubicBezTo>
                    <a:pt x="127" y="11"/>
                    <a:pt x="127" y="11"/>
                    <a:pt x="127" y="11"/>
                  </a:cubicBezTo>
                  <a:cubicBezTo>
                    <a:pt x="124" y="10"/>
                    <a:pt x="121" y="11"/>
                    <a:pt x="120" y="13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7" name="Freeform 14">
              <a:extLst>
                <a:ext uri="{FF2B5EF4-FFF2-40B4-BE49-F238E27FC236}">
                  <a16:creationId xmlns:a16="http://schemas.microsoft.com/office/drawing/2014/main" id="{9F0CAD4E-0954-44F6-B8CD-4D966FDDD3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250" y="3178176"/>
              <a:ext cx="90488" cy="136525"/>
            </a:xfrm>
            <a:custGeom>
              <a:avLst/>
              <a:gdLst>
                <a:gd name="T0" fmla="*/ 1 w 30"/>
                <a:gd name="T1" fmla="*/ 28 h 46"/>
                <a:gd name="T2" fmla="*/ 8 w 30"/>
                <a:gd name="T3" fmla="*/ 46 h 46"/>
                <a:gd name="T4" fmla="*/ 19 w 30"/>
                <a:gd name="T5" fmla="*/ 46 h 46"/>
                <a:gd name="T6" fmla="*/ 17 w 30"/>
                <a:gd name="T7" fmla="*/ 41 h 46"/>
                <a:gd name="T8" fmla="*/ 16 w 30"/>
                <a:gd name="T9" fmla="*/ 32 h 46"/>
                <a:gd name="T10" fmla="*/ 17 w 30"/>
                <a:gd name="T11" fmla="*/ 27 h 46"/>
                <a:gd name="T12" fmla="*/ 20 w 30"/>
                <a:gd name="T13" fmla="*/ 24 h 46"/>
                <a:gd name="T14" fmla="*/ 27 w 30"/>
                <a:gd name="T15" fmla="*/ 22 h 46"/>
                <a:gd name="T16" fmla="*/ 30 w 30"/>
                <a:gd name="T17" fmla="*/ 18 h 46"/>
                <a:gd name="T18" fmla="*/ 30 w 30"/>
                <a:gd name="T19" fmla="*/ 17 h 46"/>
                <a:gd name="T20" fmla="*/ 28 w 30"/>
                <a:gd name="T21" fmla="*/ 14 h 46"/>
                <a:gd name="T22" fmla="*/ 27 w 30"/>
                <a:gd name="T23" fmla="*/ 13 h 46"/>
                <a:gd name="T24" fmla="*/ 26 w 30"/>
                <a:gd name="T25" fmla="*/ 9 h 46"/>
                <a:gd name="T26" fmla="*/ 28 w 30"/>
                <a:gd name="T27" fmla="*/ 2 h 46"/>
                <a:gd name="T28" fmla="*/ 17 w 30"/>
                <a:gd name="T29" fmla="*/ 3 h 46"/>
                <a:gd name="T30" fmla="*/ 13 w 30"/>
                <a:gd name="T31" fmla="*/ 7 h 46"/>
                <a:gd name="T32" fmla="*/ 8 w 30"/>
                <a:gd name="T33" fmla="*/ 7 h 46"/>
                <a:gd name="T34" fmla="*/ 4 w 30"/>
                <a:gd name="T35" fmla="*/ 7 h 46"/>
                <a:gd name="T36" fmla="*/ 1 w 30"/>
                <a:gd name="T37" fmla="*/ 10 h 46"/>
                <a:gd name="T38" fmla="*/ 0 w 30"/>
                <a:gd name="T39" fmla="*/ 13 h 46"/>
                <a:gd name="T40" fmla="*/ 1 w 30"/>
                <a:gd name="T41" fmla="*/ 26 h 46"/>
                <a:gd name="T42" fmla="*/ 1 w 30"/>
                <a:gd name="T43" fmla="*/ 2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" h="46">
                  <a:moveTo>
                    <a:pt x="1" y="28"/>
                  </a:moveTo>
                  <a:cubicBezTo>
                    <a:pt x="8" y="46"/>
                    <a:pt x="8" y="46"/>
                    <a:pt x="8" y="46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5" y="38"/>
                    <a:pt x="15" y="35"/>
                    <a:pt x="16" y="32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8" y="22"/>
                    <a:pt x="30" y="20"/>
                    <a:pt x="30" y="18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6"/>
                    <a:pt x="29" y="15"/>
                    <a:pt x="28" y="14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6" y="12"/>
                    <a:pt x="25" y="10"/>
                    <a:pt x="26" y="9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0"/>
                    <a:pt x="20" y="0"/>
                    <a:pt x="17" y="3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9"/>
                    <a:pt x="9" y="9"/>
                    <a:pt x="8" y="7"/>
                  </a:cubicBezTo>
                  <a:cubicBezTo>
                    <a:pt x="7" y="6"/>
                    <a:pt x="5" y="6"/>
                    <a:pt x="4" y="7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1"/>
                    <a:pt x="0" y="12"/>
                    <a:pt x="0" y="13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7"/>
                    <a:pt x="1" y="27"/>
                    <a:pt x="1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8" name="Freeform 15">
              <a:extLst>
                <a:ext uri="{FF2B5EF4-FFF2-40B4-BE49-F238E27FC236}">
                  <a16:creationId xmlns:a16="http://schemas.microsoft.com/office/drawing/2014/main" id="{B41755E7-0DE0-4409-8979-2CBCA23650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3314701"/>
              <a:ext cx="317500" cy="303213"/>
            </a:xfrm>
            <a:custGeom>
              <a:avLst/>
              <a:gdLst>
                <a:gd name="T0" fmla="*/ 42 w 106"/>
                <a:gd name="T1" fmla="*/ 95 h 101"/>
                <a:gd name="T2" fmla="*/ 52 w 106"/>
                <a:gd name="T3" fmla="*/ 100 h 101"/>
                <a:gd name="T4" fmla="*/ 56 w 106"/>
                <a:gd name="T5" fmla="*/ 101 h 101"/>
                <a:gd name="T6" fmla="*/ 71 w 106"/>
                <a:gd name="T7" fmla="*/ 101 h 101"/>
                <a:gd name="T8" fmla="*/ 86 w 106"/>
                <a:gd name="T9" fmla="*/ 94 h 101"/>
                <a:gd name="T10" fmla="*/ 92 w 106"/>
                <a:gd name="T11" fmla="*/ 89 h 101"/>
                <a:gd name="T12" fmla="*/ 92 w 106"/>
                <a:gd name="T13" fmla="*/ 76 h 101"/>
                <a:gd name="T14" fmla="*/ 86 w 106"/>
                <a:gd name="T15" fmla="*/ 69 h 101"/>
                <a:gd name="T16" fmla="*/ 83 w 106"/>
                <a:gd name="T17" fmla="*/ 63 h 101"/>
                <a:gd name="T18" fmla="*/ 83 w 106"/>
                <a:gd name="T19" fmla="*/ 60 h 101"/>
                <a:gd name="T20" fmla="*/ 89 w 106"/>
                <a:gd name="T21" fmla="*/ 51 h 101"/>
                <a:gd name="T22" fmla="*/ 99 w 106"/>
                <a:gd name="T23" fmla="*/ 48 h 101"/>
                <a:gd name="T24" fmla="*/ 104 w 106"/>
                <a:gd name="T25" fmla="*/ 37 h 101"/>
                <a:gd name="T26" fmla="*/ 101 w 106"/>
                <a:gd name="T27" fmla="*/ 25 h 101"/>
                <a:gd name="T28" fmla="*/ 104 w 106"/>
                <a:gd name="T29" fmla="*/ 16 h 101"/>
                <a:gd name="T30" fmla="*/ 106 w 106"/>
                <a:gd name="T31" fmla="*/ 13 h 101"/>
                <a:gd name="T32" fmla="*/ 103 w 106"/>
                <a:gd name="T33" fmla="*/ 10 h 101"/>
                <a:gd name="T34" fmla="*/ 88 w 106"/>
                <a:gd name="T35" fmla="*/ 5 h 101"/>
                <a:gd name="T36" fmla="*/ 85 w 106"/>
                <a:gd name="T37" fmla="*/ 5 h 101"/>
                <a:gd name="T38" fmla="*/ 77 w 106"/>
                <a:gd name="T39" fmla="*/ 13 h 101"/>
                <a:gd name="T40" fmla="*/ 59 w 106"/>
                <a:gd name="T41" fmla="*/ 6 h 101"/>
                <a:gd name="T42" fmla="*/ 53 w 106"/>
                <a:gd name="T43" fmla="*/ 1 h 101"/>
                <a:gd name="T44" fmla="*/ 52 w 106"/>
                <a:gd name="T45" fmla="*/ 0 h 101"/>
                <a:gd name="T46" fmla="*/ 41 w 106"/>
                <a:gd name="T47" fmla="*/ 0 h 101"/>
                <a:gd name="T48" fmla="*/ 42 w 106"/>
                <a:gd name="T49" fmla="*/ 3 h 101"/>
                <a:gd name="T50" fmla="*/ 45 w 106"/>
                <a:gd name="T51" fmla="*/ 8 h 101"/>
                <a:gd name="T52" fmla="*/ 44 w 106"/>
                <a:gd name="T53" fmla="*/ 12 h 101"/>
                <a:gd name="T54" fmla="*/ 39 w 106"/>
                <a:gd name="T55" fmla="*/ 16 h 101"/>
                <a:gd name="T56" fmla="*/ 38 w 106"/>
                <a:gd name="T57" fmla="*/ 17 h 101"/>
                <a:gd name="T58" fmla="*/ 36 w 106"/>
                <a:gd name="T59" fmla="*/ 22 h 101"/>
                <a:gd name="T60" fmla="*/ 30 w 106"/>
                <a:gd name="T61" fmla="*/ 17 h 101"/>
                <a:gd name="T62" fmla="*/ 27 w 106"/>
                <a:gd name="T63" fmla="*/ 17 h 101"/>
                <a:gd name="T64" fmla="*/ 25 w 106"/>
                <a:gd name="T65" fmla="*/ 17 h 101"/>
                <a:gd name="T66" fmla="*/ 26 w 106"/>
                <a:gd name="T67" fmla="*/ 19 h 101"/>
                <a:gd name="T68" fmla="*/ 26 w 106"/>
                <a:gd name="T69" fmla="*/ 21 h 101"/>
                <a:gd name="T70" fmla="*/ 18 w 106"/>
                <a:gd name="T71" fmla="*/ 34 h 101"/>
                <a:gd name="T72" fmla="*/ 10 w 106"/>
                <a:gd name="T73" fmla="*/ 48 h 101"/>
                <a:gd name="T74" fmla="*/ 10 w 106"/>
                <a:gd name="T75" fmla="*/ 55 h 101"/>
                <a:gd name="T76" fmla="*/ 10 w 106"/>
                <a:gd name="T77" fmla="*/ 55 h 101"/>
                <a:gd name="T78" fmla="*/ 10 w 106"/>
                <a:gd name="T79" fmla="*/ 65 h 101"/>
                <a:gd name="T80" fmla="*/ 7 w 106"/>
                <a:gd name="T81" fmla="*/ 71 h 101"/>
                <a:gd name="T82" fmla="*/ 0 w 106"/>
                <a:gd name="T83" fmla="*/ 79 h 101"/>
                <a:gd name="T84" fmla="*/ 10 w 106"/>
                <a:gd name="T85" fmla="*/ 79 h 101"/>
                <a:gd name="T86" fmla="*/ 12 w 106"/>
                <a:gd name="T87" fmla="*/ 80 h 101"/>
                <a:gd name="T88" fmla="*/ 16 w 106"/>
                <a:gd name="T89" fmla="*/ 84 h 101"/>
                <a:gd name="T90" fmla="*/ 19 w 106"/>
                <a:gd name="T91" fmla="*/ 85 h 101"/>
                <a:gd name="T92" fmla="*/ 28 w 106"/>
                <a:gd name="T93" fmla="*/ 85 h 101"/>
                <a:gd name="T94" fmla="*/ 32 w 106"/>
                <a:gd name="T95" fmla="*/ 88 h 101"/>
                <a:gd name="T96" fmla="*/ 32 w 106"/>
                <a:gd name="T97" fmla="*/ 91 h 101"/>
                <a:gd name="T98" fmla="*/ 31 w 106"/>
                <a:gd name="T99" fmla="*/ 93 h 101"/>
                <a:gd name="T100" fmla="*/ 30 w 106"/>
                <a:gd name="T101" fmla="*/ 94 h 101"/>
                <a:gd name="T102" fmla="*/ 38 w 106"/>
                <a:gd name="T103" fmla="*/ 94 h 101"/>
                <a:gd name="T104" fmla="*/ 42 w 106"/>
                <a:gd name="T105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6" h="101">
                  <a:moveTo>
                    <a:pt x="42" y="95"/>
                  </a:moveTo>
                  <a:cubicBezTo>
                    <a:pt x="52" y="100"/>
                    <a:pt x="52" y="100"/>
                    <a:pt x="52" y="100"/>
                  </a:cubicBezTo>
                  <a:cubicBezTo>
                    <a:pt x="53" y="100"/>
                    <a:pt x="54" y="101"/>
                    <a:pt x="56" y="101"/>
                  </a:cubicBezTo>
                  <a:cubicBezTo>
                    <a:pt x="71" y="101"/>
                    <a:pt x="71" y="101"/>
                    <a:pt x="71" y="101"/>
                  </a:cubicBezTo>
                  <a:cubicBezTo>
                    <a:pt x="77" y="101"/>
                    <a:pt x="82" y="98"/>
                    <a:pt x="86" y="94"/>
                  </a:cubicBezTo>
                  <a:cubicBezTo>
                    <a:pt x="92" y="89"/>
                    <a:pt x="92" y="89"/>
                    <a:pt x="92" y="89"/>
                  </a:cubicBezTo>
                  <a:cubicBezTo>
                    <a:pt x="96" y="85"/>
                    <a:pt x="96" y="79"/>
                    <a:pt x="92" y="76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4" y="68"/>
                    <a:pt x="83" y="65"/>
                    <a:pt x="83" y="63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3" y="56"/>
                    <a:pt x="86" y="53"/>
                    <a:pt x="89" y="51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103" y="46"/>
                    <a:pt x="105" y="42"/>
                    <a:pt x="104" y="3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0" y="22"/>
                    <a:pt x="101" y="18"/>
                    <a:pt x="104" y="16"/>
                  </a:cubicBezTo>
                  <a:cubicBezTo>
                    <a:pt x="105" y="15"/>
                    <a:pt x="106" y="14"/>
                    <a:pt x="106" y="13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99" y="5"/>
                    <a:pt x="93" y="4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1" y="6"/>
                    <a:pt x="78" y="9"/>
                    <a:pt x="77" y="13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6" y="5"/>
                    <a:pt x="54" y="3"/>
                    <a:pt x="53" y="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9"/>
                    <a:pt x="45" y="11"/>
                    <a:pt x="44" y="12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7"/>
                    <a:pt x="38" y="17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29" y="17"/>
                    <a:pt x="28" y="16"/>
                    <a:pt x="27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8"/>
                    <a:pt x="26" y="19"/>
                    <a:pt x="26" y="19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6"/>
                    <a:pt x="23" y="31"/>
                    <a:pt x="18" y="34"/>
                  </a:cubicBezTo>
                  <a:cubicBezTo>
                    <a:pt x="13" y="37"/>
                    <a:pt x="10" y="42"/>
                    <a:pt x="10" y="48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1" y="59"/>
                    <a:pt x="11" y="62"/>
                    <a:pt x="10" y="65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6" y="74"/>
                    <a:pt x="3" y="77"/>
                    <a:pt x="0" y="79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1" y="79"/>
                    <a:pt x="11" y="79"/>
                    <a:pt x="12" y="80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7" y="85"/>
                    <a:pt x="18" y="85"/>
                    <a:pt x="19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0" y="85"/>
                    <a:pt x="32" y="86"/>
                    <a:pt x="32" y="88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32" y="92"/>
                    <a:pt x="31" y="92"/>
                    <a:pt x="31" y="93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9" y="94"/>
                    <a:pt x="41" y="94"/>
                    <a:pt x="42" y="95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9" name="Freeform 16">
              <a:extLst>
                <a:ext uri="{FF2B5EF4-FFF2-40B4-BE49-F238E27FC236}">
                  <a16:creationId xmlns:a16="http://schemas.microsoft.com/office/drawing/2014/main" id="{23BE8892-CDD0-429E-92A4-D10CEB23E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5" y="3541713"/>
              <a:ext cx="220663" cy="150813"/>
            </a:xfrm>
            <a:custGeom>
              <a:avLst/>
              <a:gdLst>
                <a:gd name="T0" fmla="*/ 68 w 74"/>
                <a:gd name="T1" fmla="*/ 29 h 50"/>
                <a:gd name="T2" fmla="*/ 73 w 74"/>
                <a:gd name="T3" fmla="*/ 21 h 50"/>
                <a:gd name="T4" fmla="*/ 73 w 74"/>
                <a:gd name="T5" fmla="*/ 15 h 50"/>
                <a:gd name="T6" fmla="*/ 71 w 74"/>
                <a:gd name="T7" fmla="*/ 7 h 50"/>
                <a:gd name="T8" fmla="*/ 65 w 74"/>
                <a:gd name="T9" fmla="*/ 2 h 50"/>
                <a:gd name="T10" fmla="*/ 61 w 74"/>
                <a:gd name="T11" fmla="*/ 1 h 50"/>
                <a:gd name="T12" fmla="*/ 53 w 74"/>
                <a:gd name="T13" fmla="*/ 4 h 50"/>
                <a:gd name="T14" fmla="*/ 46 w 74"/>
                <a:gd name="T15" fmla="*/ 7 h 50"/>
                <a:gd name="T16" fmla="*/ 40 w 74"/>
                <a:gd name="T17" fmla="*/ 7 h 50"/>
                <a:gd name="T18" fmla="*/ 37 w 74"/>
                <a:gd name="T19" fmla="*/ 13 h 50"/>
                <a:gd name="T20" fmla="*/ 31 w 74"/>
                <a:gd name="T21" fmla="*/ 18 h 50"/>
                <a:gd name="T22" fmla="*/ 16 w 74"/>
                <a:gd name="T23" fmla="*/ 25 h 50"/>
                <a:gd name="T24" fmla="*/ 1 w 74"/>
                <a:gd name="T25" fmla="*/ 25 h 50"/>
                <a:gd name="T26" fmla="*/ 1 w 74"/>
                <a:gd name="T27" fmla="*/ 26 h 50"/>
                <a:gd name="T28" fmla="*/ 5 w 74"/>
                <a:gd name="T29" fmla="*/ 31 h 50"/>
                <a:gd name="T30" fmla="*/ 7 w 74"/>
                <a:gd name="T31" fmla="*/ 31 h 50"/>
                <a:gd name="T32" fmla="*/ 10 w 74"/>
                <a:gd name="T33" fmla="*/ 35 h 50"/>
                <a:gd name="T34" fmla="*/ 8 w 74"/>
                <a:gd name="T35" fmla="*/ 39 h 50"/>
                <a:gd name="T36" fmla="*/ 3 w 74"/>
                <a:gd name="T37" fmla="*/ 42 h 50"/>
                <a:gd name="T38" fmla="*/ 0 w 74"/>
                <a:gd name="T39" fmla="*/ 47 h 50"/>
                <a:gd name="T40" fmla="*/ 0 w 74"/>
                <a:gd name="T41" fmla="*/ 50 h 50"/>
                <a:gd name="T42" fmla="*/ 2 w 74"/>
                <a:gd name="T43" fmla="*/ 48 h 50"/>
                <a:gd name="T44" fmla="*/ 8 w 74"/>
                <a:gd name="T45" fmla="*/ 46 h 50"/>
                <a:gd name="T46" fmla="*/ 14 w 74"/>
                <a:gd name="T47" fmla="*/ 46 h 50"/>
                <a:gd name="T48" fmla="*/ 15 w 74"/>
                <a:gd name="T49" fmla="*/ 42 h 50"/>
                <a:gd name="T50" fmla="*/ 23 w 74"/>
                <a:gd name="T51" fmla="*/ 42 h 50"/>
                <a:gd name="T52" fmla="*/ 28 w 74"/>
                <a:gd name="T53" fmla="*/ 45 h 50"/>
                <a:gd name="T54" fmla="*/ 30 w 74"/>
                <a:gd name="T55" fmla="*/ 48 h 50"/>
                <a:gd name="T56" fmla="*/ 34 w 74"/>
                <a:gd name="T57" fmla="*/ 49 h 50"/>
                <a:gd name="T58" fmla="*/ 35 w 74"/>
                <a:gd name="T59" fmla="*/ 49 h 50"/>
                <a:gd name="T60" fmla="*/ 62 w 74"/>
                <a:gd name="T61" fmla="*/ 36 h 50"/>
                <a:gd name="T62" fmla="*/ 68 w 74"/>
                <a:gd name="T63" fmla="*/ 29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4" h="50">
                  <a:moveTo>
                    <a:pt x="68" y="29"/>
                  </a:moveTo>
                  <a:cubicBezTo>
                    <a:pt x="73" y="21"/>
                    <a:pt x="73" y="21"/>
                    <a:pt x="73" y="21"/>
                  </a:cubicBezTo>
                  <a:cubicBezTo>
                    <a:pt x="74" y="19"/>
                    <a:pt x="74" y="17"/>
                    <a:pt x="73" y="15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0" y="5"/>
                    <a:pt x="68" y="2"/>
                    <a:pt x="65" y="2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58" y="0"/>
                    <a:pt x="55" y="1"/>
                    <a:pt x="53" y="4"/>
                  </a:cubicBezTo>
                  <a:cubicBezTo>
                    <a:pt x="51" y="6"/>
                    <a:pt x="49" y="7"/>
                    <a:pt x="46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9"/>
                    <a:pt x="39" y="11"/>
                    <a:pt x="37" y="13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27" y="22"/>
                    <a:pt x="22" y="25"/>
                    <a:pt x="16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9"/>
                    <a:pt x="3" y="31"/>
                    <a:pt x="5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9" y="31"/>
                    <a:pt x="10" y="33"/>
                    <a:pt x="10" y="35"/>
                  </a:cubicBezTo>
                  <a:cubicBezTo>
                    <a:pt x="10" y="36"/>
                    <a:pt x="10" y="38"/>
                    <a:pt x="8" y="39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1" y="43"/>
                    <a:pt x="0" y="45"/>
                    <a:pt x="0" y="4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3" y="47"/>
                    <a:pt x="6" y="46"/>
                    <a:pt x="8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3"/>
                    <a:pt x="15" y="42"/>
                  </a:cubicBezTo>
                  <a:cubicBezTo>
                    <a:pt x="16" y="40"/>
                    <a:pt x="23" y="42"/>
                    <a:pt x="23" y="42"/>
                  </a:cubicBezTo>
                  <a:cubicBezTo>
                    <a:pt x="25" y="42"/>
                    <a:pt x="27" y="43"/>
                    <a:pt x="28" y="45"/>
                  </a:cubicBezTo>
                  <a:cubicBezTo>
                    <a:pt x="28" y="46"/>
                    <a:pt x="29" y="47"/>
                    <a:pt x="30" y="48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5" y="49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5" y="34"/>
                    <a:pt x="67" y="32"/>
                    <a:pt x="68" y="2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0" name="Freeform 17">
              <a:extLst>
                <a:ext uri="{FF2B5EF4-FFF2-40B4-BE49-F238E27FC236}">
                  <a16:creationId xmlns:a16="http://schemas.microsoft.com/office/drawing/2014/main" id="{F04277DD-FB5A-48F3-AC0E-BDB5EBA3A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3443288"/>
              <a:ext cx="193675" cy="120650"/>
            </a:xfrm>
            <a:custGeom>
              <a:avLst/>
              <a:gdLst>
                <a:gd name="T0" fmla="*/ 52 w 65"/>
                <a:gd name="T1" fmla="*/ 34 h 40"/>
                <a:gd name="T2" fmla="*/ 55 w 65"/>
                <a:gd name="T3" fmla="*/ 33 h 40"/>
                <a:gd name="T4" fmla="*/ 62 w 65"/>
                <a:gd name="T5" fmla="*/ 26 h 40"/>
                <a:gd name="T6" fmla="*/ 61 w 65"/>
                <a:gd name="T7" fmla="*/ 18 h 40"/>
                <a:gd name="T8" fmla="*/ 21 w 65"/>
                <a:gd name="T9" fmla="*/ 0 h 40"/>
                <a:gd name="T10" fmla="*/ 16 w 65"/>
                <a:gd name="T11" fmla="*/ 5 h 40"/>
                <a:gd name="T12" fmla="*/ 6 w 65"/>
                <a:gd name="T13" fmla="*/ 8 h 40"/>
                <a:gd name="T14" fmla="*/ 0 w 65"/>
                <a:gd name="T15" fmla="*/ 17 h 40"/>
                <a:gd name="T16" fmla="*/ 0 w 65"/>
                <a:gd name="T17" fmla="*/ 20 h 40"/>
                <a:gd name="T18" fmla="*/ 3 w 65"/>
                <a:gd name="T19" fmla="*/ 26 h 40"/>
                <a:gd name="T20" fmla="*/ 9 w 65"/>
                <a:gd name="T21" fmla="*/ 33 h 40"/>
                <a:gd name="T22" fmla="*/ 12 w 65"/>
                <a:gd name="T23" fmla="*/ 40 h 40"/>
                <a:gd name="T24" fmla="*/ 18 w 65"/>
                <a:gd name="T25" fmla="*/ 40 h 40"/>
                <a:gd name="T26" fmla="*/ 25 w 65"/>
                <a:gd name="T27" fmla="*/ 37 h 40"/>
                <a:gd name="T28" fmla="*/ 33 w 65"/>
                <a:gd name="T29" fmla="*/ 34 h 40"/>
                <a:gd name="T30" fmla="*/ 37 w 65"/>
                <a:gd name="T31" fmla="*/ 35 h 40"/>
                <a:gd name="T32" fmla="*/ 38 w 65"/>
                <a:gd name="T33" fmla="*/ 34 h 40"/>
                <a:gd name="T34" fmla="*/ 52 w 65"/>
                <a:gd name="T35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" h="40">
                  <a:moveTo>
                    <a:pt x="52" y="34"/>
                  </a:moveTo>
                  <a:cubicBezTo>
                    <a:pt x="53" y="34"/>
                    <a:pt x="54" y="34"/>
                    <a:pt x="55" y="33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5" y="24"/>
                    <a:pt x="64" y="20"/>
                    <a:pt x="61" y="18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2"/>
                    <a:pt x="18" y="4"/>
                    <a:pt x="16" y="5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3" y="10"/>
                    <a:pt x="0" y="13"/>
                    <a:pt x="0" y="1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1" y="25"/>
                    <a:pt x="3" y="26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1" y="35"/>
                    <a:pt x="12" y="37"/>
                    <a:pt x="12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21" y="40"/>
                    <a:pt x="23" y="39"/>
                    <a:pt x="25" y="37"/>
                  </a:cubicBezTo>
                  <a:cubicBezTo>
                    <a:pt x="27" y="34"/>
                    <a:pt x="30" y="33"/>
                    <a:pt x="33" y="34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4"/>
                    <a:pt x="38" y="34"/>
                    <a:pt x="38" y="34"/>
                  </a:cubicBezTo>
                  <a:lnTo>
                    <a:pt x="52" y="3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1" name="Freeform 18">
              <a:extLst>
                <a:ext uri="{FF2B5EF4-FFF2-40B4-BE49-F238E27FC236}">
                  <a16:creationId xmlns:a16="http://schemas.microsoft.com/office/drawing/2014/main" id="{0E6A99C7-95E5-493A-8550-A1284D4887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700" y="3638551"/>
              <a:ext cx="125413" cy="85725"/>
            </a:xfrm>
            <a:custGeom>
              <a:avLst/>
              <a:gdLst>
                <a:gd name="T0" fmla="*/ 23 w 42"/>
                <a:gd name="T1" fmla="*/ 22 h 29"/>
                <a:gd name="T2" fmla="*/ 29 w 42"/>
                <a:gd name="T3" fmla="*/ 11 h 29"/>
                <a:gd name="T4" fmla="*/ 36 w 42"/>
                <a:gd name="T5" fmla="*/ 14 h 29"/>
                <a:gd name="T6" fmla="*/ 39 w 42"/>
                <a:gd name="T7" fmla="*/ 13 h 29"/>
                <a:gd name="T8" fmla="*/ 42 w 42"/>
                <a:gd name="T9" fmla="*/ 11 h 29"/>
                <a:gd name="T10" fmla="*/ 39 w 42"/>
                <a:gd name="T11" fmla="*/ 8 h 29"/>
                <a:gd name="T12" fmla="*/ 32 w 42"/>
                <a:gd name="T13" fmla="*/ 0 h 29"/>
                <a:gd name="T14" fmla="*/ 27 w 42"/>
                <a:gd name="T15" fmla="*/ 4 h 29"/>
                <a:gd name="T16" fmla="*/ 0 w 42"/>
                <a:gd name="T17" fmla="*/ 17 h 29"/>
                <a:gd name="T18" fmla="*/ 5 w 42"/>
                <a:gd name="T19" fmla="*/ 28 h 29"/>
                <a:gd name="T20" fmla="*/ 5 w 42"/>
                <a:gd name="T21" fmla="*/ 29 h 29"/>
                <a:gd name="T22" fmla="*/ 21 w 42"/>
                <a:gd name="T23" fmla="*/ 23 h 29"/>
                <a:gd name="T24" fmla="*/ 23 w 42"/>
                <a:gd name="T25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29">
                  <a:moveTo>
                    <a:pt x="23" y="22"/>
                  </a:moveTo>
                  <a:cubicBezTo>
                    <a:pt x="25" y="19"/>
                    <a:pt x="29" y="12"/>
                    <a:pt x="29" y="11"/>
                  </a:cubicBezTo>
                  <a:cubicBezTo>
                    <a:pt x="29" y="11"/>
                    <a:pt x="33" y="12"/>
                    <a:pt x="36" y="14"/>
                  </a:cubicBezTo>
                  <a:cubicBezTo>
                    <a:pt x="37" y="14"/>
                    <a:pt x="38" y="14"/>
                    <a:pt x="39" y="13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1" y="10"/>
                    <a:pt x="40" y="9"/>
                    <a:pt x="39" y="8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0" y="1"/>
                    <a:pt x="29" y="3"/>
                    <a:pt x="27" y="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4" y="19"/>
                    <a:pt x="7" y="23"/>
                    <a:pt x="5" y="2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2" y="23"/>
                    <a:pt x="23" y="22"/>
                    <a:pt x="23" y="2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2" name="Freeform 19">
              <a:extLst>
                <a:ext uri="{FF2B5EF4-FFF2-40B4-BE49-F238E27FC236}">
                  <a16:creationId xmlns:a16="http://schemas.microsoft.com/office/drawing/2014/main" id="{5AC99685-4DC3-4038-BD1F-B0E8ABDB6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738" y="3808413"/>
              <a:ext cx="44450" cy="68263"/>
            </a:xfrm>
            <a:custGeom>
              <a:avLst/>
              <a:gdLst>
                <a:gd name="T0" fmla="*/ 15 w 15"/>
                <a:gd name="T1" fmla="*/ 12 h 23"/>
                <a:gd name="T2" fmla="*/ 11 w 15"/>
                <a:gd name="T3" fmla="*/ 3 h 23"/>
                <a:gd name="T4" fmla="*/ 10 w 15"/>
                <a:gd name="T5" fmla="*/ 2 h 23"/>
                <a:gd name="T6" fmla="*/ 8 w 15"/>
                <a:gd name="T7" fmla="*/ 0 h 23"/>
                <a:gd name="T8" fmla="*/ 2 w 15"/>
                <a:gd name="T9" fmla="*/ 11 h 23"/>
                <a:gd name="T10" fmla="*/ 2 w 15"/>
                <a:gd name="T11" fmla="*/ 12 h 23"/>
                <a:gd name="T12" fmla="*/ 0 w 15"/>
                <a:gd name="T13" fmla="*/ 21 h 23"/>
                <a:gd name="T14" fmla="*/ 1 w 15"/>
                <a:gd name="T15" fmla="*/ 21 h 23"/>
                <a:gd name="T16" fmla="*/ 8 w 15"/>
                <a:gd name="T17" fmla="*/ 23 h 23"/>
                <a:gd name="T18" fmla="*/ 11 w 15"/>
                <a:gd name="T19" fmla="*/ 20 h 23"/>
                <a:gd name="T20" fmla="*/ 15 w 15"/>
                <a:gd name="T21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23">
                  <a:moveTo>
                    <a:pt x="15" y="12"/>
                  </a:moveTo>
                  <a:cubicBezTo>
                    <a:pt x="15" y="8"/>
                    <a:pt x="13" y="5"/>
                    <a:pt x="11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9" y="1"/>
                    <a:pt x="8" y="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0"/>
                    <a:pt x="6" y="21"/>
                    <a:pt x="8" y="23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3" y="18"/>
                    <a:pt x="15" y="15"/>
                    <a:pt x="15" y="1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3" name="Freeform 20">
              <a:extLst>
                <a:ext uri="{FF2B5EF4-FFF2-40B4-BE49-F238E27FC236}">
                  <a16:creationId xmlns:a16="http://schemas.microsoft.com/office/drawing/2014/main" id="{C61A9F15-E50D-4B50-B63A-7615F98CA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9550" y="3852863"/>
              <a:ext cx="69850" cy="120650"/>
            </a:xfrm>
            <a:custGeom>
              <a:avLst/>
              <a:gdLst>
                <a:gd name="T0" fmla="*/ 17 w 23"/>
                <a:gd name="T1" fmla="*/ 13 h 40"/>
                <a:gd name="T2" fmla="*/ 17 w 23"/>
                <a:gd name="T3" fmla="*/ 11 h 40"/>
                <a:gd name="T4" fmla="*/ 12 w 23"/>
                <a:gd name="T5" fmla="*/ 3 h 40"/>
                <a:gd name="T6" fmla="*/ 6 w 23"/>
                <a:gd name="T7" fmla="*/ 0 h 40"/>
                <a:gd name="T8" fmla="*/ 3 w 23"/>
                <a:gd name="T9" fmla="*/ 5 h 40"/>
                <a:gd name="T10" fmla="*/ 0 w 23"/>
                <a:gd name="T11" fmla="*/ 8 h 40"/>
                <a:gd name="T12" fmla="*/ 1 w 23"/>
                <a:gd name="T13" fmla="*/ 9 h 40"/>
                <a:gd name="T14" fmla="*/ 9 w 23"/>
                <a:gd name="T15" fmla="*/ 20 h 40"/>
                <a:gd name="T16" fmla="*/ 10 w 23"/>
                <a:gd name="T17" fmla="*/ 24 h 40"/>
                <a:gd name="T18" fmla="*/ 10 w 23"/>
                <a:gd name="T19" fmla="*/ 29 h 40"/>
                <a:gd name="T20" fmla="*/ 13 w 23"/>
                <a:gd name="T21" fmla="*/ 38 h 40"/>
                <a:gd name="T22" fmla="*/ 14 w 23"/>
                <a:gd name="T23" fmla="*/ 40 h 40"/>
                <a:gd name="T24" fmla="*/ 18 w 23"/>
                <a:gd name="T25" fmla="*/ 28 h 40"/>
                <a:gd name="T26" fmla="*/ 23 w 23"/>
                <a:gd name="T27" fmla="*/ 24 h 40"/>
                <a:gd name="T28" fmla="*/ 19 w 23"/>
                <a:gd name="T29" fmla="*/ 20 h 40"/>
                <a:gd name="T30" fmla="*/ 17 w 23"/>
                <a:gd name="T31" fmla="*/ 1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" h="40">
                  <a:moveTo>
                    <a:pt x="17" y="13"/>
                  </a:moveTo>
                  <a:cubicBezTo>
                    <a:pt x="17" y="11"/>
                    <a:pt x="17" y="11"/>
                    <a:pt x="17" y="11"/>
                  </a:cubicBezTo>
                  <a:cubicBezTo>
                    <a:pt x="17" y="7"/>
                    <a:pt x="15" y="4"/>
                    <a:pt x="12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4"/>
                    <a:pt x="3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1" y="9"/>
                    <a:pt x="1" y="9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1"/>
                    <a:pt x="10" y="22"/>
                    <a:pt x="10" y="24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32"/>
                    <a:pt x="11" y="35"/>
                    <a:pt x="13" y="38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6"/>
                    <a:pt x="21" y="24"/>
                    <a:pt x="23" y="24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7" y="18"/>
                    <a:pt x="17" y="16"/>
                    <a:pt x="17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4" name="Freeform 21">
              <a:extLst>
                <a:ext uri="{FF2B5EF4-FFF2-40B4-BE49-F238E27FC236}">
                  <a16:creationId xmlns:a16="http://schemas.microsoft.com/office/drawing/2014/main" id="{51BC15B6-F6F1-484D-8464-C2B4AD8D84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1613" y="3673476"/>
              <a:ext cx="146050" cy="203200"/>
            </a:xfrm>
            <a:custGeom>
              <a:avLst/>
              <a:gdLst>
                <a:gd name="T0" fmla="*/ 31 w 49"/>
                <a:gd name="T1" fmla="*/ 60 h 68"/>
                <a:gd name="T2" fmla="*/ 32 w 49"/>
                <a:gd name="T3" fmla="*/ 60 h 68"/>
                <a:gd name="T4" fmla="*/ 43 w 49"/>
                <a:gd name="T5" fmla="*/ 61 h 68"/>
                <a:gd name="T6" fmla="*/ 42 w 49"/>
                <a:gd name="T7" fmla="*/ 57 h 68"/>
                <a:gd name="T8" fmla="*/ 47 w 49"/>
                <a:gd name="T9" fmla="*/ 53 h 68"/>
                <a:gd name="T10" fmla="*/ 49 w 49"/>
                <a:gd name="T11" fmla="*/ 53 h 68"/>
                <a:gd name="T12" fmla="*/ 49 w 49"/>
                <a:gd name="T13" fmla="*/ 49 h 68"/>
                <a:gd name="T14" fmla="*/ 47 w 49"/>
                <a:gd name="T15" fmla="*/ 46 h 68"/>
                <a:gd name="T16" fmla="*/ 45 w 49"/>
                <a:gd name="T17" fmla="*/ 43 h 68"/>
                <a:gd name="T18" fmla="*/ 43 w 49"/>
                <a:gd name="T19" fmla="*/ 40 h 68"/>
                <a:gd name="T20" fmla="*/ 43 w 49"/>
                <a:gd name="T21" fmla="*/ 30 h 68"/>
                <a:gd name="T22" fmla="*/ 44 w 49"/>
                <a:gd name="T23" fmla="*/ 29 h 68"/>
                <a:gd name="T24" fmla="*/ 39 w 49"/>
                <a:gd name="T25" fmla="*/ 22 h 68"/>
                <a:gd name="T26" fmla="*/ 35 w 49"/>
                <a:gd name="T27" fmla="*/ 22 h 68"/>
                <a:gd name="T28" fmla="*/ 35 w 49"/>
                <a:gd name="T29" fmla="*/ 26 h 68"/>
                <a:gd name="T30" fmla="*/ 33 w 49"/>
                <a:gd name="T31" fmla="*/ 26 h 68"/>
                <a:gd name="T32" fmla="*/ 28 w 49"/>
                <a:gd name="T33" fmla="*/ 24 h 68"/>
                <a:gd name="T34" fmla="*/ 21 w 49"/>
                <a:gd name="T35" fmla="*/ 14 h 68"/>
                <a:gd name="T36" fmla="*/ 20 w 49"/>
                <a:gd name="T37" fmla="*/ 11 h 68"/>
                <a:gd name="T38" fmla="*/ 19 w 49"/>
                <a:gd name="T39" fmla="*/ 1 h 68"/>
                <a:gd name="T40" fmla="*/ 15 w 49"/>
                <a:gd name="T41" fmla="*/ 1 h 68"/>
                <a:gd name="T42" fmla="*/ 8 w 49"/>
                <a:gd name="T43" fmla="*/ 1 h 68"/>
                <a:gd name="T44" fmla="*/ 1 w 49"/>
                <a:gd name="T45" fmla="*/ 5 h 68"/>
                <a:gd name="T46" fmla="*/ 0 w 49"/>
                <a:gd name="T47" fmla="*/ 5 h 68"/>
                <a:gd name="T48" fmla="*/ 1 w 49"/>
                <a:gd name="T49" fmla="*/ 8 h 68"/>
                <a:gd name="T50" fmla="*/ 4 w 49"/>
                <a:gd name="T51" fmla="*/ 11 h 68"/>
                <a:gd name="T52" fmla="*/ 7 w 49"/>
                <a:gd name="T53" fmla="*/ 13 h 68"/>
                <a:gd name="T54" fmla="*/ 7 w 49"/>
                <a:gd name="T55" fmla="*/ 16 h 68"/>
                <a:gd name="T56" fmla="*/ 7 w 49"/>
                <a:gd name="T57" fmla="*/ 18 h 68"/>
                <a:gd name="T58" fmla="*/ 3 w 49"/>
                <a:gd name="T59" fmla="*/ 23 h 68"/>
                <a:gd name="T60" fmla="*/ 3 w 49"/>
                <a:gd name="T61" fmla="*/ 27 h 68"/>
                <a:gd name="T62" fmla="*/ 7 w 49"/>
                <a:gd name="T63" fmla="*/ 36 h 68"/>
                <a:gd name="T64" fmla="*/ 7 w 49"/>
                <a:gd name="T65" fmla="*/ 38 h 68"/>
                <a:gd name="T66" fmla="*/ 3 w 49"/>
                <a:gd name="T67" fmla="*/ 45 h 68"/>
                <a:gd name="T68" fmla="*/ 5 w 49"/>
                <a:gd name="T69" fmla="*/ 47 h 68"/>
                <a:gd name="T70" fmla="*/ 6 w 49"/>
                <a:gd name="T71" fmla="*/ 48 h 68"/>
                <a:gd name="T72" fmla="*/ 10 w 49"/>
                <a:gd name="T73" fmla="*/ 57 h 68"/>
                <a:gd name="T74" fmla="*/ 9 w 49"/>
                <a:gd name="T75" fmla="*/ 60 h 68"/>
                <a:gd name="T76" fmla="*/ 15 w 49"/>
                <a:gd name="T77" fmla="*/ 63 h 68"/>
                <a:gd name="T78" fmla="*/ 20 w 49"/>
                <a:gd name="T79" fmla="*/ 68 h 68"/>
                <a:gd name="T80" fmla="*/ 22 w 49"/>
                <a:gd name="T81" fmla="*/ 65 h 68"/>
                <a:gd name="T82" fmla="*/ 31 w 49"/>
                <a:gd name="T83" fmla="*/ 6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68">
                  <a:moveTo>
                    <a:pt x="31" y="60"/>
                  </a:moveTo>
                  <a:cubicBezTo>
                    <a:pt x="32" y="60"/>
                    <a:pt x="32" y="60"/>
                    <a:pt x="32" y="60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60"/>
                    <a:pt x="42" y="59"/>
                    <a:pt x="42" y="57"/>
                  </a:cubicBezTo>
                  <a:cubicBezTo>
                    <a:pt x="42" y="55"/>
                    <a:pt x="44" y="53"/>
                    <a:pt x="47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49" y="48"/>
                    <a:pt x="48" y="46"/>
                    <a:pt x="47" y="46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4" y="42"/>
                    <a:pt x="43" y="41"/>
                    <a:pt x="43" y="4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29"/>
                    <a:pt x="44" y="29"/>
                    <a:pt x="44" y="29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1" y="26"/>
                    <a:pt x="29" y="25"/>
                    <a:pt x="28" y="2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0" y="13"/>
                    <a:pt x="20" y="12"/>
                    <a:pt x="20" y="1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7" y="1"/>
                    <a:pt x="16" y="1"/>
                    <a:pt x="15" y="1"/>
                  </a:cubicBezTo>
                  <a:cubicBezTo>
                    <a:pt x="13" y="0"/>
                    <a:pt x="10" y="0"/>
                    <a:pt x="8" y="1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10"/>
                    <a:pt x="2" y="11"/>
                    <a:pt x="4" y="11"/>
                  </a:cubicBezTo>
                  <a:cubicBezTo>
                    <a:pt x="5" y="11"/>
                    <a:pt x="7" y="12"/>
                    <a:pt x="7" y="13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8" y="16"/>
                    <a:pt x="7" y="17"/>
                    <a:pt x="7" y="18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2" y="24"/>
                    <a:pt x="2" y="26"/>
                    <a:pt x="3" y="27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7"/>
                    <a:pt x="7" y="38"/>
                    <a:pt x="7" y="38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4" y="46"/>
                    <a:pt x="5" y="46"/>
                    <a:pt x="5" y="47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8" y="50"/>
                    <a:pt x="10" y="53"/>
                    <a:pt x="10" y="57"/>
                  </a:cubicBezTo>
                  <a:cubicBezTo>
                    <a:pt x="10" y="58"/>
                    <a:pt x="9" y="59"/>
                    <a:pt x="9" y="60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7" y="64"/>
                    <a:pt x="19" y="66"/>
                    <a:pt x="20" y="68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4" y="62"/>
                    <a:pt x="28" y="60"/>
                    <a:pt x="31" y="6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5" name="Freeform 22">
              <a:extLst>
                <a:ext uri="{FF2B5EF4-FFF2-40B4-BE49-F238E27FC236}">
                  <a16:creationId xmlns:a16="http://schemas.microsoft.com/office/drawing/2014/main" id="{E7122D72-BD24-484B-ACA4-A2751A2EC6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0350" y="3852863"/>
              <a:ext cx="90488" cy="71438"/>
            </a:xfrm>
            <a:custGeom>
              <a:avLst/>
              <a:gdLst>
                <a:gd name="T0" fmla="*/ 28 w 30"/>
                <a:gd name="T1" fmla="*/ 8 h 24"/>
                <a:gd name="T2" fmla="*/ 27 w 30"/>
                <a:gd name="T3" fmla="*/ 4 h 24"/>
                <a:gd name="T4" fmla="*/ 23 w 30"/>
                <a:gd name="T5" fmla="*/ 1 h 24"/>
                <a:gd name="T6" fmla="*/ 23 w 30"/>
                <a:gd name="T7" fmla="*/ 1 h 24"/>
                <a:gd name="T8" fmla="*/ 12 w 30"/>
                <a:gd name="T9" fmla="*/ 0 h 24"/>
                <a:gd name="T10" fmla="*/ 11 w 30"/>
                <a:gd name="T11" fmla="*/ 0 h 24"/>
                <a:gd name="T12" fmla="*/ 2 w 30"/>
                <a:gd name="T13" fmla="*/ 5 h 24"/>
                <a:gd name="T14" fmla="*/ 0 w 30"/>
                <a:gd name="T15" fmla="*/ 8 h 24"/>
                <a:gd name="T16" fmla="*/ 0 w 30"/>
                <a:gd name="T17" fmla="*/ 11 h 24"/>
                <a:gd name="T18" fmla="*/ 0 w 30"/>
                <a:gd name="T19" fmla="*/ 13 h 24"/>
                <a:gd name="T20" fmla="*/ 2 w 30"/>
                <a:gd name="T21" fmla="*/ 20 h 24"/>
                <a:gd name="T22" fmla="*/ 6 w 30"/>
                <a:gd name="T23" fmla="*/ 24 h 24"/>
                <a:gd name="T24" fmla="*/ 8 w 30"/>
                <a:gd name="T25" fmla="*/ 23 h 24"/>
                <a:gd name="T26" fmla="*/ 9 w 30"/>
                <a:gd name="T27" fmla="*/ 23 h 24"/>
                <a:gd name="T28" fmla="*/ 14 w 30"/>
                <a:gd name="T29" fmla="*/ 21 h 24"/>
                <a:gd name="T30" fmla="*/ 14 w 30"/>
                <a:gd name="T31" fmla="*/ 21 h 24"/>
                <a:gd name="T32" fmla="*/ 20 w 30"/>
                <a:gd name="T33" fmla="*/ 19 h 24"/>
                <a:gd name="T34" fmla="*/ 26 w 30"/>
                <a:gd name="T35" fmla="*/ 17 h 24"/>
                <a:gd name="T36" fmla="*/ 30 w 30"/>
                <a:gd name="T37" fmla="*/ 12 h 24"/>
                <a:gd name="T38" fmla="*/ 28 w 30"/>
                <a:gd name="T39" fmla="*/ 9 h 24"/>
                <a:gd name="T40" fmla="*/ 28 w 30"/>
                <a:gd name="T41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24">
                  <a:moveTo>
                    <a:pt x="28" y="8"/>
                  </a:moveTo>
                  <a:cubicBezTo>
                    <a:pt x="28" y="7"/>
                    <a:pt x="28" y="5"/>
                    <a:pt x="27" y="4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4" y="2"/>
                    <a:pt x="2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10"/>
                    <a:pt x="0" y="1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6"/>
                    <a:pt x="0" y="18"/>
                    <a:pt x="2" y="20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1" y="23"/>
                    <a:pt x="13" y="23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6" y="20"/>
                    <a:pt x="18" y="19"/>
                    <a:pt x="20" y="19"/>
                  </a:cubicBezTo>
                  <a:cubicBezTo>
                    <a:pt x="22" y="19"/>
                    <a:pt x="24" y="18"/>
                    <a:pt x="26" y="17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9" y="11"/>
                    <a:pt x="28" y="10"/>
                    <a:pt x="28" y="9"/>
                  </a:cubicBezTo>
                  <a:lnTo>
                    <a:pt x="28" y="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6" name="Freeform 23">
              <a:extLst>
                <a:ext uri="{FF2B5EF4-FFF2-40B4-BE49-F238E27FC236}">
                  <a16:creationId xmlns:a16="http://schemas.microsoft.com/office/drawing/2014/main" id="{89508D1B-AAE8-4073-84CE-5A6516488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2413" y="3865563"/>
              <a:ext cx="314325" cy="250825"/>
            </a:xfrm>
            <a:custGeom>
              <a:avLst/>
              <a:gdLst>
                <a:gd name="T0" fmla="*/ 99 w 105"/>
                <a:gd name="T1" fmla="*/ 6 h 84"/>
                <a:gd name="T2" fmla="*/ 93 w 105"/>
                <a:gd name="T3" fmla="*/ 0 h 84"/>
                <a:gd name="T4" fmla="*/ 75 w 105"/>
                <a:gd name="T5" fmla="*/ 1 h 84"/>
                <a:gd name="T6" fmla="*/ 67 w 105"/>
                <a:gd name="T7" fmla="*/ 8 h 84"/>
                <a:gd name="T8" fmla="*/ 55 w 105"/>
                <a:gd name="T9" fmla="*/ 7 h 84"/>
                <a:gd name="T10" fmla="*/ 50 w 105"/>
                <a:gd name="T11" fmla="*/ 4 h 84"/>
                <a:gd name="T12" fmla="*/ 42 w 105"/>
                <a:gd name="T13" fmla="*/ 10 h 84"/>
                <a:gd name="T14" fmla="*/ 33 w 105"/>
                <a:gd name="T15" fmla="*/ 8 h 84"/>
                <a:gd name="T16" fmla="*/ 23 w 105"/>
                <a:gd name="T17" fmla="*/ 15 h 84"/>
                <a:gd name="T18" fmla="*/ 17 w 105"/>
                <a:gd name="T19" fmla="*/ 17 h 84"/>
                <a:gd name="T20" fmla="*/ 11 w 105"/>
                <a:gd name="T21" fmla="*/ 19 h 84"/>
                <a:gd name="T22" fmla="*/ 0 w 105"/>
                <a:gd name="T23" fmla="*/ 36 h 84"/>
                <a:gd name="T24" fmla="*/ 13 w 105"/>
                <a:gd name="T25" fmla="*/ 48 h 84"/>
                <a:gd name="T26" fmla="*/ 16 w 105"/>
                <a:gd name="T27" fmla="*/ 52 h 84"/>
                <a:gd name="T28" fmla="*/ 15 w 105"/>
                <a:gd name="T29" fmla="*/ 57 h 84"/>
                <a:gd name="T30" fmla="*/ 29 w 105"/>
                <a:gd name="T31" fmla="*/ 58 h 84"/>
                <a:gd name="T32" fmla="*/ 39 w 105"/>
                <a:gd name="T33" fmla="*/ 63 h 84"/>
                <a:gd name="T34" fmla="*/ 26 w 105"/>
                <a:gd name="T35" fmla="*/ 63 h 84"/>
                <a:gd name="T36" fmla="*/ 21 w 105"/>
                <a:gd name="T37" fmla="*/ 67 h 84"/>
                <a:gd name="T38" fmla="*/ 26 w 105"/>
                <a:gd name="T39" fmla="*/ 78 h 84"/>
                <a:gd name="T40" fmla="*/ 33 w 105"/>
                <a:gd name="T41" fmla="*/ 83 h 84"/>
                <a:gd name="T42" fmla="*/ 36 w 105"/>
                <a:gd name="T43" fmla="*/ 84 h 84"/>
                <a:gd name="T44" fmla="*/ 38 w 105"/>
                <a:gd name="T45" fmla="*/ 77 h 84"/>
                <a:gd name="T46" fmla="*/ 43 w 105"/>
                <a:gd name="T47" fmla="*/ 68 h 84"/>
                <a:gd name="T48" fmla="*/ 49 w 105"/>
                <a:gd name="T49" fmla="*/ 66 h 84"/>
                <a:gd name="T50" fmla="*/ 52 w 105"/>
                <a:gd name="T51" fmla="*/ 60 h 84"/>
                <a:gd name="T52" fmla="*/ 49 w 105"/>
                <a:gd name="T53" fmla="*/ 52 h 84"/>
                <a:gd name="T54" fmla="*/ 36 w 105"/>
                <a:gd name="T55" fmla="*/ 39 h 84"/>
                <a:gd name="T56" fmla="*/ 34 w 105"/>
                <a:gd name="T57" fmla="*/ 34 h 84"/>
                <a:gd name="T58" fmla="*/ 39 w 105"/>
                <a:gd name="T59" fmla="*/ 32 h 84"/>
                <a:gd name="T60" fmla="*/ 49 w 105"/>
                <a:gd name="T61" fmla="*/ 31 h 84"/>
                <a:gd name="T62" fmla="*/ 71 w 105"/>
                <a:gd name="T63" fmla="*/ 25 h 84"/>
                <a:gd name="T64" fmla="*/ 83 w 105"/>
                <a:gd name="T65" fmla="*/ 29 h 84"/>
                <a:gd name="T66" fmla="*/ 98 w 105"/>
                <a:gd name="T67" fmla="*/ 24 h 84"/>
                <a:gd name="T68" fmla="*/ 103 w 105"/>
                <a:gd name="T69" fmla="*/ 1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5" h="84">
                  <a:moveTo>
                    <a:pt x="103" y="14"/>
                  </a:moveTo>
                  <a:cubicBezTo>
                    <a:pt x="99" y="6"/>
                    <a:pt x="99" y="6"/>
                    <a:pt x="99" y="6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8" y="0"/>
                    <a:pt x="76" y="0"/>
                    <a:pt x="75" y="1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9" y="8"/>
                    <a:pt x="68" y="8"/>
                    <a:pt x="67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8" y="8"/>
                    <a:pt x="56" y="8"/>
                    <a:pt x="55" y="7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4" y="9"/>
                    <a:pt x="43" y="10"/>
                    <a:pt x="42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5" y="10"/>
                    <a:pt x="33" y="9"/>
                    <a:pt x="33" y="8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7" y="14"/>
                    <a:pt x="25" y="15"/>
                    <a:pt x="23" y="15"/>
                  </a:cubicBezTo>
                  <a:cubicBezTo>
                    <a:pt x="21" y="15"/>
                    <a:pt x="19" y="16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6" y="19"/>
                    <a:pt x="14" y="19"/>
                    <a:pt x="12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8" y="19"/>
                    <a:pt x="5" y="21"/>
                    <a:pt x="4" y="2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5" y="44"/>
                    <a:pt x="9" y="47"/>
                    <a:pt x="13" y="48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4" y="53"/>
                    <a:pt x="13" y="55"/>
                    <a:pt x="14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7" y="59"/>
                    <a:pt x="18" y="59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29" y="58"/>
                    <a:pt x="30" y="58"/>
                    <a:pt x="31" y="5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5" y="63"/>
                    <a:pt x="23" y="63"/>
                    <a:pt x="22" y="65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0" y="69"/>
                    <a:pt x="20" y="70"/>
                    <a:pt x="21" y="72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7" y="79"/>
                    <a:pt x="27" y="79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3" y="84"/>
                    <a:pt x="34" y="84"/>
                    <a:pt x="35" y="84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8" y="84"/>
                    <a:pt x="40" y="81"/>
                    <a:pt x="39" y="78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7" y="75"/>
                    <a:pt x="38" y="73"/>
                    <a:pt x="41" y="72"/>
                  </a:cubicBezTo>
                  <a:cubicBezTo>
                    <a:pt x="43" y="72"/>
                    <a:pt x="44" y="70"/>
                    <a:pt x="43" y="68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51" y="62"/>
                    <a:pt x="51" y="62"/>
                    <a:pt x="51" y="62"/>
                  </a:cubicBezTo>
                  <a:cubicBezTo>
                    <a:pt x="51" y="62"/>
                    <a:pt x="52" y="61"/>
                    <a:pt x="52" y="60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52" y="54"/>
                    <a:pt x="51" y="53"/>
                    <a:pt x="49" y="52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4" y="33"/>
                    <a:pt x="34" y="31"/>
                    <a:pt x="35" y="29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40" y="34"/>
                    <a:pt x="43" y="36"/>
                    <a:pt x="46" y="35"/>
                  </a:cubicBezTo>
                  <a:cubicBezTo>
                    <a:pt x="48" y="35"/>
                    <a:pt x="49" y="33"/>
                    <a:pt x="49" y="31"/>
                  </a:cubicBezTo>
                  <a:cubicBezTo>
                    <a:pt x="49" y="28"/>
                    <a:pt x="51" y="26"/>
                    <a:pt x="54" y="26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3" y="25"/>
                    <a:pt x="75" y="25"/>
                    <a:pt x="76" y="27"/>
                  </a:cubicBezTo>
                  <a:cubicBezTo>
                    <a:pt x="78" y="29"/>
                    <a:pt x="80" y="29"/>
                    <a:pt x="83" y="29"/>
                  </a:cubicBezTo>
                  <a:cubicBezTo>
                    <a:pt x="96" y="25"/>
                    <a:pt x="96" y="25"/>
                    <a:pt x="96" y="25"/>
                  </a:cubicBezTo>
                  <a:cubicBezTo>
                    <a:pt x="97" y="25"/>
                    <a:pt x="97" y="24"/>
                    <a:pt x="98" y="24"/>
                  </a:cubicBezTo>
                  <a:cubicBezTo>
                    <a:pt x="101" y="22"/>
                    <a:pt x="101" y="22"/>
                    <a:pt x="101" y="22"/>
                  </a:cubicBezTo>
                  <a:cubicBezTo>
                    <a:pt x="104" y="20"/>
                    <a:pt x="105" y="17"/>
                    <a:pt x="103" y="14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7" name="Freeform 24">
              <a:extLst>
                <a:ext uri="{FF2B5EF4-FFF2-40B4-BE49-F238E27FC236}">
                  <a16:creationId xmlns:a16="http://schemas.microsoft.com/office/drawing/2014/main" id="{80D556D7-02AC-4227-8149-0B2F260EA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7025" y="3760788"/>
              <a:ext cx="250825" cy="134938"/>
            </a:xfrm>
            <a:custGeom>
              <a:avLst/>
              <a:gdLst>
                <a:gd name="T0" fmla="*/ 74 w 84"/>
                <a:gd name="T1" fmla="*/ 27 h 45"/>
                <a:gd name="T2" fmla="*/ 75 w 84"/>
                <a:gd name="T3" fmla="*/ 15 h 45"/>
                <a:gd name="T4" fmla="*/ 77 w 84"/>
                <a:gd name="T5" fmla="*/ 11 h 45"/>
                <a:gd name="T6" fmla="*/ 84 w 84"/>
                <a:gd name="T7" fmla="*/ 6 h 45"/>
                <a:gd name="T8" fmla="*/ 53 w 84"/>
                <a:gd name="T9" fmla="*/ 6 h 45"/>
                <a:gd name="T10" fmla="*/ 51 w 84"/>
                <a:gd name="T11" fmla="*/ 6 h 45"/>
                <a:gd name="T12" fmla="*/ 38 w 84"/>
                <a:gd name="T13" fmla="*/ 13 h 45"/>
                <a:gd name="T14" fmla="*/ 35 w 84"/>
                <a:gd name="T15" fmla="*/ 13 h 45"/>
                <a:gd name="T16" fmla="*/ 14 w 84"/>
                <a:gd name="T17" fmla="*/ 13 h 45"/>
                <a:gd name="T18" fmla="*/ 9 w 84"/>
                <a:gd name="T19" fmla="*/ 11 h 45"/>
                <a:gd name="T20" fmla="*/ 2 w 84"/>
                <a:gd name="T21" fmla="*/ 0 h 45"/>
                <a:gd name="T22" fmla="*/ 1 w 84"/>
                <a:gd name="T23" fmla="*/ 1 h 45"/>
                <a:gd name="T24" fmla="*/ 1 w 84"/>
                <a:gd name="T25" fmla="*/ 11 h 45"/>
                <a:gd name="T26" fmla="*/ 3 w 84"/>
                <a:gd name="T27" fmla="*/ 14 h 45"/>
                <a:gd name="T28" fmla="*/ 5 w 84"/>
                <a:gd name="T29" fmla="*/ 17 h 45"/>
                <a:gd name="T30" fmla="*/ 7 w 84"/>
                <a:gd name="T31" fmla="*/ 20 h 45"/>
                <a:gd name="T32" fmla="*/ 7 w 84"/>
                <a:gd name="T33" fmla="*/ 24 h 45"/>
                <a:gd name="T34" fmla="*/ 5 w 84"/>
                <a:gd name="T35" fmla="*/ 24 h 45"/>
                <a:gd name="T36" fmla="*/ 0 w 84"/>
                <a:gd name="T37" fmla="*/ 28 h 45"/>
                <a:gd name="T38" fmla="*/ 1 w 84"/>
                <a:gd name="T39" fmla="*/ 32 h 45"/>
                <a:gd name="T40" fmla="*/ 5 w 84"/>
                <a:gd name="T41" fmla="*/ 35 h 45"/>
                <a:gd name="T42" fmla="*/ 6 w 84"/>
                <a:gd name="T43" fmla="*/ 39 h 45"/>
                <a:gd name="T44" fmla="*/ 6 w 84"/>
                <a:gd name="T45" fmla="*/ 40 h 45"/>
                <a:gd name="T46" fmla="*/ 11 w 84"/>
                <a:gd name="T47" fmla="*/ 45 h 45"/>
                <a:gd name="T48" fmla="*/ 17 w 84"/>
                <a:gd name="T49" fmla="*/ 45 h 45"/>
                <a:gd name="T50" fmla="*/ 20 w 84"/>
                <a:gd name="T51" fmla="*/ 44 h 45"/>
                <a:gd name="T52" fmla="*/ 25 w 84"/>
                <a:gd name="T53" fmla="*/ 39 h 45"/>
                <a:gd name="T54" fmla="*/ 28 w 84"/>
                <a:gd name="T55" fmla="*/ 39 h 45"/>
                <a:gd name="T56" fmla="*/ 30 w 84"/>
                <a:gd name="T57" fmla="*/ 42 h 45"/>
                <a:gd name="T58" fmla="*/ 34 w 84"/>
                <a:gd name="T59" fmla="*/ 43 h 45"/>
                <a:gd name="T60" fmla="*/ 42 w 84"/>
                <a:gd name="T61" fmla="*/ 43 h 45"/>
                <a:gd name="T62" fmla="*/ 45 w 84"/>
                <a:gd name="T63" fmla="*/ 42 h 45"/>
                <a:gd name="T64" fmla="*/ 50 w 84"/>
                <a:gd name="T65" fmla="*/ 36 h 45"/>
                <a:gd name="T66" fmla="*/ 54 w 84"/>
                <a:gd name="T67" fmla="*/ 35 h 45"/>
                <a:gd name="T68" fmla="*/ 68 w 84"/>
                <a:gd name="T69" fmla="*/ 35 h 45"/>
                <a:gd name="T70" fmla="*/ 73 w 84"/>
                <a:gd name="T71" fmla="*/ 30 h 45"/>
                <a:gd name="T72" fmla="*/ 74 w 84"/>
                <a:gd name="T73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45">
                  <a:moveTo>
                    <a:pt x="74" y="27"/>
                  </a:moveTo>
                  <a:cubicBezTo>
                    <a:pt x="75" y="15"/>
                    <a:pt x="75" y="15"/>
                    <a:pt x="75" y="15"/>
                  </a:cubicBezTo>
                  <a:cubicBezTo>
                    <a:pt x="75" y="13"/>
                    <a:pt x="76" y="12"/>
                    <a:pt x="77" y="11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2" y="6"/>
                    <a:pt x="51" y="6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7" y="13"/>
                    <a:pt x="36" y="13"/>
                    <a:pt x="35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3"/>
                    <a:pt x="10" y="12"/>
                    <a:pt x="9" y="1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2"/>
                    <a:pt x="2" y="13"/>
                    <a:pt x="3" y="14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6" y="17"/>
                    <a:pt x="7" y="19"/>
                    <a:pt x="7" y="20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2" y="24"/>
                    <a:pt x="0" y="26"/>
                    <a:pt x="0" y="28"/>
                  </a:cubicBezTo>
                  <a:cubicBezTo>
                    <a:pt x="0" y="30"/>
                    <a:pt x="0" y="31"/>
                    <a:pt x="1" y="32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6" y="36"/>
                    <a:pt x="6" y="38"/>
                    <a:pt x="6" y="39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6" y="43"/>
                    <a:pt x="8" y="45"/>
                    <a:pt x="11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8" y="45"/>
                    <a:pt x="19" y="44"/>
                    <a:pt x="20" y="44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1" y="43"/>
                    <a:pt x="33" y="43"/>
                    <a:pt x="34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3" y="43"/>
                    <a:pt x="44" y="43"/>
                    <a:pt x="45" y="42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1" y="35"/>
                    <a:pt x="53" y="35"/>
                    <a:pt x="54" y="35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4" y="29"/>
                    <a:pt x="74" y="28"/>
                    <a:pt x="74" y="2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8" name="Freeform 25">
              <a:extLst>
                <a:ext uri="{FF2B5EF4-FFF2-40B4-BE49-F238E27FC236}">
                  <a16:creationId xmlns:a16="http://schemas.microsoft.com/office/drawing/2014/main" id="{82CD106B-9758-4848-B407-EE3DA82C11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8938" y="3055938"/>
              <a:ext cx="155575" cy="109538"/>
            </a:xfrm>
            <a:custGeom>
              <a:avLst/>
              <a:gdLst>
                <a:gd name="T0" fmla="*/ 30 w 52"/>
                <a:gd name="T1" fmla="*/ 34 h 37"/>
                <a:gd name="T2" fmla="*/ 38 w 52"/>
                <a:gd name="T3" fmla="*/ 37 h 37"/>
                <a:gd name="T4" fmla="*/ 48 w 52"/>
                <a:gd name="T5" fmla="*/ 37 h 37"/>
                <a:gd name="T6" fmla="*/ 49 w 52"/>
                <a:gd name="T7" fmla="*/ 33 h 37"/>
                <a:gd name="T8" fmla="*/ 50 w 52"/>
                <a:gd name="T9" fmla="*/ 20 h 37"/>
                <a:gd name="T10" fmla="*/ 38 w 52"/>
                <a:gd name="T11" fmla="*/ 6 h 37"/>
                <a:gd name="T12" fmla="*/ 32 w 52"/>
                <a:gd name="T13" fmla="*/ 0 h 37"/>
                <a:gd name="T14" fmla="*/ 0 w 52"/>
                <a:gd name="T15" fmla="*/ 9 h 37"/>
                <a:gd name="T16" fmla="*/ 0 w 52"/>
                <a:gd name="T17" fmla="*/ 19 h 37"/>
                <a:gd name="T18" fmla="*/ 8 w 52"/>
                <a:gd name="T19" fmla="*/ 25 h 37"/>
                <a:gd name="T20" fmla="*/ 10 w 52"/>
                <a:gd name="T21" fmla="*/ 25 h 37"/>
                <a:gd name="T22" fmla="*/ 10 w 52"/>
                <a:gd name="T23" fmla="*/ 30 h 37"/>
                <a:gd name="T24" fmla="*/ 21 w 52"/>
                <a:gd name="T25" fmla="*/ 30 h 37"/>
                <a:gd name="T26" fmla="*/ 30 w 52"/>
                <a:gd name="T27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37">
                  <a:moveTo>
                    <a:pt x="30" y="34"/>
                  </a:moveTo>
                  <a:cubicBezTo>
                    <a:pt x="32" y="36"/>
                    <a:pt x="35" y="37"/>
                    <a:pt x="3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6"/>
                    <a:pt x="48" y="34"/>
                    <a:pt x="49" y="33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2" y="13"/>
                    <a:pt x="46" y="6"/>
                    <a:pt x="38" y="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4" y="30"/>
                    <a:pt x="27" y="31"/>
                    <a:pt x="30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9" name="Freeform 26">
              <a:extLst>
                <a:ext uri="{FF2B5EF4-FFF2-40B4-BE49-F238E27FC236}">
                  <a16:creationId xmlns:a16="http://schemas.microsoft.com/office/drawing/2014/main" id="{B42A3094-97D6-4D0E-B41F-B50423A0CE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144838"/>
              <a:ext cx="344488" cy="155575"/>
            </a:xfrm>
            <a:custGeom>
              <a:avLst/>
              <a:gdLst>
                <a:gd name="T0" fmla="*/ 36 w 115"/>
                <a:gd name="T1" fmla="*/ 34 h 52"/>
                <a:gd name="T2" fmla="*/ 57 w 115"/>
                <a:gd name="T3" fmla="*/ 41 h 52"/>
                <a:gd name="T4" fmla="*/ 61 w 115"/>
                <a:gd name="T5" fmla="*/ 42 h 52"/>
                <a:gd name="T6" fmla="*/ 74 w 115"/>
                <a:gd name="T7" fmla="*/ 48 h 52"/>
                <a:gd name="T8" fmla="*/ 104 w 115"/>
                <a:gd name="T9" fmla="*/ 48 h 52"/>
                <a:gd name="T10" fmla="*/ 115 w 115"/>
                <a:gd name="T11" fmla="*/ 43 h 52"/>
                <a:gd name="T12" fmla="*/ 104 w 115"/>
                <a:gd name="T13" fmla="*/ 35 h 52"/>
                <a:gd name="T14" fmla="*/ 96 w 115"/>
                <a:gd name="T15" fmla="*/ 33 h 52"/>
                <a:gd name="T16" fmla="*/ 85 w 115"/>
                <a:gd name="T17" fmla="*/ 24 h 52"/>
                <a:gd name="T18" fmla="*/ 81 w 115"/>
                <a:gd name="T19" fmla="*/ 15 h 52"/>
                <a:gd name="T20" fmla="*/ 79 w 115"/>
                <a:gd name="T21" fmla="*/ 7 h 52"/>
                <a:gd name="T22" fmla="*/ 69 w 115"/>
                <a:gd name="T23" fmla="*/ 7 h 52"/>
                <a:gd name="T24" fmla="*/ 61 w 115"/>
                <a:gd name="T25" fmla="*/ 4 h 52"/>
                <a:gd name="T26" fmla="*/ 52 w 115"/>
                <a:gd name="T27" fmla="*/ 0 h 52"/>
                <a:gd name="T28" fmla="*/ 41 w 115"/>
                <a:gd name="T29" fmla="*/ 0 h 52"/>
                <a:gd name="T30" fmla="*/ 41 w 115"/>
                <a:gd name="T31" fmla="*/ 13 h 52"/>
                <a:gd name="T32" fmla="*/ 33 w 115"/>
                <a:gd name="T33" fmla="*/ 21 h 52"/>
                <a:gd name="T34" fmla="*/ 24 w 115"/>
                <a:gd name="T35" fmla="*/ 11 h 52"/>
                <a:gd name="T36" fmla="*/ 10 w 115"/>
                <a:gd name="T37" fmla="*/ 11 h 52"/>
                <a:gd name="T38" fmla="*/ 0 w 115"/>
                <a:gd name="T39" fmla="*/ 22 h 52"/>
                <a:gd name="T40" fmla="*/ 0 w 115"/>
                <a:gd name="T41" fmla="*/ 32 h 52"/>
                <a:gd name="T42" fmla="*/ 25 w 115"/>
                <a:gd name="T43" fmla="*/ 32 h 52"/>
                <a:gd name="T44" fmla="*/ 36 w 115"/>
                <a:gd name="T45" fmla="*/ 3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2">
                  <a:moveTo>
                    <a:pt x="36" y="34"/>
                  </a:moveTo>
                  <a:cubicBezTo>
                    <a:pt x="57" y="41"/>
                    <a:pt x="57" y="41"/>
                    <a:pt x="57" y="41"/>
                  </a:cubicBezTo>
                  <a:cubicBezTo>
                    <a:pt x="58" y="41"/>
                    <a:pt x="60" y="42"/>
                    <a:pt x="61" y="42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84" y="52"/>
                    <a:pt x="94" y="52"/>
                    <a:pt x="104" y="48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2" y="39"/>
                    <a:pt x="108" y="36"/>
                    <a:pt x="104" y="35"/>
                  </a:cubicBezTo>
                  <a:cubicBezTo>
                    <a:pt x="96" y="33"/>
                    <a:pt x="96" y="33"/>
                    <a:pt x="96" y="33"/>
                  </a:cubicBezTo>
                  <a:cubicBezTo>
                    <a:pt x="91" y="32"/>
                    <a:pt x="87" y="29"/>
                    <a:pt x="85" y="2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0" y="13"/>
                    <a:pt x="80" y="10"/>
                    <a:pt x="79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6" y="7"/>
                    <a:pt x="63" y="6"/>
                    <a:pt x="61" y="4"/>
                  </a:cubicBezTo>
                  <a:cubicBezTo>
                    <a:pt x="58" y="1"/>
                    <a:pt x="55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9" y="32"/>
                    <a:pt x="33" y="33"/>
                    <a:pt x="36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0" name="Freeform 27">
              <a:extLst>
                <a:ext uri="{FF2B5EF4-FFF2-40B4-BE49-F238E27FC236}">
                  <a16:creationId xmlns:a16="http://schemas.microsoft.com/office/drawing/2014/main" id="{263BF705-F2DE-4CC6-8779-34EA14EF0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240088"/>
              <a:ext cx="146050" cy="120650"/>
            </a:xfrm>
            <a:custGeom>
              <a:avLst/>
              <a:gdLst>
                <a:gd name="T0" fmla="*/ 49 w 49"/>
                <a:gd name="T1" fmla="*/ 21 h 40"/>
                <a:gd name="T2" fmla="*/ 49 w 49"/>
                <a:gd name="T3" fmla="*/ 16 h 40"/>
                <a:gd name="T4" fmla="*/ 45 w 49"/>
                <a:gd name="T5" fmla="*/ 5 h 40"/>
                <a:gd name="T6" fmla="*/ 36 w 49"/>
                <a:gd name="T7" fmla="*/ 2 h 40"/>
                <a:gd name="T8" fmla="*/ 25 w 49"/>
                <a:gd name="T9" fmla="*/ 0 h 40"/>
                <a:gd name="T10" fmla="*/ 0 w 49"/>
                <a:gd name="T11" fmla="*/ 0 h 40"/>
                <a:gd name="T12" fmla="*/ 0 w 49"/>
                <a:gd name="T13" fmla="*/ 9 h 40"/>
                <a:gd name="T14" fmla="*/ 5 w 49"/>
                <a:gd name="T15" fmla="*/ 14 h 40"/>
                <a:gd name="T16" fmla="*/ 4 w 49"/>
                <a:gd name="T17" fmla="*/ 15 h 40"/>
                <a:gd name="T18" fmla="*/ 6 w 49"/>
                <a:gd name="T19" fmla="*/ 16 h 40"/>
                <a:gd name="T20" fmla="*/ 15 w 49"/>
                <a:gd name="T21" fmla="*/ 37 h 40"/>
                <a:gd name="T22" fmla="*/ 15 w 49"/>
                <a:gd name="T23" fmla="*/ 40 h 40"/>
                <a:gd name="T24" fmla="*/ 41 w 49"/>
                <a:gd name="T25" fmla="*/ 32 h 40"/>
                <a:gd name="T26" fmla="*/ 49 w 49"/>
                <a:gd name="T27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" h="40">
                  <a:moveTo>
                    <a:pt x="49" y="21"/>
                  </a:moveTo>
                  <a:cubicBezTo>
                    <a:pt x="49" y="19"/>
                    <a:pt x="49" y="18"/>
                    <a:pt x="49" y="16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3" y="1"/>
                    <a:pt x="29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5" y="16"/>
                    <a:pt x="6" y="16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8"/>
                    <a:pt x="15" y="39"/>
                    <a:pt x="15" y="40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6" y="30"/>
                    <a:pt x="49" y="26"/>
                    <a:pt x="49" y="21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1" name="Freeform 28">
              <a:extLst>
                <a:ext uri="{FF2B5EF4-FFF2-40B4-BE49-F238E27FC236}">
                  <a16:creationId xmlns:a16="http://schemas.microsoft.com/office/drawing/2014/main" id="{864846E3-D795-4188-98A7-D697341D8E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0675" y="3255963"/>
              <a:ext cx="379413" cy="200025"/>
            </a:xfrm>
            <a:custGeom>
              <a:avLst/>
              <a:gdLst>
                <a:gd name="T0" fmla="*/ 122 w 127"/>
                <a:gd name="T1" fmla="*/ 46 h 67"/>
                <a:gd name="T2" fmla="*/ 125 w 127"/>
                <a:gd name="T3" fmla="*/ 38 h 67"/>
                <a:gd name="T4" fmla="*/ 112 w 127"/>
                <a:gd name="T5" fmla="*/ 20 h 67"/>
                <a:gd name="T6" fmla="*/ 110 w 127"/>
                <a:gd name="T7" fmla="*/ 13 h 67"/>
                <a:gd name="T8" fmla="*/ 107 w 127"/>
                <a:gd name="T9" fmla="*/ 6 h 67"/>
                <a:gd name="T10" fmla="*/ 96 w 127"/>
                <a:gd name="T11" fmla="*/ 11 h 67"/>
                <a:gd name="T12" fmla="*/ 66 w 127"/>
                <a:gd name="T13" fmla="*/ 11 h 67"/>
                <a:gd name="T14" fmla="*/ 53 w 127"/>
                <a:gd name="T15" fmla="*/ 5 h 67"/>
                <a:gd name="T16" fmla="*/ 49 w 127"/>
                <a:gd name="T17" fmla="*/ 4 h 67"/>
                <a:gd name="T18" fmla="*/ 37 w 127"/>
                <a:gd name="T19" fmla="*/ 0 h 67"/>
                <a:gd name="T20" fmla="*/ 41 w 127"/>
                <a:gd name="T21" fmla="*/ 11 h 67"/>
                <a:gd name="T22" fmla="*/ 41 w 127"/>
                <a:gd name="T23" fmla="*/ 16 h 67"/>
                <a:gd name="T24" fmla="*/ 33 w 127"/>
                <a:gd name="T25" fmla="*/ 27 h 67"/>
                <a:gd name="T26" fmla="*/ 7 w 127"/>
                <a:gd name="T27" fmla="*/ 35 h 67"/>
                <a:gd name="T28" fmla="*/ 5 w 127"/>
                <a:gd name="T29" fmla="*/ 37 h 67"/>
                <a:gd name="T30" fmla="*/ 2 w 127"/>
                <a:gd name="T31" fmla="*/ 39 h 67"/>
                <a:gd name="T32" fmla="*/ 0 w 127"/>
                <a:gd name="T33" fmla="*/ 42 h 67"/>
                <a:gd name="T34" fmla="*/ 2 w 127"/>
                <a:gd name="T35" fmla="*/ 46 h 67"/>
                <a:gd name="T36" fmla="*/ 5 w 127"/>
                <a:gd name="T37" fmla="*/ 47 h 67"/>
                <a:gd name="T38" fmla="*/ 7 w 127"/>
                <a:gd name="T39" fmla="*/ 51 h 67"/>
                <a:gd name="T40" fmla="*/ 7 w 127"/>
                <a:gd name="T41" fmla="*/ 63 h 67"/>
                <a:gd name="T42" fmla="*/ 24 w 127"/>
                <a:gd name="T43" fmla="*/ 59 h 67"/>
                <a:gd name="T44" fmla="*/ 31 w 127"/>
                <a:gd name="T45" fmla="*/ 59 h 67"/>
                <a:gd name="T46" fmla="*/ 36 w 127"/>
                <a:gd name="T47" fmla="*/ 59 h 67"/>
                <a:gd name="T48" fmla="*/ 47 w 127"/>
                <a:gd name="T49" fmla="*/ 61 h 67"/>
                <a:gd name="T50" fmla="*/ 59 w 127"/>
                <a:gd name="T51" fmla="*/ 65 h 67"/>
                <a:gd name="T52" fmla="*/ 70 w 127"/>
                <a:gd name="T53" fmla="*/ 67 h 67"/>
                <a:gd name="T54" fmla="*/ 79 w 127"/>
                <a:gd name="T55" fmla="*/ 67 h 67"/>
                <a:gd name="T56" fmla="*/ 90 w 127"/>
                <a:gd name="T57" fmla="*/ 65 h 67"/>
                <a:gd name="T58" fmla="*/ 97 w 127"/>
                <a:gd name="T59" fmla="*/ 62 h 67"/>
                <a:gd name="T60" fmla="*/ 105 w 127"/>
                <a:gd name="T61" fmla="*/ 60 h 67"/>
                <a:gd name="T62" fmla="*/ 123 w 127"/>
                <a:gd name="T63" fmla="*/ 58 h 67"/>
                <a:gd name="T64" fmla="*/ 117 w 127"/>
                <a:gd name="T65" fmla="*/ 50 h 67"/>
                <a:gd name="T66" fmla="*/ 122 w 127"/>
                <a:gd name="T67" fmla="*/ 4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7" h="67">
                  <a:moveTo>
                    <a:pt x="122" y="46"/>
                  </a:moveTo>
                  <a:cubicBezTo>
                    <a:pt x="125" y="45"/>
                    <a:pt x="127" y="41"/>
                    <a:pt x="125" y="38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0" y="13"/>
                    <a:pt x="110" y="13"/>
                    <a:pt x="110" y="13"/>
                  </a:cubicBezTo>
                  <a:cubicBezTo>
                    <a:pt x="110" y="10"/>
                    <a:pt x="108" y="8"/>
                    <a:pt x="107" y="6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86" y="15"/>
                    <a:pt x="76" y="15"/>
                    <a:pt x="66" y="11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2" y="5"/>
                    <a:pt x="50" y="4"/>
                    <a:pt x="49" y="4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3"/>
                    <a:pt x="41" y="14"/>
                    <a:pt x="41" y="16"/>
                  </a:cubicBezTo>
                  <a:cubicBezTo>
                    <a:pt x="41" y="21"/>
                    <a:pt x="38" y="25"/>
                    <a:pt x="33" y="27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6"/>
                    <a:pt x="6" y="36"/>
                    <a:pt x="5" y="37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1" y="39"/>
                    <a:pt x="0" y="41"/>
                    <a:pt x="0" y="42"/>
                  </a:cubicBezTo>
                  <a:cubicBezTo>
                    <a:pt x="0" y="44"/>
                    <a:pt x="1" y="45"/>
                    <a:pt x="2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6" y="48"/>
                    <a:pt x="7" y="49"/>
                    <a:pt x="7" y="51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26" y="59"/>
                    <a:pt x="29" y="59"/>
                    <a:pt x="31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40" y="59"/>
                    <a:pt x="43" y="59"/>
                    <a:pt x="47" y="61"/>
                  </a:cubicBezTo>
                  <a:cubicBezTo>
                    <a:pt x="59" y="65"/>
                    <a:pt x="59" y="65"/>
                    <a:pt x="59" y="65"/>
                  </a:cubicBezTo>
                  <a:cubicBezTo>
                    <a:pt x="63" y="66"/>
                    <a:pt x="66" y="67"/>
                    <a:pt x="70" y="67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83" y="67"/>
                    <a:pt x="86" y="66"/>
                    <a:pt x="90" y="65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100" y="61"/>
                    <a:pt x="102" y="61"/>
                    <a:pt x="105" y="60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20" y="57"/>
                    <a:pt x="117" y="54"/>
                    <a:pt x="117" y="50"/>
                  </a:cubicBezTo>
                  <a:cubicBezTo>
                    <a:pt x="117" y="47"/>
                    <a:pt x="119" y="46"/>
                    <a:pt x="122" y="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2" name="Freeform 29">
              <a:extLst>
                <a:ext uri="{FF2B5EF4-FFF2-40B4-BE49-F238E27FC236}">
                  <a16:creationId xmlns:a16="http://schemas.microsoft.com/office/drawing/2014/main" id="{3A0BE161-C805-4A1C-9293-0E6CA7D0E0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3213" y="3429001"/>
              <a:ext cx="673100" cy="355600"/>
            </a:xfrm>
            <a:custGeom>
              <a:avLst/>
              <a:gdLst>
                <a:gd name="T0" fmla="*/ 216 w 225"/>
                <a:gd name="T1" fmla="*/ 35 h 119"/>
                <a:gd name="T2" fmla="*/ 195 w 225"/>
                <a:gd name="T3" fmla="*/ 34 h 119"/>
                <a:gd name="T4" fmla="*/ 167 w 225"/>
                <a:gd name="T5" fmla="*/ 21 h 119"/>
                <a:gd name="T6" fmla="*/ 155 w 225"/>
                <a:gd name="T7" fmla="*/ 10 h 119"/>
                <a:gd name="T8" fmla="*/ 132 w 225"/>
                <a:gd name="T9" fmla="*/ 1 h 119"/>
                <a:gd name="T10" fmla="*/ 111 w 225"/>
                <a:gd name="T11" fmla="*/ 2 h 119"/>
                <a:gd name="T12" fmla="*/ 96 w 225"/>
                <a:gd name="T13" fmla="*/ 7 h 119"/>
                <a:gd name="T14" fmla="*/ 76 w 225"/>
                <a:gd name="T15" fmla="*/ 9 h 119"/>
                <a:gd name="T16" fmla="*/ 53 w 225"/>
                <a:gd name="T17" fmla="*/ 3 h 119"/>
                <a:gd name="T18" fmla="*/ 37 w 225"/>
                <a:gd name="T19" fmla="*/ 1 h 119"/>
                <a:gd name="T20" fmla="*/ 13 w 225"/>
                <a:gd name="T21" fmla="*/ 5 h 119"/>
                <a:gd name="T22" fmla="*/ 14 w 225"/>
                <a:gd name="T23" fmla="*/ 7 h 119"/>
                <a:gd name="T24" fmla="*/ 16 w 225"/>
                <a:gd name="T25" fmla="*/ 19 h 119"/>
                <a:gd name="T26" fmla="*/ 11 w 225"/>
                <a:gd name="T27" fmla="*/ 20 h 119"/>
                <a:gd name="T28" fmla="*/ 1 w 225"/>
                <a:gd name="T29" fmla="*/ 34 h 119"/>
                <a:gd name="T30" fmla="*/ 3 w 225"/>
                <a:gd name="T31" fmla="*/ 42 h 119"/>
                <a:gd name="T32" fmla="*/ 0 w 225"/>
                <a:gd name="T33" fmla="*/ 45 h 119"/>
                <a:gd name="T34" fmla="*/ 6 w 225"/>
                <a:gd name="T35" fmla="*/ 55 h 119"/>
                <a:gd name="T36" fmla="*/ 50 w 225"/>
                <a:gd name="T37" fmla="*/ 50 h 119"/>
                <a:gd name="T38" fmla="*/ 73 w 225"/>
                <a:gd name="T39" fmla="*/ 45 h 119"/>
                <a:gd name="T40" fmla="*/ 81 w 225"/>
                <a:gd name="T41" fmla="*/ 59 h 119"/>
                <a:gd name="T42" fmla="*/ 87 w 225"/>
                <a:gd name="T43" fmla="*/ 62 h 119"/>
                <a:gd name="T44" fmla="*/ 92 w 225"/>
                <a:gd name="T45" fmla="*/ 74 h 119"/>
                <a:gd name="T46" fmla="*/ 87 w 225"/>
                <a:gd name="T47" fmla="*/ 79 h 119"/>
                <a:gd name="T48" fmla="*/ 81 w 225"/>
                <a:gd name="T49" fmla="*/ 90 h 119"/>
                <a:gd name="T50" fmla="*/ 78 w 225"/>
                <a:gd name="T51" fmla="*/ 95 h 119"/>
                <a:gd name="T52" fmla="*/ 85 w 225"/>
                <a:gd name="T53" fmla="*/ 101 h 119"/>
                <a:gd name="T54" fmla="*/ 102 w 225"/>
                <a:gd name="T55" fmla="*/ 101 h 119"/>
                <a:gd name="T56" fmla="*/ 112 w 225"/>
                <a:gd name="T57" fmla="*/ 96 h 119"/>
                <a:gd name="T58" fmla="*/ 121 w 225"/>
                <a:gd name="T59" fmla="*/ 85 h 119"/>
                <a:gd name="T60" fmla="*/ 128 w 225"/>
                <a:gd name="T61" fmla="*/ 89 h 119"/>
                <a:gd name="T62" fmla="*/ 134 w 225"/>
                <a:gd name="T63" fmla="*/ 95 h 119"/>
                <a:gd name="T64" fmla="*/ 149 w 225"/>
                <a:gd name="T65" fmla="*/ 98 h 119"/>
                <a:gd name="T66" fmla="*/ 142 w 225"/>
                <a:gd name="T67" fmla="*/ 111 h 119"/>
                <a:gd name="T68" fmla="*/ 147 w 225"/>
                <a:gd name="T69" fmla="*/ 116 h 119"/>
                <a:gd name="T70" fmla="*/ 152 w 225"/>
                <a:gd name="T71" fmla="*/ 119 h 119"/>
                <a:gd name="T72" fmla="*/ 163 w 225"/>
                <a:gd name="T73" fmla="*/ 118 h 119"/>
                <a:gd name="T74" fmla="*/ 176 w 225"/>
                <a:gd name="T75" fmla="*/ 112 h 119"/>
                <a:gd name="T76" fmla="*/ 185 w 225"/>
                <a:gd name="T77" fmla="*/ 111 h 119"/>
                <a:gd name="T78" fmla="*/ 169 w 225"/>
                <a:gd name="T79" fmla="*/ 107 h 119"/>
                <a:gd name="T80" fmla="*/ 163 w 225"/>
                <a:gd name="T81" fmla="*/ 102 h 119"/>
                <a:gd name="T82" fmla="*/ 155 w 225"/>
                <a:gd name="T83" fmla="*/ 99 h 119"/>
                <a:gd name="T84" fmla="*/ 176 w 225"/>
                <a:gd name="T85" fmla="*/ 88 h 119"/>
                <a:gd name="T86" fmla="*/ 204 w 225"/>
                <a:gd name="T87" fmla="*/ 72 h 119"/>
                <a:gd name="T88" fmla="*/ 223 w 225"/>
                <a:gd name="T89" fmla="*/ 59 h 119"/>
                <a:gd name="T90" fmla="*/ 219 w 225"/>
                <a:gd name="T91" fmla="*/ 38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119">
                  <a:moveTo>
                    <a:pt x="219" y="38"/>
                  </a:moveTo>
                  <a:cubicBezTo>
                    <a:pt x="216" y="35"/>
                    <a:pt x="216" y="35"/>
                    <a:pt x="216" y="35"/>
                  </a:cubicBezTo>
                  <a:cubicBezTo>
                    <a:pt x="212" y="32"/>
                    <a:pt x="207" y="32"/>
                    <a:pt x="203" y="33"/>
                  </a:cubicBezTo>
                  <a:cubicBezTo>
                    <a:pt x="200" y="34"/>
                    <a:pt x="198" y="35"/>
                    <a:pt x="195" y="34"/>
                  </a:cubicBezTo>
                  <a:cubicBezTo>
                    <a:pt x="174" y="29"/>
                    <a:pt x="174" y="29"/>
                    <a:pt x="174" y="29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6" y="19"/>
                    <a:pt x="164" y="18"/>
                    <a:pt x="162" y="18"/>
                  </a:cubicBezTo>
                  <a:cubicBezTo>
                    <a:pt x="158" y="16"/>
                    <a:pt x="156" y="13"/>
                    <a:pt x="155" y="10"/>
                  </a:cubicBezTo>
                  <a:cubicBezTo>
                    <a:pt x="153" y="5"/>
                    <a:pt x="149" y="1"/>
                    <a:pt x="144" y="1"/>
                  </a:cubicBezTo>
                  <a:cubicBezTo>
                    <a:pt x="132" y="1"/>
                    <a:pt x="132" y="1"/>
                    <a:pt x="132" y="1"/>
                  </a:cubicBezTo>
                  <a:cubicBezTo>
                    <a:pt x="131" y="1"/>
                    <a:pt x="130" y="0"/>
                    <a:pt x="129" y="0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8" y="3"/>
                    <a:pt x="106" y="3"/>
                    <a:pt x="103" y="4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2" y="8"/>
                    <a:pt x="89" y="9"/>
                    <a:pt x="85" y="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2" y="9"/>
                    <a:pt x="69" y="8"/>
                    <a:pt x="65" y="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49" y="1"/>
                    <a:pt x="46" y="1"/>
                    <a:pt x="42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5" y="1"/>
                    <a:pt x="32" y="1"/>
                    <a:pt x="30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7"/>
                    <a:pt x="14" y="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9"/>
                    <a:pt x="14" y="20"/>
                    <a:pt x="13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9" y="21"/>
                    <a:pt x="8" y="22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38"/>
                    <a:pt x="5" y="40"/>
                    <a:pt x="3" y="42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5"/>
                    <a:pt x="0" y="45"/>
                    <a:pt x="0" y="45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5" y="50"/>
                    <a:pt x="6" y="52"/>
                    <a:pt x="6" y="55"/>
                  </a:cubicBezTo>
                  <a:cubicBezTo>
                    <a:pt x="50" y="53"/>
                    <a:pt x="50" y="53"/>
                    <a:pt x="50" y="53"/>
                  </a:cubicBezTo>
                  <a:cubicBezTo>
                    <a:pt x="50" y="50"/>
                    <a:pt x="50" y="50"/>
                    <a:pt x="50" y="50"/>
                  </a:cubicBezTo>
                  <a:cubicBezTo>
                    <a:pt x="50" y="47"/>
                    <a:pt x="52" y="45"/>
                    <a:pt x="55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4" y="45"/>
                    <a:pt x="76" y="46"/>
                    <a:pt x="77" y="48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2" y="61"/>
                    <a:pt x="83" y="62"/>
                    <a:pt x="85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9" y="62"/>
                    <a:pt x="91" y="63"/>
                    <a:pt x="91" y="66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92" y="76"/>
                    <a:pt x="91" y="78"/>
                    <a:pt x="89" y="79"/>
                  </a:cubicBezTo>
                  <a:cubicBezTo>
                    <a:pt x="87" y="79"/>
                    <a:pt x="87" y="79"/>
                    <a:pt x="87" y="79"/>
                  </a:cubicBezTo>
                  <a:cubicBezTo>
                    <a:pt x="85" y="80"/>
                    <a:pt x="83" y="83"/>
                    <a:pt x="84" y="85"/>
                  </a:cubicBezTo>
                  <a:cubicBezTo>
                    <a:pt x="85" y="87"/>
                    <a:pt x="84" y="90"/>
                    <a:pt x="81" y="90"/>
                  </a:cubicBezTo>
                  <a:cubicBezTo>
                    <a:pt x="78" y="91"/>
                    <a:pt x="78" y="91"/>
                    <a:pt x="78" y="91"/>
                  </a:cubicBezTo>
                  <a:cubicBezTo>
                    <a:pt x="78" y="95"/>
                    <a:pt x="78" y="95"/>
                    <a:pt x="78" y="95"/>
                  </a:cubicBezTo>
                  <a:cubicBezTo>
                    <a:pt x="78" y="97"/>
                    <a:pt x="79" y="98"/>
                    <a:pt x="80" y="99"/>
                  </a:cubicBezTo>
                  <a:cubicBezTo>
                    <a:pt x="81" y="101"/>
                    <a:pt x="83" y="101"/>
                    <a:pt x="85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3" y="100"/>
                    <a:pt x="104" y="99"/>
                    <a:pt x="105" y="98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4" y="95"/>
                    <a:pt x="115" y="93"/>
                    <a:pt x="115" y="90"/>
                  </a:cubicBezTo>
                  <a:cubicBezTo>
                    <a:pt x="115" y="87"/>
                    <a:pt x="118" y="84"/>
                    <a:pt x="121" y="85"/>
                  </a:cubicBezTo>
                  <a:cubicBezTo>
                    <a:pt x="124" y="85"/>
                    <a:pt x="124" y="85"/>
                    <a:pt x="124" y="85"/>
                  </a:cubicBezTo>
                  <a:cubicBezTo>
                    <a:pt x="126" y="86"/>
                    <a:pt x="128" y="87"/>
                    <a:pt x="128" y="89"/>
                  </a:cubicBezTo>
                  <a:cubicBezTo>
                    <a:pt x="129" y="91"/>
                    <a:pt x="129" y="91"/>
                    <a:pt x="129" y="91"/>
                  </a:cubicBezTo>
                  <a:cubicBezTo>
                    <a:pt x="130" y="94"/>
                    <a:pt x="132" y="95"/>
                    <a:pt x="134" y="95"/>
                  </a:cubicBezTo>
                  <a:cubicBezTo>
                    <a:pt x="149" y="95"/>
                    <a:pt x="149" y="95"/>
                    <a:pt x="149" y="95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2" y="103"/>
                    <a:pt x="142" y="103"/>
                    <a:pt x="142" y="103"/>
                  </a:cubicBezTo>
                  <a:cubicBezTo>
                    <a:pt x="140" y="105"/>
                    <a:pt x="140" y="109"/>
                    <a:pt x="142" y="111"/>
                  </a:cubicBezTo>
                  <a:cubicBezTo>
                    <a:pt x="146" y="114"/>
                    <a:pt x="146" y="114"/>
                    <a:pt x="146" y="114"/>
                  </a:cubicBezTo>
                  <a:cubicBezTo>
                    <a:pt x="146" y="115"/>
                    <a:pt x="146" y="115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48" y="118"/>
                    <a:pt x="150" y="119"/>
                    <a:pt x="152" y="119"/>
                  </a:cubicBezTo>
                  <a:cubicBezTo>
                    <a:pt x="161" y="119"/>
                    <a:pt x="161" y="119"/>
                    <a:pt x="161" y="119"/>
                  </a:cubicBezTo>
                  <a:cubicBezTo>
                    <a:pt x="162" y="119"/>
                    <a:pt x="163" y="119"/>
                    <a:pt x="163" y="118"/>
                  </a:cubicBezTo>
                  <a:cubicBezTo>
                    <a:pt x="173" y="112"/>
                    <a:pt x="173" y="112"/>
                    <a:pt x="173" y="112"/>
                  </a:cubicBezTo>
                  <a:cubicBezTo>
                    <a:pt x="174" y="112"/>
                    <a:pt x="175" y="112"/>
                    <a:pt x="176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80" y="115"/>
                    <a:pt x="186" y="115"/>
                    <a:pt x="185" y="111"/>
                  </a:cubicBezTo>
                  <a:cubicBezTo>
                    <a:pt x="185" y="107"/>
                    <a:pt x="182" y="104"/>
                    <a:pt x="178" y="105"/>
                  </a:cubicBezTo>
                  <a:cubicBezTo>
                    <a:pt x="169" y="107"/>
                    <a:pt x="169" y="107"/>
                    <a:pt x="169" y="107"/>
                  </a:cubicBezTo>
                  <a:cubicBezTo>
                    <a:pt x="167" y="107"/>
                    <a:pt x="165" y="106"/>
                    <a:pt x="164" y="104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2" y="100"/>
                    <a:pt x="161" y="99"/>
                    <a:pt x="159" y="99"/>
                  </a:cubicBezTo>
                  <a:cubicBezTo>
                    <a:pt x="155" y="99"/>
                    <a:pt x="155" y="99"/>
                    <a:pt x="155" y="99"/>
                  </a:cubicBezTo>
                  <a:cubicBezTo>
                    <a:pt x="154" y="95"/>
                    <a:pt x="154" y="95"/>
                    <a:pt x="154" y="95"/>
                  </a:cubicBezTo>
                  <a:cubicBezTo>
                    <a:pt x="176" y="88"/>
                    <a:pt x="176" y="88"/>
                    <a:pt x="176" y="88"/>
                  </a:cubicBezTo>
                  <a:cubicBezTo>
                    <a:pt x="196" y="81"/>
                    <a:pt x="196" y="81"/>
                    <a:pt x="196" y="81"/>
                  </a:cubicBezTo>
                  <a:cubicBezTo>
                    <a:pt x="200" y="79"/>
                    <a:pt x="203" y="76"/>
                    <a:pt x="204" y="72"/>
                  </a:cubicBezTo>
                  <a:cubicBezTo>
                    <a:pt x="214" y="69"/>
                    <a:pt x="214" y="69"/>
                    <a:pt x="214" y="69"/>
                  </a:cubicBezTo>
                  <a:cubicBezTo>
                    <a:pt x="219" y="68"/>
                    <a:pt x="222" y="64"/>
                    <a:pt x="223" y="59"/>
                  </a:cubicBezTo>
                  <a:cubicBezTo>
                    <a:pt x="224" y="50"/>
                    <a:pt x="224" y="50"/>
                    <a:pt x="224" y="50"/>
                  </a:cubicBezTo>
                  <a:cubicBezTo>
                    <a:pt x="225" y="45"/>
                    <a:pt x="223" y="41"/>
                    <a:pt x="219" y="38"/>
                  </a:cubicBezTo>
                  <a:close/>
                </a:path>
              </a:pathLst>
            </a:custGeom>
            <a:solidFill>
              <a:schemeClr val="tx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3" name="Freeform 30">
              <a:extLst>
                <a:ext uri="{FF2B5EF4-FFF2-40B4-BE49-F238E27FC236}">
                  <a16:creationId xmlns:a16="http://schemas.microsoft.com/office/drawing/2014/main" id="{8E5D3919-1712-4CA9-B92A-F3E7E796C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7175" y="3587751"/>
              <a:ext cx="350838" cy="211138"/>
            </a:xfrm>
            <a:custGeom>
              <a:avLst/>
              <a:gdLst>
                <a:gd name="T0" fmla="*/ 95 w 117"/>
                <a:gd name="T1" fmla="*/ 46 h 71"/>
                <a:gd name="T2" fmla="*/ 93 w 117"/>
                <a:gd name="T3" fmla="*/ 42 h 71"/>
                <a:gd name="T4" fmla="*/ 93 w 117"/>
                <a:gd name="T5" fmla="*/ 34 h 71"/>
                <a:gd name="T6" fmla="*/ 93 w 117"/>
                <a:gd name="T7" fmla="*/ 32 h 71"/>
                <a:gd name="T8" fmla="*/ 85 w 117"/>
                <a:gd name="T9" fmla="*/ 15 h 71"/>
                <a:gd name="T10" fmla="*/ 81 w 117"/>
                <a:gd name="T11" fmla="*/ 12 h 71"/>
                <a:gd name="T12" fmla="*/ 78 w 117"/>
                <a:gd name="T13" fmla="*/ 11 h 71"/>
                <a:gd name="T14" fmla="*/ 73 w 117"/>
                <a:gd name="T15" fmla="*/ 6 h 71"/>
                <a:gd name="T16" fmla="*/ 73 w 117"/>
                <a:gd name="T17" fmla="*/ 4 h 71"/>
                <a:gd name="T18" fmla="*/ 66 w 117"/>
                <a:gd name="T19" fmla="*/ 0 h 71"/>
                <a:gd name="T20" fmla="*/ 21 w 117"/>
                <a:gd name="T21" fmla="*/ 2 h 71"/>
                <a:gd name="T22" fmla="*/ 20 w 117"/>
                <a:gd name="T23" fmla="*/ 7 h 71"/>
                <a:gd name="T24" fmla="*/ 6 w 117"/>
                <a:gd name="T25" fmla="*/ 26 h 71"/>
                <a:gd name="T26" fmla="*/ 0 w 117"/>
                <a:gd name="T27" fmla="*/ 30 h 71"/>
                <a:gd name="T28" fmla="*/ 1 w 117"/>
                <a:gd name="T29" fmla="*/ 40 h 71"/>
                <a:gd name="T30" fmla="*/ 2 w 117"/>
                <a:gd name="T31" fmla="*/ 43 h 71"/>
                <a:gd name="T32" fmla="*/ 9 w 117"/>
                <a:gd name="T33" fmla="*/ 53 h 71"/>
                <a:gd name="T34" fmla="*/ 14 w 117"/>
                <a:gd name="T35" fmla="*/ 55 h 71"/>
                <a:gd name="T36" fmla="*/ 16 w 117"/>
                <a:gd name="T37" fmla="*/ 55 h 71"/>
                <a:gd name="T38" fmla="*/ 16 w 117"/>
                <a:gd name="T39" fmla="*/ 51 h 71"/>
                <a:gd name="T40" fmla="*/ 20 w 117"/>
                <a:gd name="T41" fmla="*/ 51 h 71"/>
                <a:gd name="T42" fmla="*/ 32 w 117"/>
                <a:gd name="T43" fmla="*/ 69 h 71"/>
                <a:gd name="T44" fmla="*/ 37 w 117"/>
                <a:gd name="T45" fmla="*/ 71 h 71"/>
                <a:gd name="T46" fmla="*/ 58 w 117"/>
                <a:gd name="T47" fmla="*/ 71 h 71"/>
                <a:gd name="T48" fmla="*/ 61 w 117"/>
                <a:gd name="T49" fmla="*/ 71 h 71"/>
                <a:gd name="T50" fmla="*/ 74 w 117"/>
                <a:gd name="T51" fmla="*/ 64 h 71"/>
                <a:gd name="T52" fmla="*/ 76 w 117"/>
                <a:gd name="T53" fmla="*/ 64 h 71"/>
                <a:gd name="T54" fmla="*/ 107 w 117"/>
                <a:gd name="T55" fmla="*/ 64 h 71"/>
                <a:gd name="T56" fmla="*/ 110 w 117"/>
                <a:gd name="T57" fmla="*/ 61 h 71"/>
                <a:gd name="T58" fmla="*/ 111 w 117"/>
                <a:gd name="T59" fmla="*/ 60 h 71"/>
                <a:gd name="T60" fmla="*/ 117 w 117"/>
                <a:gd name="T61" fmla="*/ 48 h 71"/>
                <a:gd name="T62" fmla="*/ 100 w 117"/>
                <a:gd name="T63" fmla="*/ 48 h 71"/>
                <a:gd name="T64" fmla="*/ 95 w 117"/>
                <a:gd name="T65" fmla="*/ 4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7" h="71">
                  <a:moveTo>
                    <a:pt x="95" y="46"/>
                  </a:moveTo>
                  <a:cubicBezTo>
                    <a:pt x="94" y="45"/>
                    <a:pt x="93" y="44"/>
                    <a:pt x="93" y="42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3"/>
                    <a:pt x="93" y="33"/>
                    <a:pt x="93" y="32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84" y="13"/>
                    <a:pt x="83" y="12"/>
                    <a:pt x="81" y="12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5" y="10"/>
                    <a:pt x="74" y="9"/>
                    <a:pt x="73" y="6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2" y="2"/>
                    <a:pt x="69" y="0"/>
                    <a:pt x="66" y="0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4"/>
                    <a:pt x="21" y="6"/>
                    <a:pt x="20" y="7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4" y="28"/>
                    <a:pt x="2" y="30"/>
                    <a:pt x="0" y="3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1"/>
                    <a:pt x="1" y="42"/>
                    <a:pt x="2" y="4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10" y="54"/>
                    <a:pt x="12" y="55"/>
                    <a:pt x="14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3" y="70"/>
                    <a:pt x="35" y="71"/>
                    <a:pt x="37" y="71"/>
                  </a:cubicBezTo>
                  <a:cubicBezTo>
                    <a:pt x="58" y="71"/>
                    <a:pt x="58" y="71"/>
                    <a:pt x="58" y="71"/>
                  </a:cubicBezTo>
                  <a:cubicBezTo>
                    <a:pt x="59" y="71"/>
                    <a:pt x="60" y="71"/>
                    <a:pt x="61" y="71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5" y="64"/>
                    <a:pt x="76" y="64"/>
                    <a:pt x="76" y="6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10" y="61"/>
                    <a:pt x="110" y="61"/>
                    <a:pt x="110" y="61"/>
                  </a:cubicBezTo>
                  <a:cubicBezTo>
                    <a:pt x="110" y="61"/>
                    <a:pt x="111" y="60"/>
                    <a:pt x="111" y="60"/>
                  </a:cubicBezTo>
                  <a:cubicBezTo>
                    <a:pt x="117" y="48"/>
                    <a:pt x="117" y="48"/>
                    <a:pt x="117" y="48"/>
                  </a:cubicBezTo>
                  <a:cubicBezTo>
                    <a:pt x="100" y="48"/>
                    <a:pt x="100" y="48"/>
                    <a:pt x="100" y="48"/>
                  </a:cubicBezTo>
                  <a:cubicBezTo>
                    <a:pt x="98" y="48"/>
                    <a:pt x="96" y="48"/>
                    <a:pt x="95" y="46"/>
                  </a:cubicBez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4" name="Freeform 31">
              <a:extLst>
                <a:ext uri="{FF2B5EF4-FFF2-40B4-BE49-F238E27FC236}">
                  <a16:creationId xmlns:a16="http://schemas.microsoft.com/office/drawing/2014/main" id="{068F5D04-990F-42C8-AA76-335CE8FAAB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988" y="3670301"/>
              <a:ext cx="198438" cy="203200"/>
            </a:xfrm>
            <a:custGeom>
              <a:avLst/>
              <a:gdLst>
                <a:gd name="T0" fmla="*/ 65 w 66"/>
                <a:gd name="T1" fmla="*/ 37 h 68"/>
                <a:gd name="T2" fmla="*/ 65 w 66"/>
                <a:gd name="T3" fmla="*/ 39 h 68"/>
                <a:gd name="T4" fmla="*/ 55 w 66"/>
                <a:gd name="T5" fmla="*/ 57 h 68"/>
                <a:gd name="T6" fmla="*/ 55 w 66"/>
                <a:gd name="T7" fmla="*/ 57 h 68"/>
                <a:gd name="T8" fmla="*/ 55 w 66"/>
                <a:gd name="T9" fmla="*/ 58 h 68"/>
                <a:gd name="T10" fmla="*/ 53 w 66"/>
                <a:gd name="T11" fmla="*/ 67 h 68"/>
                <a:gd name="T12" fmla="*/ 48 w 66"/>
                <a:gd name="T13" fmla="*/ 66 h 68"/>
                <a:gd name="T14" fmla="*/ 30 w 66"/>
                <a:gd name="T15" fmla="*/ 50 h 68"/>
                <a:gd name="T16" fmla="*/ 19 w 66"/>
                <a:gd name="T17" fmla="*/ 31 h 68"/>
                <a:gd name="T18" fmla="*/ 16 w 66"/>
                <a:gd name="T19" fmla="*/ 30 h 68"/>
                <a:gd name="T20" fmla="*/ 7 w 66"/>
                <a:gd name="T21" fmla="*/ 30 h 68"/>
                <a:gd name="T22" fmla="*/ 6 w 66"/>
                <a:gd name="T23" fmla="*/ 29 h 68"/>
                <a:gd name="T24" fmla="*/ 5 w 66"/>
                <a:gd name="T25" fmla="*/ 21 h 68"/>
                <a:gd name="T26" fmla="*/ 0 w 66"/>
                <a:gd name="T27" fmla="*/ 19 h 68"/>
                <a:gd name="T28" fmla="*/ 0 w 66"/>
                <a:gd name="T29" fmla="*/ 19 h 68"/>
                <a:gd name="T30" fmla="*/ 0 w 66"/>
                <a:gd name="T31" fmla="*/ 18 h 68"/>
                <a:gd name="T32" fmla="*/ 16 w 66"/>
                <a:gd name="T33" fmla="*/ 12 h 68"/>
                <a:gd name="T34" fmla="*/ 18 w 66"/>
                <a:gd name="T35" fmla="*/ 11 h 68"/>
                <a:gd name="T36" fmla="*/ 24 w 66"/>
                <a:gd name="T37" fmla="*/ 0 h 68"/>
                <a:gd name="T38" fmla="*/ 31 w 66"/>
                <a:gd name="T39" fmla="*/ 3 h 68"/>
                <a:gd name="T40" fmla="*/ 34 w 66"/>
                <a:gd name="T41" fmla="*/ 2 h 68"/>
                <a:gd name="T42" fmla="*/ 37 w 66"/>
                <a:gd name="T43" fmla="*/ 0 h 68"/>
                <a:gd name="T44" fmla="*/ 38 w 66"/>
                <a:gd name="T45" fmla="*/ 0 h 68"/>
                <a:gd name="T46" fmla="*/ 51 w 66"/>
                <a:gd name="T47" fmla="*/ 6 h 68"/>
                <a:gd name="T48" fmla="*/ 58 w 66"/>
                <a:gd name="T49" fmla="*/ 6 h 68"/>
                <a:gd name="T50" fmla="*/ 59 w 66"/>
                <a:gd name="T51" fmla="*/ 9 h 68"/>
                <a:gd name="T52" fmla="*/ 62 w 66"/>
                <a:gd name="T53" fmla="*/ 12 h 68"/>
                <a:gd name="T54" fmla="*/ 65 w 66"/>
                <a:gd name="T55" fmla="*/ 15 h 68"/>
                <a:gd name="T56" fmla="*/ 65 w 66"/>
                <a:gd name="T57" fmla="*/ 17 h 68"/>
                <a:gd name="T58" fmla="*/ 65 w 66"/>
                <a:gd name="T59" fmla="*/ 19 h 68"/>
                <a:gd name="T60" fmla="*/ 62 w 66"/>
                <a:gd name="T61" fmla="*/ 23 h 68"/>
                <a:gd name="T62" fmla="*/ 61 w 66"/>
                <a:gd name="T63" fmla="*/ 24 h 68"/>
                <a:gd name="T64" fmla="*/ 61 w 66"/>
                <a:gd name="T65" fmla="*/ 28 h 68"/>
                <a:gd name="T66" fmla="*/ 65 w 66"/>
                <a:gd name="T67" fmla="*/ 3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6" h="68">
                  <a:moveTo>
                    <a:pt x="65" y="37"/>
                  </a:moveTo>
                  <a:cubicBezTo>
                    <a:pt x="65" y="38"/>
                    <a:pt x="65" y="39"/>
                    <a:pt x="65" y="39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8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1" y="68"/>
                    <a:pt x="49" y="67"/>
                    <a:pt x="48" y="66"/>
                  </a:cubicBezTo>
                  <a:cubicBezTo>
                    <a:pt x="42" y="61"/>
                    <a:pt x="31" y="50"/>
                    <a:pt x="30" y="50"/>
                  </a:cubicBezTo>
                  <a:cubicBezTo>
                    <a:pt x="28" y="49"/>
                    <a:pt x="22" y="36"/>
                    <a:pt x="19" y="31"/>
                  </a:cubicBezTo>
                  <a:cubicBezTo>
                    <a:pt x="18" y="30"/>
                    <a:pt x="17" y="30"/>
                    <a:pt x="16" y="30"/>
                  </a:cubicBezTo>
                  <a:cubicBezTo>
                    <a:pt x="13" y="31"/>
                    <a:pt x="10" y="32"/>
                    <a:pt x="7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4" y="27"/>
                    <a:pt x="3" y="24"/>
                    <a:pt x="5" y="21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7" y="12"/>
                    <a:pt x="18" y="11"/>
                    <a:pt x="18" y="11"/>
                  </a:cubicBezTo>
                  <a:cubicBezTo>
                    <a:pt x="20" y="8"/>
                    <a:pt x="24" y="1"/>
                    <a:pt x="24" y="0"/>
                  </a:cubicBezTo>
                  <a:cubicBezTo>
                    <a:pt x="24" y="0"/>
                    <a:pt x="28" y="1"/>
                    <a:pt x="31" y="3"/>
                  </a:cubicBezTo>
                  <a:cubicBezTo>
                    <a:pt x="32" y="3"/>
                    <a:pt x="33" y="3"/>
                    <a:pt x="34" y="2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8" y="0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4" y="7"/>
                    <a:pt x="56" y="7"/>
                    <a:pt x="58" y="6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1"/>
                    <a:pt x="60" y="12"/>
                    <a:pt x="62" y="12"/>
                  </a:cubicBezTo>
                  <a:cubicBezTo>
                    <a:pt x="63" y="12"/>
                    <a:pt x="65" y="13"/>
                    <a:pt x="65" y="15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6" y="17"/>
                    <a:pt x="65" y="18"/>
                    <a:pt x="65" y="19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0" y="25"/>
                    <a:pt x="60" y="27"/>
                    <a:pt x="61" y="28"/>
                  </a:cubicBezTo>
                  <a:lnTo>
                    <a:pt x="65" y="37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5" name="Freeform 32">
              <a:extLst>
                <a:ext uri="{FF2B5EF4-FFF2-40B4-BE49-F238E27FC236}">
                  <a16:creationId xmlns:a16="http://schemas.microsoft.com/office/drawing/2014/main" id="{AF3799A2-5F36-48AC-A23A-E2BCAF056E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2863" y="3286126"/>
              <a:ext cx="314325" cy="244475"/>
            </a:xfrm>
            <a:custGeom>
              <a:avLst/>
              <a:gdLst>
                <a:gd name="T0" fmla="*/ 98 w 105"/>
                <a:gd name="T1" fmla="*/ 68 h 82"/>
                <a:gd name="T2" fmla="*/ 100 w 105"/>
                <a:gd name="T3" fmla="*/ 68 h 82"/>
                <a:gd name="T4" fmla="*/ 103 w 105"/>
                <a:gd name="T5" fmla="*/ 67 h 82"/>
                <a:gd name="T6" fmla="*/ 105 w 105"/>
                <a:gd name="T7" fmla="*/ 64 h 82"/>
                <a:gd name="T8" fmla="*/ 101 w 105"/>
                <a:gd name="T9" fmla="*/ 55 h 82"/>
                <a:gd name="T10" fmla="*/ 100 w 105"/>
                <a:gd name="T11" fmla="*/ 53 h 82"/>
                <a:gd name="T12" fmla="*/ 100 w 105"/>
                <a:gd name="T13" fmla="*/ 41 h 82"/>
                <a:gd name="T14" fmla="*/ 98 w 105"/>
                <a:gd name="T15" fmla="*/ 37 h 82"/>
                <a:gd name="T16" fmla="*/ 95 w 105"/>
                <a:gd name="T17" fmla="*/ 36 h 82"/>
                <a:gd name="T18" fmla="*/ 93 w 105"/>
                <a:gd name="T19" fmla="*/ 32 h 82"/>
                <a:gd name="T20" fmla="*/ 95 w 105"/>
                <a:gd name="T21" fmla="*/ 29 h 82"/>
                <a:gd name="T22" fmla="*/ 98 w 105"/>
                <a:gd name="T23" fmla="*/ 27 h 82"/>
                <a:gd name="T24" fmla="*/ 100 w 105"/>
                <a:gd name="T25" fmla="*/ 22 h 82"/>
                <a:gd name="T26" fmla="*/ 91 w 105"/>
                <a:gd name="T27" fmla="*/ 1 h 82"/>
                <a:gd name="T28" fmla="*/ 89 w 105"/>
                <a:gd name="T29" fmla="*/ 0 h 82"/>
                <a:gd name="T30" fmla="*/ 86 w 105"/>
                <a:gd name="T31" fmla="*/ 3 h 82"/>
                <a:gd name="T32" fmla="*/ 70 w 105"/>
                <a:gd name="T33" fmla="*/ 3 h 82"/>
                <a:gd name="T34" fmla="*/ 70 w 105"/>
                <a:gd name="T35" fmla="*/ 14 h 82"/>
                <a:gd name="T36" fmla="*/ 59 w 105"/>
                <a:gd name="T37" fmla="*/ 14 h 82"/>
                <a:gd name="T38" fmla="*/ 53 w 105"/>
                <a:gd name="T39" fmla="*/ 8 h 82"/>
                <a:gd name="T40" fmla="*/ 40 w 105"/>
                <a:gd name="T41" fmla="*/ 8 h 82"/>
                <a:gd name="T42" fmla="*/ 7 w 105"/>
                <a:gd name="T43" fmla="*/ 23 h 82"/>
                <a:gd name="T44" fmla="*/ 6 w 105"/>
                <a:gd name="T45" fmla="*/ 23 h 82"/>
                <a:gd name="T46" fmla="*/ 4 w 105"/>
                <a:gd name="T47" fmla="*/ 26 h 82"/>
                <a:gd name="T48" fmla="*/ 1 w 105"/>
                <a:gd name="T49" fmla="*/ 35 h 82"/>
                <a:gd name="T50" fmla="*/ 4 w 105"/>
                <a:gd name="T51" fmla="*/ 47 h 82"/>
                <a:gd name="T52" fmla="*/ 4 w 105"/>
                <a:gd name="T53" fmla="*/ 53 h 82"/>
                <a:gd name="T54" fmla="*/ 44 w 105"/>
                <a:gd name="T55" fmla="*/ 71 h 82"/>
                <a:gd name="T56" fmla="*/ 46 w 105"/>
                <a:gd name="T57" fmla="*/ 74 h 82"/>
                <a:gd name="T58" fmla="*/ 50 w 105"/>
                <a:gd name="T59" fmla="*/ 73 h 82"/>
                <a:gd name="T60" fmla="*/ 51 w 105"/>
                <a:gd name="T61" fmla="*/ 73 h 82"/>
                <a:gd name="T62" fmla="*/ 53 w 105"/>
                <a:gd name="T63" fmla="*/ 73 h 82"/>
                <a:gd name="T64" fmla="*/ 56 w 105"/>
                <a:gd name="T65" fmla="*/ 74 h 82"/>
                <a:gd name="T66" fmla="*/ 61 w 105"/>
                <a:gd name="T67" fmla="*/ 78 h 82"/>
                <a:gd name="T68" fmla="*/ 67 w 105"/>
                <a:gd name="T69" fmla="*/ 78 h 82"/>
                <a:gd name="T70" fmla="*/ 70 w 105"/>
                <a:gd name="T71" fmla="*/ 77 h 82"/>
                <a:gd name="T72" fmla="*/ 82 w 105"/>
                <a:gd name="T73" fmla="*/ 77 h 82"/>
                <a:gd name="T74" fmla="*/ 85 w 105"/>
                <a:gd name="T75" fmla="*/ 78 h 82"/>
                <a:gd name="T76" fmla="*/ 88 w 105"/>
                <a:gd name="T77" fmla="*/ 82 h 82"/>
                <a:gd name="T78" fmla="*/ 95 w 105"/>
                <a:gd name="T79" fmla="*/ 70 h 82"/>
                <a:gd name="T80" fmla="*/ 98 w 105"/>
                <a:gd name="T81" fmla="*/ 6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5" h="82">
                  <a:moveTo>
                    <a:pt x="98" y="68"/>
                  </a:moveTo>
                  <a:cubicBezTo>
                    <a:pt x="100" y="68"/>
                    <a:pt x="100" y="68"/>
                    <a:pt x="100" y="68"/>
                  </a:cubicBezTo>
                  <a:cubicBezTo>
                    <a:pt x="101" y="68"/>
                    <a:pt x="102" y="67"/>
                    <a:pt x="103" y="67"/>
                  </a:cubicBezTo>
                  <a:cubicBezTo>
                    <a:pt x="105" y="64"/>
                    <a:pt x="105" y="64"/>
                    <a:pt x="105" y="64"/>
                  </a:cubicBezTo>
                  <a:cubicBezTo>
                    <a:pt x="101" y="55"/>
                    <a:pt x="101" y="55"/>
                    <a:pt x="101" y="55"/>
                  </a:cubicBezTo>
                  <a:cubicBezTo>
                    <a:pt x="100" y="55"/>
                    <a:pt x="100" y="54"/>
                    <a:pt x="100" y="53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39"/>
                    <a:pt x="99" y="38"/>
                    <a:pt x="98" y="37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4" y="35"/>
                    <a:pt x="93" y="34"/>
                    <a:pt x="93" y="32"/>
                  </a:cubicBezTo>
                  <a:cubicBezTo>
                    <a:pt x="93" y="31"/>
                    <a:pt x="94" y="29"/>
                    <a:pt x="95" y="2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0" y="26"/>
                    <a:pt x="101" y="24"/>
                    <a:pt x="100" y="22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0" y="1"/>
                    <a:pt x="90" y="0"/>
                    <a:pt x="89" y="0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4"/>
                    <a:pt x="5" y="25"/>
                    <a:pt x="4" y="26"/>
                  </a:cubicBezTo>
                  <a:cubicBezTo>
                    <a:pt x="1" y="28"/>
                    <a:pt x="0" y="32"/>
                    <a:pt x="1" y="35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5" y="49"/>
                    <a:pt x="4" y="52"/>
                    <a:pt x="4" y="53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2"/>
                    <a:pt x="46" y="73"/>
                    <a:pt x="46" y="74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1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4" y="73"/>
                    <a:pt x="55" y="73"/>
                    <a:pt x="56" y="74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2" y="80"/>
                    <a:pt x="65" y="80"/>
                    <a:pt x="67" y="78"/>
                  </a:cubicBezTo>
                  <a:cubicBezTo>
                    <a:pt x="68" y="77"/>
                    <a:pt x="69" y="77"/>
                    <a:pt x="70" y="77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83" y="77"/>
                    <a:pt x="84" y="77"/>
                    <a:pt x="85" y="78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6" y="69"/>
                    <a:pt x="97" y="68"/>
                    <a:pt x="98" y="6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6" name="Freeform 33">
              <a:extLst>
                <a:ext uri="{FF2B5EF4-FFF2-40B4-BE49-F238E27FC236}">
                  <a16:creationId xmlns:a16="http://schemas.microsoft.com/office/drawing/2014/main" id="{D320C102-D583-4534-9C4D-E72340882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950" y="3563938"/>
              <a:ext cx="215900" cy="128588"/>
            </a:xfrm>
            <a:custGeom>
              <a:avLst/>
              <a:gdLst>
                <a:gd name="T0" fmla="*/ 7 w 72"/>
                <a:gd name="T1" fmla="*/ 33 h 43"/>
                <a:gd name="T2" fmla="*/ 11 w 72"/>
                <a:gd name="T3" fmla="*/ 36 h 43"/>
                <a:gd name="T4" fmla="*/ 24 w 72"/>
                <a:gd name="T5" fmla="*/ 42 h 43"/>
                <a:gd name="T6" fmla="*/ 32 w 72"/>
                <a:gd name="T7" fmla="*/ 42 h 43"/>
                <a:gd name="T8" fmla="*/ 39 w 72"/>
                <a:gd name="T9" fmla="*/ 38 h 43"/>
                <a:gd name="T10" fmla="*/ 46 w 72"/>
                <a:gd name="T11" fmla="*/ 38 h 43"/>
                <a:gd name="T12" fmla="*/ 56 w 72"/>
                <a:gd name="T13" fmla="*/ 34 h 43"/>
                <a:gd name="T14" fmla="*/ 70 w 72"/>
                <a:gd name="T15" fmla="*/ 15 h 43"/>
                <a:gd name="T16" fmla="*/ 68 w 72"/>
                <a:gd name="T17" fmla="*/ 3 h 43"/>
                <a:gd name="T18" fmla="*/ 65 w 72"/>
                <a:gd name="T19" fmla="*/ 0 h 43"/>
                <a:gd name="T20" fmla="*/ 63 w 72"/>
                <a:gd name="T21" fmla="*/ 1 h 43"/>
                <a:gd name="T22" fmla="*/ 49 w 72"/>
                <a:gd name="T23" fmla="*/ 1 h 43"/>
                <a:gd name="T24" fmla="*/ 47 w 72"/>
                <a:gd name="T25" fmla="*/ 1 h 43"/>
                <a:gd name="T26" fmla="*/ 31 w 72"/>
                <a:gd name="T27" fmla="*/ 10 h 43"/>
                <a:gd name="T28" fmla="*/ 29 w 72"/>
                <a:gd name="T29" fmla="*/ 11 h 43"/>
                <a:gd name="T30" fmla="*/ 7 w 72"/>
                <a:gd name="T31" fmla="*/ 11 h 43"/>
                <a:gd name="T32" fmla="*/ 6 w 72"/>
                <a:gd name="T33" fmla="*/ 14 h 43"/>
                <a:gd name="T34" fmla="*/ 1 w 72"/>
                <a:gd name="T35" fmla="*/ 22 h 43"/>
                <a:gd name="T36" fmla="*/ 0 w 72"/>
                <a:gd name="T37" fmla="*/ 25 h 43"/>
                <a:gd name="T38" fmla="*/ 7 w 72"/>
                <a:gd name="T39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43">
                  <a:moveTo>
                    <a:pt x="7" y="33"/>
                  </a:moveTo>
                  <a:cubicBezTo>
                    <a:pt x="8" y="34"/>
                    <a:pt x="9" y="35"/>
                    <a:pt x="11" y="36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7" y="43"/>
                    <a:pt x="30" y="43"/>
                    <a:pt x="32" y="42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41" y="37"/>
                    <a:pt x="44" y="37"/>
                    <a:pt x="46" y="38"/>
                  </a:cubicBezTo>
                  <a:cubicBezTo>
                    <a:pt x="49" y="39"/>
                    <a:pt x="53" y="37"/>
                    <a:pt x="56" y="34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2" y="12"/>
                    <a:pt x="72" y="6"/>
                    <a:pt x="68" y="3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4" y="1"/>
                    <a:pt x="64" y="1"/>
                    <a:pt x="63" y="1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1"/>
                    <a:pt x="48" y="1"/>
                    <a:pt x="47" y="1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0" y="11"/>
                    <a:pt x="29" y="11"/>
                    <a:pt x="29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2"/>
                    <a:pt x="6" y="13"/>
                    <a:pt x="6" y="14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0" y="24"/>
                    <a:pt x="0" y="25"/>
                  </a:cubicBezTo>
                  <a:lnTo>
                    <a:pt x="7" y="3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7" name="Freeform 34">
              <a:extLst>
                <a:ext uri="{FF2B5EF4-FFF2-40B4-BE49-F238E27FC236}">
                  <a16:creationId xmlns:a16="http://schemas.microsoft.com/office/drawing/2014/main" id="{2989A222-5BA0-4E59-8FAF-362557D690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600" y="3503613"/>
              <a:ext cx="215900" cy="92075"/>
            </a:xfrm>
            <a:custGeom>
              <a:avLst/>
              <a:gdLst>
                <a:gd name="T0" fmla="*/ 33 w 72"/>
                <a:gd name="T1" fmla="*/ 30 h 31"/>
                <a:gd name="T2" fmla="*/ 49 w 72"/>
                <a:gd name="T3" fmla="*/ 21 h 31"/>
                <a:gd name="T4" fmla="*/ 51 w 72"/>
                <a:gd name="T5" fmla="*/ 21 h 31"/>
                <a:gd name="T6" fmla="*/ 65 w 72"/>
                <a:gd name="T7" fmla="*/ 21 h 31"/>
                <a:gd name="T8" fmla="*/ 68 w 72"/>
                <a:gd name="T9" fmla="*/ 19 h 31"/>
                <a:gd name="T10" fmla="*/ 70 w 72"/>
                <a:gd name="T11" fmla="*/ 17 h 31"/>
                <a:gd name="T12" fmla="*/ 70 w 72"/>
                <a:gd name="T13" fmla="*/ 11 h 31"/>
                <a:gd name="T14" fmla="*/ 65 w 72"/>
                <a:gd name="T15" fmla="*/ 5 h 31"/>
                <a:gd name="T16" fmla="*/ 62 w 72"/>
                <a:gd name="T17" fmla="*/ 4 h 31"/>
                <a:gd name="T18" fmla="*/ 50 w 72"/>
                <a:gd name="T19" fmla="*/ 4 h 31"/>
                <a:gd name="T20" fmla="*/ 47 w 72"/>
                <a:gd name="T21" fmla="*/ 5 h 31"/>
                <a:gd name="T22" fmla="*/ 41 w 72"/>
                <a:gd name="T23" fmla="*/ 5 h 31"/>
                <a:gd name="T24" fmla="*/ 36 w 72"/>
                <a:gd name="T25" fmla="*/ 1 h 31"/>
                <a:gd name="T26" fmla="*/ 33 w 72"/>
                <a:gd name="T27" fmla="*/ 0 h 31"/>
                <a:gd name="T28" fmla="*/ 31 w 72"/>
                <a:gd name="T29" fmla="*/ 0 h 31"/>
                <a:gd name="T30" fmla="*/ 30 w 72"/>
                <a:gd name="T31" fmla="*/ 0 h 31"/>
                <a:gd name="T32" fmla="*/ 26 w 72"/>
                <a:gd name="T33" fmla="*/ 1 h 31"/>
                <a:gd name="T34" fmla="*/ 27 w 72"/>
                <a:gd name="T35" fmla="*/ 2 h 31"/>
                <a:gd name="T36" fmla="*/ 27 w 72"/>
                <a:gd name="T37" fmla="*/ 2 h 31"/>
                <a:gd name="T38" fmla="*/ 27 w 72"/>
                <a:gd name="T39" fmla="*/ 3 h 31"/>
                <a:gd name="T40" fmla="*/ 27 w 72"/>
                <a:gd name="T41" fmla="*/ 4 h 31"/>
                <a:gd name="T42" fmla="*/ 26 w 72"/>
                <a:gd name="T43" fmla="*/ 4 h 31"/>
                <a:gd name="T44" fmla="*/ 26 w 72"/>
                <a:gd name="T45" fmla="*/ 5 h 31"/>
                <a:gd name="T46" fmla="*/ 25 w 72"/>
                <a:gd name="T47" fmla="*/ 6 h 31"/>
                <a:gd name="T48" fmla="*/ 18 w 72"/>
                <a:gd name="T49" fmla="*/ 13 h 31"/>
                <a:gd name="T50" fmla="*/ 15 w 72"/>
                <a:gd name="T51" fmla="*/ 14 h 31"/>
                <a:gd name="T52" fmla="*/ 1 w 72"/>
                <a:gd name="T53" fmla="*/ 14 h 31"/>
                <a:gd name="T54" fmla="*/ 0 w 72"/>
                <a:gd name="T55" fmla="*/ 15 h 31"/>
                <a:gd name="T56" fmla="*/ 0 w 72"/>
                <a:gd name="T57" fmla="*/ 15 h 31"/>
                <a:gd name="T58" fmla="*/ 6 w 72"/>
                <a:gd name="T59" fmla="*/ 20 h 31"/>
                <a:gd name="T60" fmla="*/ 8 w 72"/>
                <a:gd name="T61" fmla="*/ 28 h 31"/>
                <a:gd name="T62" fmla="*/ 9 w 72"/>
                <a:gd name="T63" fmla="*/ 31 h 31"/>
                <a:gd name="T64" fmla="*/ 31 w 72"/>
                <a:gd name="T65" fmla="*/ 31 h 31"/>
                <a:gd name="T66" fmla="*/ 33 w 72"/>
                <a:gd name="T67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2" h="31">
                  <a:moveTo>
                    <a:pt x="33" y="30"/>
                  </a:move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1" y="21"/>
                    <a:pt x="51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6" y="21"/>
                    <a:pt x="67" y="20"/>
                    <a:pt x="68" y="19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2" y="15"/>
                    <a:pt x="72" y="13"/>
                    <a:pt x="70" y="11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4" y="4"/>
                    <a:pt x="63" y="4"/>
                    <a:pt x="62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9" y="4"/>
                    <a:pt x="48" y="4"/>
                    <a:pt x="47" y="5"/>
                  </a:cubicBezTo>
                  <a:cubicBezTo>
                    <a:pt x="45" y="7"/>
                    <a:pt x="42" y="7"/>
                    <a:pt x="41" y="5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5" y="0"/>
                    <a:pt x="34" y="0"/>
                    <a:pt x="3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1"/>
                    <a:pt x="27" y="1"/>
                    <a:pt x="27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2"/>
                    <a:pt x="27" y="3"/>
                    <a:pt x="27" y="3"/>
                  </a:cubicBezTo>
                  <a:cubicBezTo>
                    <a:pt x="27" y="3"/>
                    <a:pt x="27" y="3"/>
                    <a:pt x="27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6" y="6"/>
                    <a:pt x="25" y="6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7" y="14"/>
                    <a:pt x="16" y="14"/>
                    <a:pt x="15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0" y="14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3" y="15"/>
                    <a:pt x="5" y="18"/>
                    <a:pt x="6" y="20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9" y="29"/>
                    <a:pt x="9" y="30"/>
                    <a:pt x="9" y="31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1" y="31"/>
                    <a:pt x="32" y="31"/>
                    <a:pt x="33" y="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8" name="Freeform 35">
              <a:extLst>
                <a:ext uri="{FF2B5EF4-FFF2-40B4-BE49-F238E27FC236}">
                  <a16:creationId xmlns:a16="http://schemas.microsoft.com/office/drawing/2014/main" id="{2F66EB04-40F5-46BB-97CD-20C75F76A7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6163" y="3595688"/>
              <a:ext cx="161925" cy="128588"/>
            </a:xfrm>
            <a:custGeom>
              <a:avLst/>
              <a:gdLst>
                <a:gd name="T0" fmla="*/ 47 w 54"/>
                <a:gd name="T1" fmla="*/ 24 h 43"/>
                <a:gd name="T2" fmla="*/ 52 w 54"/>
                <a:gd name="T3" fmla="*/ 21 h 43"/>
                <a:gd name="T4" fmla="*/ 54 w 54"/>
                <a:gd name="T5" fmla="*/ 17 h 43"/>
                <a:gd name="T6" fmla="*/ 51 w 54"/>
                <a:gd name="T7" fmla="*/ 13 h 43"/>
                <a:gd name="T8" fmla="*/ 49 w 54"/>
                <a:gd name="T9" fmla="*/ 13 h 43"/>
                <a:gd name="T10" fmla="*/ 45 w 54"/>
                <a:gd name="T11" fmla="*/ 8 h 43"/>
                <a:gd name="T12" fmla="*/ 45 w 54"/>
                <a:gd name="T13" fmla="*/ 7 h 43"/>
                <a:gd name="T14" fmla="*/ 45 w 54"/>
                <a:gd name="T15" fmla="*/ 7 h 43"/>
                <a:gd name="T16" fmla="*/ 41 w 54"/>
                <a:gd name="T17" fmla="*/ 6 h 43"/>
                <a:gd name="T18" fmla="*/ 31 w 54"/>
                <a:gd name="T19" fmla="*/ 1 h 43"/>
                <a:gd name="T20" fmla="*/ 27 w 54"/>
                <a:gd name="T21" fmla="*/ 0 h 43"/>
                <a:gd name="T22" fmla="*/ 19 w 54"/>
                <a:gd name="T23" fmla="*/ 0 h 43"/>
                <a:gd name="T24" fmla="*/ 1 w 54"/>
                <a:gd name="T25" fmla="*/ 29 h 43"/>
                <a:gd name="T26" fmla="*/ 4 w 54"/>
                <a:gd name="T27" fmla="*/ 34 h 43"/>
                <a:gd name="T28" fmla="*/ 5 w 54"/>
                <a:gd name="T29" fmla="*/ 34 h 43"/>
                <a:gd name="T30" fmla="*/ 8 w 54"/>
                <a:gd name="T31" fmla="*/ 37 h 43"/>
                <a:gd name="T32" fmla="*/ 8 w 54"/>
                <a:gd name="T33" fmla="*/ 43 h 43"/>
                <a:gd name="T34" fmla="*/ 9 w 54"/>
                <a:gd name="T35" fmla="*/ 43 h 43"/>
                <a:gd name="T36" fmla="*/ 15 w 54"/>
                <a:gd name="T37" fmla="*/ 43 h 43"/>
                <a:gd name="T38" fmla="*/ 19 w 54"/>
                <a:gd name="T39" fmla="*/ 39 h 43"/>
                <a:gd name="T40" fmla="*/ 23 w 54"/>
                <a:gd name="T41" fmla="*/ 35 h 43"/>
                <a:gd name="T42" fmla="*/ 37 w 54"/>
                <a:gd name="T43" fmla="*/ 35 h 43"/>
                <a:gd name="T44" fmla="*/ 44 w 54"/>
                <a:gd name="T45" fmla="*/ 32 h 43"/>
                <a:gd name="T46" fmla="*/ 44 w 54"/>
                <a:gd name="T47" fmla="*/ 32 h 43"/>
                <a:gd name="T48" fmla="*/ 44 w 54"/>
                <a:gd name="T49" fmla="*/ 29 h 43"/>
                <a:gd name="T50" fmla="*/ 47 w 54"/>
                <a:gd name="T51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43">
                  <a:moveTo>
                    <a:pt x="47" y="24"/>
                  </a:moveTo>
                  <a:cubicBezTo>
                    <a:pt x="52" y="21"/>
                    <a:pt x="52" y="21"/>
                    <a:pt x="52" y="21"/>
                  </a:cubicBezTo>
                  <a:cubicBezTo>
                    <a:pt x="54" y="20"/>
                    <a:pt x="54" y="18"/>
                    <a:pt x="54" y="17"/>
                  </a:cubicBezTo>
                  <a:cubicBezTo>
                    <a:pt x="54" y="15"/>
                    <a:pt x="53" y="13"/>
                    <a:pt x="51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7" y="13"/>
                    <a:pt x="45" y="11"/>
                    <a:pt x="45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3" y="7"/>
                    <a:pt x="42" y="6"/>
                    <a:pt x="41" y="6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0" y="0"/>
                    <a:pt x="28" y="0"/>
                    <a:pt x="27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0" y="31"/>
                    <a:pt x="1" y="34"/>
                    <a:pt x="4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7" y="34"/>
                    <a:pt x="8" y="36"/>
                    <a:pt x="8" y="37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7" y="43"/>
                    <a:pt x="19" y="41"/>
                    <a:pt x="19" y="39"/>
                  </a:cubicBezTo>
                  <a:cubicBezTo>
                    <a:pt x="19" y="37"/>
                    <a:pt x="21" y="35"/>
                    <a:pt x="23" y="35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40" y="35"/>
                    <a:pt x="42" y="34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7"/>
                    <a:pt x="45" y="25"/>
                    <a:pt x="47" y="2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9" name="Freeform 36">
              <a:extLst>
                <a:ext uri="{FF2B5EF4-FFF2-40B4-BE49-F238E27FC236}">
                  <a16:creationId xmlns:a16="http://schemas.microsoft.com/office/drawing/2014/main" id="{8FF52CBC-179C-4FD5-9476-1167E5090C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0" y="3365501"/>
              <a:ext cx="119063" cy="114300"/>
            </a:xfrm>
            <a:custGeom>
              <a:avLst/>
              <a:gdLst>
                <a:gd name="T0" fmla="*/ 24 w 40"/>
                <a:gd name="T1" fmla="*/ 31 h 38"/>
                <a:gd name="T2" fmla="*/ 32 w 40"/>
                <a:gd name="T3" fmla="*/ 17 h 38"/>
                <a:gd name="T4" fmla="*/ 40 w 40"/>
                <a:gd name="T5" fmla="*/ 4 h 38"/>
                <a:gd name="T6" fmla="*/ 40 w 40"/>
                <a:gd name="T7" fmla="*/ 2 h 38"/>
                <a:gd name="T8" fmla="*/ 39 w 40"/>
                <a:gd name="T9" fmla="*/ 0 h 38"/>
                <a:gd name="T10" fmla="*/ 24 w 40"/>
                <a:gd name="T11" fmla="*/ 1 h 38"/>
                <a:gd name="T12" fmla="*/ 22 w 40"/>
                <a:gd name="T13" fmla="*/ 1 h 38"/>
                <a:gd name="T14" fmla="*/ 17 w 40"/>
                <a:gd name="T15" fmla="*/ 5 h 38"/>
                <a:gd name="T16" fmla="*/ 16 w 40"/>
                <a:gd name="T17" fmla="*/ 9 h 38"/>
                <a:gd name="T18" fmla="*/ 18 w 40"/>
                <a:gd name="T19" fmla="*/ 13 h 38"/>
                <a:gd name="T20" fmla="*/ 16 w 40"/>
                <a:gd name="T21" fmla="*/ 17 h 38"/>
                <a:gd name="T22" fmla="*/ 11 w 40"/>
                <a:gd name="T23" fmla="*/ 15 h 38"/>
                <a:gd name="T24" fmla="*/ 11 w 40"/>
                <a:gd name="T25" fmla="*/ 15 h 38"/>
                <a:gd name="T26" fmla="*/ 6 w 40"/>
                <a:gd name="T27" fmla="*/ 13 h 38"/>
                <a:gd name="T28" fmla="*/ 4 w 40"/>
                <a:gd name="T29" fmla="*/ 15 h 38"/>
                <a:gd name="T30" fmla="*/ 2 w 40"/>
                <a:gd name="T31" fmla="*/ 17 h 38"/>
                <a:gd name="T32" fmla="*/ 0 w 40"/>
                <a:gd name="T33" fmla="*/ 26 h 38"/>
                <a:gd name="T34" fmla="*/ 9 w 40"/>
                <a:gd name="T35" fmla="*/ 26 h 38"/>
                <a:gd name="T36" fmla="*/ 23 w 40"/>
                <a:gd name="T37" fmla="*/ 36 h 38"/>
                <a:gd name="T38" fmla="*/ 24 w 40"/>
                <a:gd name="T39" fmla="*/ 37 h 38"/>
                <a:gd name="T40" fmla="*/ 24 w 40"/>
                <a:gd name="T41" fmla="*/ 38 h 38"/>
                <a:gd name="T42" fmla="*/ 24 w 40"/>
                <a:gd name="T43" fmla="*/ 38 h 38"/>
                <a:gd name="T44" fmla="*/ 24 w 40"/>
                <a:gd name="T45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38">
                  <a:moveTo>
                    <a:pt x="24" y="31"/>
                  </a:moveTo>
                  <a:cubicBezTo>
                    <a:pt x="24" y="25"/>
                    <a:pt x="27" y="20"/>
                    <a:pt x="32" y="17"/>
                  </a:cubicBezTo>
                  <a:cubicBezTo>
                    <a:pt x="37" y="14"/>
                    <a:pt x="40" y="9"/>
                    <a:pt x="40" y="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2"/>
                    <a:pt x="40" y="1"/>
                    <a:pt x="39" y="0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4" y="1"/>
                    <a:pt x="23" y="1"/>
                    <a:pt x="22" y="1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6"/>
                    <a:pt x="16" y="8"/>
                    <a:pt x="16" y="9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5"/>
                    <a:pt x="18" y="16"/>
                    <a:pt x="16" y="17"/>
                  </a:cubicBezTo>
                  <a:cubicBezTo>
                    <a:pt x="15" y="19"/>
                    <a:pt x="12" y="18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3"/>
                    <a:pt x="8" y="12"/>
                    <a:pt x="6" y="13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3" y="16"/>
                    <a:pt x="2" y="1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15" y="26"/>
                    <a:pt x="21" y="30"/>
                    <a:pt x="23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8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lnTo>
                    <a:pt x="24" y="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0" name="Freeform 37">
              <a:extLst>
                <a:ext uri="{FF2B5EF4-FFF2-40B4-BE49-F238E27FC236}">
                  <a16:creationId xmlns:a16="http://schemas.microsoft.com/office/drawing/2014/main" id="{CCF3FFCB-E1A6-4A86-AD37-7132BDF978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7575" y="3443288"/>
              <a:ext cx="128588" cy="107950"/>
            </a:xfrm>
            <a:custGeom>
              <a:avLst/>
              <a:gdLst>
                <a:gd name="T0" fmla="*/ 39 w 43"/>
                <a:gd name="T1" fmla="*/ 28 h 36"/>
                <a:gd name="T2" fmla="*/ 42 w 43"/>
                <a:gd name="T3" fmla="*/ 22 h 36"/>
                <a:gd name="T4" fmla="*/ 42 w 43"/>
                <a:gd name="T5" fmla="*/ 11 h 36"/>
                <a:gd name="T6" fmla="*/ 41 w 43"/>
                <a:gd name="T7" fmla="*/ 10 h 36"/>
                <a:gd name="T8" fmla="*/ 27 w 43"/>
                <a:gd name="T9" fmla="*/ 0 h 36"/>
                <a:gd name="T10" fmla="*/ 18 w 43"/>
                <a:gd name="T11" fmla="*/ 0 h 36"/>
                <a:gd name="T12" fmla="*/ 18 w 43"/>
                <a:gd name="T13" fmla="*/ 1 h 36"/>
                <a:gd name="T14" fmla="*/ 17 w 43"/>
                <a:gd name="T15" fmla="*/ 3 h 36"/>
                <a:gd name="T16" fmla="*/ 4 w 43"/>
                <a:gd name="T17" fmla="*/ 14 h 36"/>
                <a:gd name="T18" fmla="*/ 0 w 43"/>
                <a:gd name="T19" fmla="*/ 15 h 36"/>
                <a:gd name="T20" fmla="*/ 26 w 43"/>
                <a:gd name="T21" fmla="*/ 35 h 36"/>
                <a:gd name="T22" fmla="*/ 28 w 43"/>
                <a:gd name="T23" fmla="*/ 36 h 36"/>
                <a:gd name="T24" fmla="*/ 32 w 43"/>
                <a:gd name="T25" fmla="*/ 36 h 36"/>
                <a:gd name="T26" fmla="*/ 39 w 43"/>
                <a:gd name="T2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" h="36">
                  <a:moveTo>
                    <a:pt x="39" y="28"/>
                  </a:moveTo>
                  <a:cubicBezTo>
                    <a:pt x="42" y="22"/>
                    <a:pt x="42" y="22"/>
                    <a:pt x="42" y="22"/>
                  </a:cubicBezTo>
                  <a:cubicBezTo>
                    <a:pt x="43" y="19"/>
                    <a:pt x="43" y="14"/>
                    <a:pt x="42" y="11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9" y="4"/>
                    <a:pt x="33" y="0"/>
                    <a:pt x="2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6"/>
                    <a:pt x="27" y="36"/>
                    <a:pt x="28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5" y="34"/>
                    <a:pt x="38" y="31"/>
                    <a:pt x="39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1" name="Freeform 38">
              <a:extLst>
                <a:ext uri="{FF2B5EF4-FFF2-40B4-BE49-F238E27FC236}">
                  <a16:creationId xmlns:a16="http://schemas.microsoft.com/office/drawing/2014/main" id="{F814E511-7053-4E89-BBE0-8BFE3D55E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5" y="3662363"/>
              <a:ext cx="409575" cy="396875"/>
            </a:xfrm>
            <a:custGeom>
              <a:avLst/>
              <a:gdLst>
                <a:gd name="T0" fmla="*/ 70 w 137"/>
                <a:gd name="T1" fmla="*/ 9 h 133"/>
                <a:gd name="T2" fmla="*/ 64 w 137"/>
                <a:gd name="T3" fmla="*/ 5 h 133"/>
                <a:gd name="T4" fmla="*/ 51 w 137"/>
                <a:gd name="T5" fmla="*/ 2 h 133"/>
                <a:gd name="T6" fmla="*/ 44 w 137"/>
                <a:gd name="T7" fmla="*/ 6 h 133"/>
                <a:gd name="T8" fmla="*/ 36 w 137"/>
                <a:gd name="T9" fmla="*/ 10 h 133"/>
                <a:gd name="T10" fmla="*/ 15 w 137"/>
                <a:gd name="T11" fmla="*/ 13 h 133"/>
                <a:gd name="T12" fmla="*/ 7 w 137"/>
                <a:gd name="T13" fmla="*/ 21 h 133"/>
                <a:gd name="T14" fmla="*/ 0 w 137"/>
                <a:gd name="T15" fmla="*/ 21 h 133"/>
                <a:gd name="T16" fmla="*/ 4 w 137"/>
                <a:gd name="T17" fmla="*/ 41 h 133"/>
                <a:gd name="T18" fmla="*/ 7 w 137"/>
                <a:gd name="T19" fmla="*/ 51 h 133"/>
                <a:gd name="T20" fmla="*/ 26 w 137"/>
                <a:gd name="T21" fmla="*/ 43 h 133"/>
                <a:gd name="T22" fmla="*/ 40 w 137"/>
                <a:gd name="T23" fmla="*/ 55 h 133"/>
                <a:gd name="T24" fmla="*/ 50 w 137"/>
                <a:gd name="T25" fmla="*/ 68 h 133"/>
                <a:gd name="T26" fmla="*/ 64 w 137"/>
                <a:gd name="T27" fmla="*/ 79 h 133"/>
                <a:gd name="T28" fmla="*/ 81 w 137"/>
                <a:gd name="T29" fmla="*/ 87 h 133"/>
                <a:gd name="T30" fmla="*/ 94 w 137"/>
                <a:gd name="T31" fmla="*/ 99 h 133"/>
                <a:gd name="T32" fmla="*/ 108 w 137"/>
                <a:gd name="T33" fmla="*/ 111 h 133"/>
                <a:gd name="T34" fmla="*/ 109 w 137"/>
                <a:gd name="T35" fmla="*/ 114 h 133"/>
                <a:gd name="T36" fmla="*/ 108 w 137"/>
                <a:gd name="T37" fmla="*/ 133 h 133"/>
                <a:gd name="T38" fmla="*/ 117 w 137"/>
                <a:gd name="T39" fmla="*/ 123 h 133"/>
                <a:gd name="T40" fmla="*/ 121 w 137"/>
                <a:gd name="T41" fmla="*/ 115 h 133"/>
                <a:gd name="T42" fmla="*/ 116 w 137"/>
                <a:gd name="T43" fmla="*/ 105 h 133"/>
                <a:gd name="T44" fmla="*/ 120 w 137"/>
                <a:gd name="T45" fmla="*/ 100 h 133"/>
                <a:gd name="T46" fmla="*/ 130 w 137"/>
                <a:gd name="T47" fmla="*/ 106 h 133"/>
                <a:gd name="T48" fmla="*/ 137 w 137"/>
                <a:gd name="T49" fmla="*/ 106 h 133"/>
                <a:gd name="T50" fmla="*/ 133 w 137"/>
                <a:gd name="T51" fmla="*/ 97 h 133"/>
                <a:gd name="T52" fmla="*/ 117 w 137"/>
                <a:gd name="T53" fmla="*/ 88 h 133"/>
                <a:gd name="T54" fmla="*/ 109 w 137"/>
                <a:gd name="T55" fmla="*/ 84 h 133"/>
                <a:gd name="T56" fmla="*/ 102 w 137"/>
                <a:gd name="T57" fmla="*/ 78 h 133"/>
                <a:gd name="T58" fmla="*/ 91 w 137"/>
                <a:gd name="T59" fmla="*/ 74 h 133"/>
                <a:gd name="T60" fmla="*/ 82 w 137"/>
                <a:gd name="T61" fmla="*/ 56 h 133"/>
                <a:gd name="T62" fmla="*/ 63 w 137"/>
                <a:gd name="T63" fmla="*/ 41 h 133"/>
                <a:gd name="T64" fmla="*/ 68 w 137"/>
                <a:gd name="T65" fmla="*/ 22 h 133"/>
                <a:gd name="T66" fmla="*/ 76 w 137"/>
                <a:gd name="T67" fmla="*/ 22 h 133"/>
                <a:gd name="T68" fmla="*/ 76 w 137"/>
                <a:gd name="T69" fmla="*/ 2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" h="133">
                  <a:moveTo>
                    <a:pt x="76" y="20"/>
                  </a:moveTo>
                  <a:cubicBezTo>
                    <a:pt x="78" y="15"/>
                    <a:pt x="75" y="10"/>
                    <a:pt x="70" y="9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5" y="7"/>
                    <a:pt x="64" y="6"/>
                    <a:pt x="64" y="5"/>
                  </a:cubicBezTo>
                  <a:cubicBezTo>
                    <a:pt x="63" y="3"/>
                    <a:pt x="61" y="2"/>
                    <a:pt x="59" y="2"/>
                  </a:cubicBezTo>
                  <a:cubicBezTo>
                    <a:pt x="59" y="2"/>
                    <a:pt x="52" y="0"/>
                    <a:pt x="51" y="2"/>
                  </a:cubicBezTo>
                  <a:cubicBezTo>
                    <a:pt x="50" y="3"/>
                    <a:pt x="50" y="6"/>
                    <a:pt x="50" y="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2" y="6"/>
                    <a:pt x="39" y="7"/>
                    <a:pt x="38" y="8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4" y="12"/>
                    <a:pt x="32" y="13"/>
                    <a:pt x="29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3" y="13"/>
                    <a:pt x="11" y="15"/>
                    <a:pt x="11" y="17"/>
                  </a:cubicBezTo>
                  <a:cubicBezTo>
                    <a:pt x="11" y="19"/>
                    <a:pt x="9" y="21"/>
                    <a:pt x="7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0" y="21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0"/>
                    <a:pt x="2" y="41"/>
                    <a:pt x="4" y="41"/>
                  </a:cubicBezTo>
                  <a:cubicBezTo>
                    <a:pt x="5" y="41"/>
                    <a:pt x="7" y="42"/>
                    <a:pt x="7" y="44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7" y="44"/>
                    <a:pt x="22" y="42"/>
                    <a:pt x="26" y="43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35" y="46"/>
                    <a:pt x="39" y="50"/>
                    <a:pt x="40" y="55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3" y="62"/>
                    <a:pt x="46" y="66"/>
                    <a:pt x="50" y="68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7" y="83"/>
                    <a:pt x="72" y="86"/>
                    <a:pt x="77" y="87"/>
                  </a:cubicBezTo>
                  <a:cubicBezTo>
                    <a:pt x="79" y="87"/>
                    <a:pt x="81" y="87"/>
                    <a:pt x="81" y="87"/>
                  </a:cubicBezTo>
                  <a:cubicBezTo>
                    <a:pt x="82" y="87"/>
                    <a:pt x="85" y="92"/>
                    <a:pt x="88" y="95"/>
                  </a:cubicBezTo>
                  <a:cubicBezTo>
                    <a:pt x="89" y="97"/>
                    <a:pt x="92" y="98"/>
                    <a:pt x="94" y="99"/>
                  </a:cubicBezTo>
                  <a:cubicBezTo>
                    <a:pt x="97" y="100"/>
                    <a:pt x="97" y="100"/>
                    <a:pt x="97" y="100"/>
                  </a:cubicBezTo>
                  <a:cubicBezTo>
                    <a:pt x="102" y="102"/>
                    <a:pt x="106" y="106"/>
                    <a:pt x="108" y="111"/>
                  </a:cubicBezTo>
                  <a:cubicBezTo>
                    <a:pt x="108" y="111"/>
                    <a:pt x="108" y="111"/>
                    <a:pt x="108" y="111"/>
                  </a:cubicBezTo>
                  <a:cubicBezTo>
                    <a:pt x="109" y="112"/>
                    <a:pt x="109" y="113"/>
                    <a:pt x="109" y="114"/>
                  </a:cubicBezTo>
                  <a:cubicBezTo>
                    <a:pt x="109" y="114"/>
                    <a:pt x="105" y="127"/>
                    <a:pt x="106" y="131"/>
                  </a:cubicBezTo>
                  <a:cubicBezTo>
                    <a:pt x="106" y="132"/>
                    <a:pt x="107" y="133"/>
                    <a:pt x="108" y="133"/>
                  </a:cubicBezTo>
                  <a:cubicBezTo>
                    <a:pt x="111" y="133"/>
                    <a:pt x="116" y="124"/>
                    <a:pt x="116" y="124"/>
                  </a:cubicBezTo>
                  <a:cubicBezTo>
                    <a:pt x="116" y="124"/>
                    <a:pt x="117" y="124"/>
                    <a:pt x="117" y="123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22" y="120"/>
                    <a:pt x="122" y="117"/>
                    <a:pt x="121" y="115"/>
                  </a:cubicBezTo>
                  <a:cubicBezTo>
                    <a:pt x="117" y="110"/>
                    <a:pt x="117" y="110"/>
                    <a:pt x="117" y="110"/>
                  </a:cubicBezTo>
                  <a:cubicBezTo>
                    <a:pt x="116" y="109"/>
                    <a:pt x="116" y="107"/>
                    <a:pt x="116" y="105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17" y="102"/>
                    <a:pt x="119" y="100"/>
                    <a:pt x="120" y="100"/>
                  </a:cubicBezTo>
                  <a:cubicBezTo>
                    <a:pt x="122" y="100"/>
                    <a:pt x="124" y="100"/>
                    <a:pt x="125" y="101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31" y="107"/>
                    <a:pt x="133" y="108"/>
                    <a:pt x="135" y="107"/>
                  </a:cubicBezTo>
                  <a:cubicBezTo>
                    <a:pt x="137" y="106"/>
                    <a:pt x="137" y="106"/>
                    <a:pt x="137" y="106"/>
                  </a:cubicBezTo>
                  <a:cubicBezTo>
                    <a:pt x="135" y="100"/>
                    <a:pt x="135" y="100"/>
                    <a:pt x="135" y="100"/>
                  </a:cubicBezTo>
                  <a:cubicBezTo>
                    <a:pt x="135" y="98"/>
                    <a:pt x="134" y="97"/>
                    <a:pt x="133" y="97"/>
                  </a:cubicBezTo>
                  <a:cubicBezTo>
                    <a:pt x="118" y="88"/>
                    <a:pt x="118" y="88"/>
                    <a:pt x="118" y="8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14" y="88"/>
                    <a:pt x="112" y="87"/>
                    <a:pt x="110" y="85"/>
                  </a:cubicBezTo>
                  <a:cubicBezTo>
                    <a:pt x="109" y="84"/>
                    <a:pt x="109" y="84"/>
                    <a:pt x="109" y="84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09" y="79"/>
                    <a:pt x="105" y="78"/>
                    <a:pt x="102" y="78"/>
                  </a:cubicBezTo>
                  <a:cubicBezTo>
                    <a:pt x="102" y="78"/>
                    <a:pt x="102" y="78"/>
                    <a:pt x="102" y="78"/>
                  </a:cubicBezTo>
                  <a:cubicBezTo>
                    <a:pt x="98" y="78"/>
                    <a:pt x="94" y="77"/>
                    <a:pt x="91" y="74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5" y="45"/>
                    <a:pt x="64" y="43"/>
                    <a:pt x="63" y="41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0" y="29"/>
                    <a:pt x="63" y="23"/>
                    <a:pt x="68" y="2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6" y="22"/>
                    <a:pt x="76" y="22"/>
                  </a:cubicBezTo>
                  <a:lnTo>
                    <a:pt x="76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2" name="Freeform 39">
              <a:extLst>
                <a:ext uri="{FF2B5EF4-FFF2-40B4-BE49-F238E27FC236}">
                  <a16:creationId xmlns:a16="http://schemas.microsoft.com/office/drawing/2014/main" id="{4FBE973A-4245-47CC-A8DF-44BE237A5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3489326"/>
              <a:ext cx="466725" cy="384175"/>
            </a:xfrm>
            <a:custGeom>
              <a:avLst/>
              <a:gdLst>
                <a:gd name="T0" fmla="*/ 147 w 156"/>
                <a:gd name="T1" fmla="*/ 99 h 129"/>
                <a:gd name="T2" fmla="*/ 143 w 156"/>
                <a:gd name="T3" fmla="*/ 96 h 129"/>
                <a:gd name="T4" fmla="*/ 143 w 156"/>
                <a:gd name="T5" fmla="*/ 73 h 129"/>
                <a:gd name="T6" fmla="*/ 140 w 156"/>
                <a:gd name="T7" fmla="*/ 70 h 129"/>
                <a:gd name="T8" fmla="*/ 139 w 156"/>
                <a:gd name="T9" fmla="*/ 70 h 129"/>
                <a:gd name="T10" fmla="*/ 136 w 156"/>
                <a:gd name="T11" fmla="*/ 65 h 129"/>
                <a:gd name="T12" fmla="*/ 155 w 156"/>
                <a:gd name="T13" fmla="*/ 35 h 129"/>
                <a:gd name="T14" fmla="*/ 156 w 156"/>
                <a:gd name="T15" fmla="*/ 33 h 129"/>
                <a:gd name="T16" fmla="*/ 156 w 156"/>
                <a:gd name="T17" fmla="*/ 30 h 129"/>
                <a:gd name="T18" fmla="*/ 152 w 156"/>
                <a:gd name="T19" fmla="*/ 27 h 129"/>
                <a:gd name="T20" fmla="*/ 143 w 156"/>
                <a:gd name="T21" fmla="*/ 27 h 129"/>
                <a:gd name="T22" fmla="*/ 140 w 156"/>
                <a:gd name="T23" fmla="*/ 26 h 129"/>
                <a:gd name="T24" fmla="*/ 136 w 156"/>
                <a:gd name="T25" fmla="*/ 22 h 129"/>
                <a:gd name="T26" fmla="*/ 134 w 156"/>
                <a:gd name="T27" fmla="*/ 21 h 129"/>
                <a:gd name="T28" fmla="*/ 120 w 156"/>
                <a:gd name="T29" fmla="*/ 21 h 129"/>
                <a:gd name="T30" fmla="*/ 118 w 156"/>
                <a:gd name="T31" fmla="*/ 20 h 129"/>
                <a:gd name="T32" fmla="*/ 92 w 156"/>
                <a:gd name="T33" fmla="*/ 0 h 129"/>
                <a:gd name="T34" fmla="*/ 83 w 156"/>
                <a:gd name="T35" fmla="*/ 4 h 129"/>
                <a:gd name="T36" fmla="*/ 82 w 156"/>
                <a:gd name="T37" fmla="*/ 13 h 129"/>
                <a:gd name="T38" fmla="*/ 61 w 156"/>
                <a:gd name="T39" fmla="*/ 25 h 129"/>
                <a:gd name="T40" fmla="*/ 57 w 156"/>
                <a:gd name="T41" fmla="*/ 26 h 129"/>
                <a:gd name="T42" fmla="*/ 44 w 156"/>
                <a:gd name="T43" fmla="*/ 21 h 129"/>
                <a:gd name="T44" fmla="*/ 39 w 156"/>
                <a:gd name="T45" fmla="*/ 22 h 129"/>
                <a:gd name="T46" fmla="*/ 42 w 156"/>
                <a:gd name="T47" fmla="*/ 28 h 129"/>
                <a:gd name="T48" fmla="*/ 40 w 156"/>
                <a:gd name="T49" fmla="*/ 34 h 129"/>
                <a:gd name="T50" fmla="*/ 35 w 156"/>
                <a:gd name="T51" fmla="*/ 36 h 129"/>
                <a:gd name="T52" fmla="*/ 33 w 156"/>
                <a:gd name="T53" fmla="*/ 37 h 129"/>
                <a:gd name="T54" fmla="*/ 33 w 156"/>
                <a:gd name="T55" fmla="*/ 37 h 129"/>
                <a:gd name="T56" fmla="*/ 26 w 156"/>
                <a:gd name="T57" fmla="*/ 38 h 129"/>
                <a:gd name="T58" fmla="*/ 26 w 156"/>
                <a:gd name="T59" fmla="*/ 37 h 129"/>
                <a:gd name="T60" fmla="*/ 23 w 156"/>
                <a:gd name="T61" fmla="*/ 36 h 129"/>
                <a:gd name="T62" fmla="*/ 6 w 156"/>
                <a:gd name="T63" fmla="*/ 36 h 129"/>
                <a:gd name="T64" fmla="*/ 3 w 156"/>
                <a:gd name="T65" fmla="*/ 37 h 129"/>
                <a:gd name="T66" fmla="*/ 1 w 156"/>
                <a:gd name="T67" fmla="*/ 39 h 129"/>
                <a:gd name="T68" fmla="*/ 1 w 156"/>
                <a:gd name="T69" fmla="*/ 44 h 129"/>
                <a:gd name="T70" fmla="*/ 3 w 156"/>
                <a:gd name="T71" fmla="*/ 48 h 129"/>
                <a:gd name="T72" fmla="*/ 6 w 156"/>
                <a:gd name="T73" fmla="*/ 50 h 129"/>
                <a:gd name="T74" fmla="*/ 22 w 156"/>
                <a:gd name="T75" fmla="*/ 50 h 129"/>
                <a:gd name="T76" fmla="*/ 25 w 156"/>
                <a:gd name="T77" fmla="*/ 51 h 129"/>
                <a:gd name="T78" fmla="*/ 41 w 156"/>
                <a:gd name="T79" fmla="*/ 71 h 129"/>
                <a:gd name="T80" fmla="*/ 41 w 156"/>
                <a:gd name="T81" fmla="*/ 71 h 129"/>
                <a:gd name="T82" fmla="*/ 47 w 156"/>
                <a:gd name="T83" fmla="*/ 80 h 129"/>
                <a:gd name="T84" fmla="*/ 45 w 156"/>
                <a:gd name="T85" fmla="*/ 86 h 129"/>
                <a:gd name="T86" fmla="*/ 42 w 156"/>
                <a:gd name="T87" fmla="*/ 90 h 129"/>
                <a:gd name="T88" fmla="*/ 42 w 156"/>
                <a:gd name="T89" fmla="*/ 110 h 129"/>
                <a:gd name="T90" fmla="*/ 39 w 156"/>
                <a:gd name="T91" fmla="*/ 114 h 129"/>
                <a:gd name="T92" fmla="*/ 64 w 156"/>
                <a:gd name="T93" fmla="*/ 123 h 129"/>
                <a:gd name="T94" fmla="*/ 71 w 156"/>
                <a:gd name="T95" fmla="*/ 122 h 129"/>
                <a:gd name="T96" fmla="*/ 78 w 156"/>
                <a:gd name="T97" fmla="*/ 120 h 129"/>
                <a:gd name="T98" fmla="*/ 99 w 156"/>
                <a:gd name="T99" fmla="*/ 129 h 129"/>
                <a:gd name="T100" fmla="*/ 100 w 156"/>
                <a:gd name="T101" fmla="*/ 128 h 129"/>
                <a:gd name="T102" fmla="*/ 99 w 156"/>
                <a:gd name="T103" fmla="*/ 124 h 129"/>
                <a:gd name="T104" fmla="*/ 103 w 156"/>
                <a:gd name="T105" fmla="*/ 115 h 129"/>
                <a:gd name="T106" fmla="*/ 104 w 156"/>
                <a:gd name="T107" fmla="*/ 114 h 129"/>
                <a:gd name="T108" fmla="*/ 109 w 156"/>
                <a:gd name="T109" fmla="*/ 113 h 129"/>
                <a:gd name="T110" fmla="*/ 128 w 156"/>
                <a:gd name="T111" fmla="*/ 117 h 129"/>
                <a:gd name="T112" fmla="*/ 128 w 156"/>
                <a:gd name="T113" fmla="*/ 117 h 129"/>
                <a:gd name="T114" fmla="*/ 133 w 156"/>
                <a:gd name="T115" fmla="*/ 118 h 129"/>
                <a:gd name="T116" fmla="*/ 139 w 156"/>
                <a:gd name="T117" fmla="*/ 116 h 129"/>
                <a:gd name="T118" fmla="*/ 145 w 156"/>
                <a:gd name="T119" fmla="*/ 110 h 129"/>
                <a:gd name="T120" fmla="*/ 150 w 156"/>
                <a:gd name="T121" fmla="*/ 109 h 129"/>
                <a:gd name="T122" fmla="*/ 150 w 156"/>
                <a:gd name="T123" fmla="*/ 102 h 129"/>
                <a:gd name="T124" fmla="*/ 147 w 156"/>
                <a:gd name="T125" fmla="*/ 9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6" h="129">
                  <a:moveTo>
                    <a:pt x="147" y="99"/>
                  </a:moveTo>
                  <a:cubicBezTo>
                    <a:pt x="145" y="99"/>
                    <a:pt x="143" y="98"/>
                    <a:pt x="143" y="96"/>
                  </a:cubicBezTo>
                  <a:cubicBezTo>
                    <a:pt x="143" y="73"/>
                    <a:pt x="143" y="73"/>
                    <a:pt x="143" y="73"/>
                  </a:cubicBezTo>
                  <a:cubicBezTo>
                    <a:pt x="143" y="72"/>
                    <a:pt x="142" y="70"/>
                    <a:pt x="140" y="7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6" y="70"/>
                    <a:pt x="135" y="67"/>
                    <a:pt x="136" y="65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5" y="34"/>
                    <a:pt x="156" y="34"/>
                    <a:pt x="156" y="33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28"/>
                    <a:pt x="154" y="27"/>
                    <a:pt x="152" y="27"/>
                  </a:cubicBezTo>
                  <a:cubicBezTo>
                    <a:pt x="143" y="27"/>
                    <a:pt x="143" y="27"/>
                    <a:pt x="143" y="27"/>
                  </a:cubicBezTo>
                  <a:cubicBezTo>
                    <a:pt x="142" y="27"/>
                    <a:pt x="141" y="27"/>
                    <a:pt x="140" y="26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5" y="21"/>
                    <a:pt x="135" y="21"/>
                    <a:pt x="134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19" y="21"/>
                    <a:pt x="118" y="21"/>
                    <a:pt x="118" y="2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0" y="26"/>
                    <a:pt x="58" y="26"/>
                    <a:pt x="57" y="26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3" y="31"/>
                    <a:pt x="42" y="34"/>
                    <a:pt x="40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4" y="36"/>
                    <a:pt x="34" y="36"/>
                    <a:pt x="33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1" y="40"/>
                    <a:pt x="28" y="40"/>
                    <a:pt x="26" y="38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5" y="36"/>
                    <a:pt x="24" y="36"/>
                    <a:pt x="23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5" y="36"/>
                    <a:pt x="4" y="36"/>
                    <a:pt x="3" y="37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41"/>
                    <a:pt x="0" y="43"/>
                    <a:pt x="1" y="44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4" y="49"/>
                    <a:pt x="5" y="50"/>
                    <a:pt x="6" y="50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3" y="50"/>
                    <a:pt x="24" y="50"/>
                    <a:pt x="25" y="5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8" y="82"/>
                    <a:pt x="47" y="85"/>
                    <a:pt x="45" y="86"/>
                  </a:cubicBezTo>
                  <a:cubicBezTo>
                    <a:pt x="43" y="86"/>
                    <a:pt x="42" y="88"/>
                    <a:pt x="42" y="90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2"/>
                    <a:pt x="40" y="113"/>
                    <a:pt x="39" y="114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6" y="124"/>
                    <a:pt x="69" y="124"/>
                    <a:pt x="71" y="122"/>
                  </a:cubicBezTo>
                  <a:cubicBezTo>
                    <a:pt x="72" y="120"/>
                    <a:pt x="75" y="119"/>
                    <a:pt x="78" y="120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0" y="126"/>
                    <a:pt x="100" y="125"/>
                    <a:pt x="99" y="124"/>
                  </a:cubicBezTo>
                  <a:cubicBezTo>
                    <a:pt x="98" y="120"/>
                    <a:pt x="100" y="116"/>
                    <a:pt x="103" y="115"/>
                  </a:cubicBezTo>
                  <a:cubicBezTo>
                    <a:pt x="104" y="114"/>
                    <a:pt x="104" y="114"/>
                    <a:pt x="104" y="114"/>
                  </a:cubicBezTo>
                  <a:cubicBezTo>
                    <a:pt x="106" y="113"/>
                    <a:pt x="107" y="113"/>
                    <a:pt x="109" y="113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35" y="118"/>
                    <a:pt x="137" y="117"/>
                    <a:pt x="139" y="116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50" y="109"/>
                    <a:pt x="150" y="109"/>
                    <a:pt x="150" y="109"/>
                  </a:cubicBezTo>
                  <a:cubicBezTo>
                    <a:pt x="150" y="102"/>
                    <a:pt x="150" y="102"/>
                    <a:pt x="150" y="102"/>
                  </a:cubicBezTo>
                  <a:cubicBezTo>
                    <a:pt x="150" y="100"/>
                    <a:pt x="148" y="99"/>
                    <a:pt x="147" y="99"/>
                  </a:cubicBezTo>
                  <a:close/>
                </a:path>
              </a:pathLst>
            </a:custGeom>
            <a:solidFill>
              <a:schemeClr val="tx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3" name="Freeform 40">
              <a:extLst>
                <a:ext uri="{FF2B5EF4-FFF2-40B4-BE49-F238E27FC236}">
                  <a16:creationId xmlns:a16="http://schemas.microsoft.com/office/drawing/2014/main" id="{E2758D54-7B56-411E-9DFD-FA1D0B75B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5775" y="3892551"/>
              <a:ext cx="117475" cy="193675"/>
            </a:xfrm>
            <a:custGeom>
              <a:avLst/>
              <a:gdLst>
                <a:gd name="T0" fmla="*/ 27 w 39"/>
                <a:gd name="T1" fmla="*/ 44 h 65"/>
                <a:gd name="T2" fmla="*/ 25 w 39"/>
                <a:gd name="T3" fmla="*/ 41 h 65"/>
                <a:gd name="T4" fmla="*/ 27 w 39"/>
                <a:gd name="T5" fmla="*/ 39 h 65"/>
                <a:gd name="T6" fmla="*/ 28 w 39"/>
                <a:gd name="T7" fmla="*/ 36 h 65"/>
                <a:gd name="T8" fmla="*/ 31 w 39"/>
                <a:gd name="T9" fmla="*/ 17 h 65"/>
                <a:gd name="T10" fmla="*/ 34 w 39"/>
                <a:gd name="T11" fmla="*/ 12 h 65"/>
                <a:gd name="T12" fmla="*/ 35 w 39"/>
                <a:gd name="T13" fmla="*/ 12 h 65"/>
                <a:gd name="T14" fmla="*/ 37 w 39"/>
                <a:gd name="T15" fmla="*/ 10 h 65"/>
                <a:gd name="T16" fmla="*/ 38 w 39"/>
                <a:gd name="T17" fmla="*/ 9 h 65"/>
                <a:gd name="T18" fmla="*/ 37 w 39"/>
                <a:gd name="T19" fmla="*/ 2 h 65"/>
                <a:gd name="T20" fmla="*/ 32 w 39"/>
                <a:gd name="T21" fmla="*/ 0 h 65"/>
                <a:gd name="T22" fmla="*/ 16 w 39"/>
                <a:gd name="T23" fmla="*/ 3 h 65"/>
                <a:gd name="T24" fmla="*/ 9 w 39"/>
                <a:gd name="T25" fmla="*/ 1 h 65"/>
                <a:gd name="T26" fmla="*/ 9 w 39"/>
                <a:gd name="T27" fmla="*/ 2 h 65"/>
                <a:gd name="T28" fmla="*/ 9 w 39"/>
                <a:gd name="T29" fmla="*/ 22 h 65"/>
                <a:gd name="T30" fmla="*/ 8 w 39"/>
                <a:gd name="T31" fmla="*/ 24 h 65"/>
                <a:gd name="T32" fmla="*/ 4 w 39"/>
                <a:gd name="T33" fmla="*/ 32 h 65"/>
                <a:gd name="T34" fmla="*/ 4 w 39"/>
                <a:gd name="T35" fmla="*/ 32 h 65"/>
                <a:gd name="T36" fmla="*/ 1 w 39"/>
                <a:gd name="T37" fmla="*/ 37 h 65"/>
                <a:gd name="T38" fmla="*/ 2 w 39"/>
                <a:gd name="T39" fmla="*/ 43 h 65"/>
                <a:gd name="T40" fmla="*/ 4 w 39"/>
                <a:gd name="T41" fmla="*/ 46 h 65"/>
                <a:gd name="T42" fmla="*/ 5 w 39"/>
                <a:gd name="T43" fmla="*/ 49 h 65"/>
                <a:gd name="T44" fmla="*/ 6 w 39"/>
                <a:gd name="T45" fmla="*/ 60 h 65"/>
                <a:gd name="T46" fmla="*/ 11 w 39"/>
                <a:gd name="T47" fmla="*/ 65 h 65"/>
                <a:gd name="T48" fmla="*/ 14 w 39"/>
                <a:gd name="T49" fmla="*/ 65 h 65"/>
                <a:gd name="T50" fmla="*/ 15 w 39"/>
                <a:gd name="T51" fmla="*/ 65 h 65"/>
                <a:gd name="T52" fmla="*/ 26 w 39"/>
                <a:gd name="T53" fmla="*/ 65 h 65"/>
                <a:gd name="T54" fmla="*/ 26 w 39"/>
                <a:gd name="T55" fmla="*/ 65 h 65"/>
                <a:gd name="T56" fmla="*/ 28 w 39"/>
                <a:gd name="T57" fmla="*/ 47 h 65"/>
                <a:gd name="T58" fmla="*/ 27 w 39"/>
                <a:gd name="T59" fmla="*/ 4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9" h="65">
                  <a:moveTo>
                    <a:pt x="27" y="44"/>
                  </a:moveTo>
                  <a:cubicBezTo>
                    <a:pt x="25" y="41"/>
                    <a:pt x="25" y="41"/>
                    <a:pt x="25" y="41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8" y="38"/>
                    <a:pt x="28" y="37"/>
                    <a:pt x="28" y="36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5"/>
                    <a:pt x="32" y="13"/>
                    <a:pt x="34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6" y="12"/>
                    <a:pt x="36" y="11"/>
                    <a:pt x="37" y="10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9" y="7"/>
                    <a:pt x="39" y="4"/>
                    <a:pt x="37" y="2"/>
                  </a:cubicBezTo>
                  <a:cubicBezTo>
                    <a:pt x="36" y="1"/>
                    <a:pt x="34" y="0"/>
                    <a:pt x="32" y="0"/>
                  </a:cubicBezTo>
                  <a:cubicBezTo>
                    <a:pt x="26" y="1"/>
                    <a:pt x="17" y="3"/>
                    <a:pt x="16" y="3"/>
                  </a:cubicBezTo>
                  <a:cubicBezTo>
                    <a:pt x="15" y="3"/>
                    <a:pt x="12" y="2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3"/>
                    <a:pt x="8" y="24"/>
                    <a:pt x="8" y="24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0" y="38"/>
                    <a:pt x="0" y="41"/>
                    <a:pt x="2" y="43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8"/>
                    <a:pt x="5" y="49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2"/>
                    <a:pt x="8" y="64"/>
                    <a:pt x="11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5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5"/>
                    <a:pt x="27" y="4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4" name="Freeform 41">
              <a:extLst>
                <a:ext uri="{FF2B5EF4-FFF2-40B4-BE49-F238E27FC236}">
                  <a16:creationId xmlns:a16="http://schemas.microsoft.com/office/drawing/2014/main" id="{A3FC87D7-E5A0-44CB-AD01-2C981D0431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1263" y="3267076"/>
              <a:ext cx="41275" cy="47625"/>
            </a:xfrm>
            <a:custGeom>
              <a:avLst/>
              <a:gdLst>
                <a:gd name="T0" fmla="*/ 2 w 14"/>
                <a:gd name="T1" fmla="*/ 10 h 16"/>
                <a:gd name="T2" fmla="*/ 6 w 14"/>
                <a:gd name="T3" fmla="*/ 14 h 16"/>
                <a:gd name="T4" fmla="*/ 11 w 14"/>
                <a:gd name="T5" fmla="*/ 15 h 16"/>
                <a:gd name="T6" fmla="*/ 11 w 14"/>
                <a:gd name="T7" fmla="*/ 6 h 16"/>
                <a:gd name="T8" fmla="*/ 14 w 14"/>
                <a:gd name="T9" fmla="*/ 5 h 16"/>
                <a:gd name="T10" fmla="*/ 14 w 14"/>
                <a:gd name="T11" fmla="*/ 0 h 16"/>
                <a:gd name="T12" fmla="*/ 11 w 14"/>
                <a:gd name="T13" fmla="*/ 1 h 16"/>
                <a:gd name="T14" fmla="*/ 8 w 14"/>
                <a:gd name="T15" fmla="*/ 2 h 16"/>
                <a:gd name="T16" fmla="*/ 4 w 14"/>
                <a:gd name="T17" fmla="*/ 0 h 16"/>
                <a:gd name="T18" fmla="*/ 0 w 14"/>
                <a:gd name="T19" fmla="*/ 2 h 16"/>
                <a:gd name="T20" fmla="*/ 1 w 14"/>
                <a:gd name="T21" fmla="*/ 6 h 16"/>
                <a:gd name="T22" fmla="*/ 2 w 14"/>
                <a:gd name="T23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6">
                  <a:moveTo>
                    <a:pt x="2" y="10"/>
                  </a:moveTo>
                  <a:cubicBezTo>
                    <a:pt x="3" y="11"/>
                    <a:pt x="5" y="14"/>
                    <a:pt x="6" y="14"/>
                  </a:cubicBezTo>
                  <a:cubicBezTo>
                    <a:pt x="6" y="15"/>
                    <a:pt x="10" y="16"/>
                    <a:pt x="11" y="15"/>
                  </a:cubicBezTo>
                  <a:cubicBezTo>
                    <a:pt x="12" y="13"/>
                    <a:pt x="11" y="6"/>
                    <a:pt x="11" y="6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9"/>
                    <a:pt x="2" y="1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5" name="Freeform 42">
              <a:extLst>
                <a:ext uri="{FF2B5EF4-FFF2-40B4-BE49-F238E27FC236}">
                  <a16:creationId xmlns:a16="http://schemas.microsoft.com/office/drawing/2014/main" id="{DCEC3A89-65E0-46FD-A55C-782091272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5" y="3279776"/>
              <a:ext cx="26988" cy="26988"/>
            </a:xfrm>
            <a:custGeom>
              <a:avLst/>
              <a:gdLst>
                <a:gd name="T0" fmla="*/ 6 w 9"/>
                <a:gd name="T1" fmla="*/ 9 h 9"/>
                <a:gd name="T2" fmla="*/ 9 w 9"/>
                <a:gd name="T3" fmla="*/ 4 h 9"/>
                <a:gd name="T4" fmla="*/ 5 w 9"/>
                <a:gd name="T5" fmla="*/ 0 h 9"/>
                <a:gd name="T6" fmla="*/ 1 w 9"/>
                <a:gd name="T7" fmla="*/ 2 h 9"/>
                <a:gd name="T8" fmla="*/ 1 w 9"/>
                <a:gd name="T9" fmla="*/ 2 h 9"/>
                <a:gd name="T10" fmla="*/ 1 w 9"/>
                <a:gd name="T11" fmla="*/ 6 h 9"/>
                <a:gd name="T12" fmla="*/ 1 w 9"/>
                <a:gd name="T13" fmla="*/ 7 h 9"/>
                <a:gd name="T14" fmla="*/ 4 w 9"/>
                <a:gd name="T15" fmla="*/ 9 h 9"/>
                <a:gd name="T16" fmla="*/ 6 w 9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6" y="9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8" y="2"/>
                    <a:pt x="7" y="1"/>
                    <a:pt x="5" y="0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5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8"/>
                    <a:pt x="3" y="9"/>
                    <a:pt x="4" y="9"/>
                  </a:cubicBezTo>
                  <a:lnTo>
                    <a:pt x="6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6" name="Freeform 43">
              <a:extLst>
                <a:ext uri="{FF2B5EF4-FFF2-40B4-BE49-F238E27FC236}">
                  <a16:creationId xmlns:a16="http://schemas.microsoft.com/office/drawing/2014/main" id="{8BAC92EE-CEDE-422F-9C3D-9FF5622C18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1188" y="3108326"/>
              <a:ext cx="269875" cy="431800"/>
            </a:xfrm>
            <a:custGeom>
              <a:avLst/>
              <a:gdLst>
                <a:gd name="T0" fmla="*/ 84 w 90"/>
                <a:gd name="T1" fmla="*/ 98 h 144"/>
                <a:gd name="T2" fmla="*/ 78 w 90"/>
                <a:gd name="T3" fmla="*/ 99 h 144"/>
                <a:gd name="T4" fmla="*/ 72 w 90"/>
                <a:gd name="T5" fmla="*/ 95 h 144"/>
                <a:gd name="T6" fmla="*/ 67 w 90"/>
                <a:gd name="T7" fmla="*/ 80 h 144"/>
                <a:gd name="T8" fmla="*/ 53 w 90"/>
                <a:gd name="T9" fmla="*/ 66 h 144"/>
                <a:gd name="T10" fmla="*/ 50 w 90"/>
                <a:gd name="T11" fmla="*/ 55 h 144"/>
                <a:gd name="T12" fmla="*/ 41 w 90"/>
                <a:gd name="T13" fmla="*/ 50 h 144"/>
                <a:gd name="T14" fmla="*/ 28 w 90"/>
                <a:gd name="T15" fmla="*/ 50 h 144"/>
                <a:gd name="T16" fmla="*/ 31 w 90"/>
                <a:gd name="T17" fmla="*/ 42 h 144"/>
                <a:gd name="T18" fmla="*/ 43 w 90"/>
                <a:gd name="T19" fmla="*/ 29 h 144"/>
                <a:gd name="T20" fmla="*/ 28 w 90"/>
                <a:gd name="T21" fmla="*/ 20 h 144"/>
                <a:gd name="T22" fmla="*/ 30 w 90"/>
                <a:gd name="T23" fmla="*/ 6 h 144"/>
                <a:gd name="T24" fmla="*/ 15 w 90"/>
                <a:gd name="T25" fmla="*/ 0 h 144"/>
                <a:gd name="T26" fmla="*/ 9 w 90"/>
                <a:gd name="T27" fmla="*/ 12 h 144"/>
                <a:gd name="T28" fmla="*/ 4 w 90"/>
                <a:gd name="T29" fmla="*/ 15 h 144"/>
                <a:gd name="T30" fmla="*/ 0 w 90"/>
                <a:gd name="T31" fmla="*/ 27 h 144"/>
                <a:gd name="T32" fmla="*/ 5 w 90"/>
                <a:gd name="T33" fmla="*/ 34 h 144"/>
                <a:gd name="T34" fmla="*/ 5 w 90"/>
                <a:gd name="T35" fmla="*/ 38 h 144"/>
                <a:gd name="T36" fmla="*/ 6 w 90"/>
                <a:gd name="T37" fmla="*/ 47 h 144"/>
                <a:gd name="T38" fmla="*/ 12 w 90"/>
                <a:gd name="T39" fmla="*/ 49 h 144"/>
                <a:gd name="T40" fmla="*/ 13 w 90"/>
                <a:gd name="T41" fmla="*/ 58 h 144"/>
                <a:gd name="T42" fmla="*/ 12 w 90"/>
                <a:gd name="T43" fmla="*/ 64 h 144"/>
                <a:gd name="T44" fmla="*/ 18 w 90"/>
                <a:gd name="T45" fmla="*/ 68 h 144"/>
                <a:gd name="T46" fmla="*/ 25 w 90"/>
                <a:gd name="T47" fmla="*/ 67 h 144"/>
                <a:gd name="T48" fmla="*/ 32 w 90"/>
                <a:gd name="T49" fmla="*/ 66 h 144"/>
                <a:gd name="T50" fmla="*/ 31 w 90"/>
                <a:gd name="T51" fmla="*/ 72 h 144"/>
                <a:gd name="T52" fmla="*/ 36 w 90"/>
                <a:gd name="T53" fmla="*/ 80 h 144"/>
                <a:gd name="T54" fmla="*/ 34 w 90"/>
                <a:gd name="T55" fmla="*/ 85 h 144"/>
                <a:gd name="T56" fmla="*/ 30 w 90"/>
                <a:gd name="T57" fmla="*/ 90 h 144"/>
                <a:gd name="T58" fmla="*/ 18 w 90"/>
                <a:gd name="T59" fmla="*/ 93 h 144"/>
                <a:gd name="T60" fmla="*/ 21 w 90"/>
                <a:gd name="T61" fmla="*/ 96 h 144"/>
                <a:gd name="T62" fmla="*/ 23 w 90"/>
                <a:gd name="T63" fmla="*/ 102 h 144"/>
                <a:gd name="T64" fmla="*/ 13 w 90"/>
                <a:gd name="T65" fmla="*/ 108 h 144"/>
                <a:gd name="T66" fmla="*/ 13 w 90"/>
                <a:gd name="T67" fmla="*/ 117 h 144"/>
                <a:gd name="T68" fmla="*/ 21 w 90"/>
                <a:gd name="T69" fmla="*/ 116 h 144"/>
                <a:gd name="T70" fmla="*/ 25 w 90"/>
                <a:gd name="T71" fmla="*/ 118 h 144"/>
                <a:gd name="T72" fmla="*/ 38 w 90"/>
                <a:gd name="T73" fmla="*/ 118 h 144"/>
                <a:gd name="T74" fmla="*/ 44 w 90"/>
                <a:gd name="T75" fmla="*/ 116 h 144"/>
                <a:gd name="T76" fmla="*/ 38 w 90"/>
                <a:gd name="T77" fmla="*/ 121 h 144"/>
                <a:gd name="T78" fmla="*/ 26 w 90"/>
                <a:gd name="T79" fmla="*/ 123 h 144"/>
                <a:gd name="T80" fmla="*/ 6 w 90"/>
                <a:gd name="T81" fmla="*/ 139 h 144"/>
                <a:gd name="T82" fmla="*/ 16 w 90"/>
                <a:gd name="T83" fmla="*/ 138 h 144"/>
                <a:gd name="T84" fmla="*/ 23 w 90"/>
                <a:gd name="T85" fmla="*/ 138 h 144"/>
                <a:gd name="T86" fmla="*/ 28 w 90"/>
                <a:gd name="T87" fmla="*/ 132 h 144"/>
                <a:gd name="T88" fmla="*/ 73 w 90"/>
                <a:gd name="T89" fmla="*/ 131 h 144"/>
                <a:gd name="T90" fmla="*/ 82 w 90"/>
                <a:gd name="T91" fmla="*/ 123 h 144"/>
                <a:gd name="T92" fmla="*/ 86 w 90"/>
                <a:gd name="T93" fmla="*/ 113 h 144"/>
                <a:gd name="T94" fmla="*/ 90 w 90"/>
                <a:gd name="T95" fmla="*/ 104 h 144"/>
                <a:gd name="T96" fmla="*/ 87 w 90"/>
                <a:gd name="T97" fmla="*/ 9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0" h="144">
                  <a:moveTo>
                    <a:pt x="87" y="99"/>
                  </a:moveTo>
                  <a:cubicBezTo>
                    <a:pt x="87" y="98"/>
                    <a:pt x="86" y="97"/>
                    <a:pt x="84" y="98"/>
                  </a:cubicBezTo>
                  <a:cubicBezTo>
                    <a:pt x="79" y="99"/>
                    <a:pt x="79" y="99"/>
                    <a:pt x="79" y="99"/>
                  </a:cubicBezTo>
                  <a:cubicBezTo>
                    <a:pt x="79" y="99"/>
                    <a:pt x="79" y="99"/>
                    <a:pt x="78" y="99"/>
                  </a:cubicBezTo>
                  <a:cubicBezTo>
                    <a:pt x="74" y="98"/>
                    <a:pt x="74" y="98"/>
                    <a:pt x="74" y="98"/>
                  </a:cubicBezTo>
                  <a:cubicBezTo>
                    <a:pt x="73" y="97"/>
                    <a:pt x="72" y="96"/>
                    <a:pt x="72" y="95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7" y="81"/>
                    <a:pt x="67" y="80"/>
                    <a:pt x="67" y="80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4" y="68"/>
                    <a:pt x="53" y="67"/>
                    <a:pt x="53" y="66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6"/>
                    <a:pt x="50" y="55"/>
                    <a:pt x="50" y="55"/>
                  </a:cubicBezTo>
                  <a:cubicBezTo>
                    <a:pt x="43" y="51"/>
                    <a:pt x="43" y="51"/>
                    <a:pt x="43" y="51"/>
                  </a:cubicBezTo>
                  <a:cubicBezTo>
                    <a:pt x="42" y="50"/>
                    <a:pt x="41" y="50"/>
                    <a:pt x="41" y="50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3"/>
                    <a:pt x="30" y="42"/>
                    <a:pt x="31" y="42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0"/>
                    <a:pt x="43" y="30"/>
                    <a:pt x="43" y="29"/>
                  </a:cubicBezTo>
                  <a:cubicBezTo>
                    <a:pt x="44" y="25"/>
                    <a:pt x="40" y="20"/>
                    <a:pt x="36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6" y="20"/>
                    <a:pt x="24" y="17"/>
                    <a:pt x="25" y="15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1" y="4"/>
                    <a:pt x="30" y="1"/>
                    <a:pt x="27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0"/>
                    <a:pt x="11" y="1"/>
                    <a:pt x="11" y="3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4"/>
                    <a:pt x="7" y="15"/>
                    <a:pt x="6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2" y="15"/>
                    <a:pt x="1" y="16"/>
                    <a:pt x="1" y="1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0" y="29"/>
                    <a:pt x="1" y="30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6" y="35"/>
                    <a:pt x="6" y="37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1" y="40"/>
                    <a:pt x="1" y="44"/>
                    <a:pt x="3" y="47"/>
                  </a:cubicBezTo>
                  <a:cubicBezTo>
                    <a:pt x="4" y="48"/>
                    <a:pt x="5" y="48"/>
                    <a:pt x="6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0" y="46"/>
                    <a:pt x="12" y="47"/>
                    <a:pt x="12" y="49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6"/>
                    <a:pt x="14" y="57"/>
                    <a:pt x="13" y="58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1" y="60"/>
                    <a:pt x="11" y="62"/>
                    <a:pt x="12" y="64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8"/>
                    <a:pt x="17" y="68"/>
                    <a:pt x="18" y="68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3" y="69"/>
                    <a:pt x="24" y="68"/>
                    <a:pt x="25" y="67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9" y="69"/>
                    <a:pt x="29" y="71"/>
                    <a:pt x="31" y="72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8"/>
                    <a:pt x="36" y="80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4"/>
                    <a:pt x="34" y="84"/>
                    <a:pt x="34" y="85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8"/>
                    <a:pt x="32" y="90"/>
                    <a:pt x="30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19" y="90"/>
                    <a:pt x="18" y="91"/>
                    <a:pt x="18" y="93"/>
                  </a:cubicBezTo>
                  <a:cubicBezTo>
                    <a:pt x="18" y="95"/>
                    <a:pt x="19" y="96"/>
                    <a:pt x="20" y="96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23" y="97"/>
                    <a:pt x="25" y="99"/>
                    <a:pt x="24" y="101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103"/>
                    <a:pt x="23" y="103"/>
                    <a:pt x="22" y="104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9" y="109"/>
                    <a:pt x="8" y="114"/>
                    <a:pt x="11" y="117"/>
                  </a:cubicBezTo>
                  <a:cubicBezTo>
                    <a:pt x="11" y="117"/>
                    <a:pt x="12" y="117"/>
                    <a:pt x="13" y="117"/>
                  </a:cubicBezTo>
                  <a:cubicBezTo>
                    <a:pt x="18" y="115"/>
                    <a:pt x="18" y="115"/>
                    <a:pt x="18" y="115"/>
                  </a:cubicBezTo>
                  <a:cubicBezTo>
                    <a:pt x="19" y="115"/>
                    <a:pt x="21" y="115"/>
                    <a:pt x="21" y="116"/>
                  </a:cubicBezTo>
                  <a:cubicBezTo>
                    <a:pt x="23" y="117"/>
                    <a:pt x="23" y="117"/>
                    <a:pt x="23" y="117"/>
                  </a:cubicBezTo>
                  <a:cubicBezTo>
                    <a:pt x="24" y="118"/>
                    <a:pt x="25" y="118"/>
                    <a:pt x="25" y="118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6" y="119"/>
                    <a:pt x="37" y="118"/>
                    <a:pt x="38" y="118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6"/>
                    <a:pt x="44" y="116"/>
                    <a:pt x="44" y="116"/>
                  </a:cubicBezTo>
                  <a:cubicBezTo>
                    <a:pt x="44" y="117"/>
                    <a:pt x="43" y="118"/>
                    <a:pt x="42" y="119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2"/>
                    <a:pt x="37" y="122"/>
                    <a:pt x="37" y="122"/>
                  </a:cubicBezTo>
                  <a:cubicBezTo>
                    <a:pt x="26" y="123"/>
                    <a:pt x="26" y="123"/>
                    <a:pt x="26" y="123"/>
                  </a:cubicBezTo>
                  <a:cubicBezTo>
                    <a:pt x="25" y="123"/>
                    <a:pt x="25" y="123"/>
                    <a:pt x="24" y="123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7" y="143"/>
                    <a:pt x="12" y="144"/>
                    <a:pt x="14" y="140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7" y="138"/>
                    <a:pt x="17" y="138"/>
                    <a:pt x="18" y="138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5" y="139"/>
                    <a:pt x="27" y="137"/>
                    <a:pt x="27" y="135"/>
                  </a:cubicBezTo>
                  <a:cubicBezTo>
                    <a:pt x="27" y="133"/>
                    <a:pt x="27" y="132"/>
                    <a:pt x="28" y="132"/>
                  </a:cubicBezTo>
                  <a:cubicBezTo>
                    <a:pt x="30" y="132"/>
                    <a:pt x="67" y="131"/>
                    <a:pt x="72" y="131"/>
                  </a:cubicBezTo>
                  <a:cubicBezTo>
                    <a:pt x="72" y="131"/>
                    <a:pt x="73" y="131"/>
                    <a:pt x="73" y="131"/>
                  </a:cubicBezTo>
                  <a:cubicBezTo>
                    <a:pt x="75" y="130"/>
                    <a:pt x="81" y="128"/>
                    <a:pt x="82" y="127"/>
                  </a:cubicBezTo>
                  <a:cubicBezTo>
                    <a:pt x="83" y="127"/>
                    <a:pt x="82" y="123"/>
                    <a:pt x="82" y="123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86" y="113"/>
                    <a:pt x="86" y="113"/>
                    <a:pt x="86" y="113"/>
                  </a:cubicBezTo>
                  <a:cubicBezTo>
                    <a:pt x="86" y="113"/>
                    <a:pt x="87" y="112"/>
                    <a:pt x="87" y="111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0" y="103"/>
                    <a:pt x="90" y="101"/>
                    <a:pt x="89" y="100"/>
                  </a:cubicBezTo>
                  <a:lnTo>
                    <a:pt x="87" y="99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7" name="Freeform 44">
              <a:extLst>
                <a:ext uri="{FF2B5EF4-FFF2-40B4-BE49-F238E27FC236}">
                  <a16:creationId xmlns:a16="http://schemas.microsoft.com/office/drawing/2014/main" id="{38AE9686-0591-45B7-B8E8-7EB9F9872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138" y="3324226"/>
              <a:ext cx="144463" cy="141288"/>
            </a:xfrm>
            <a:custGeom>
              <a:avLst/>
              <a:gdLst>
                <a:gd name="T0" fmla="*/ 39 w 48"/>
                <a:gd name="T1" fmla="*/ 3 h 47"/>
                <a:gd name="T2" fmla="*/ 34 w 48"/>
                <a:gd name="T3" fmla="*/ 2 h 47"/>
                <a:gd name="T4" fmla="*/ 34 w 48"/>
                <a:gd name="T5" fmla="*/ 2 h 47"/>
                <a:gd name="T6" fmla="*/ 27 w 48"/>
                <a:gd name="T7" fmla="*/ 1 h 47"/>
                <a:gd name="T8" fmla="*/ 27 w 48"/>
                <a:gd name="T9" fmla="*/ 0 h 47"/>
                <a:gd name="T10" fmla="*/ 25 w 48"/>
                <a:gd name="T11" fmla="*/ 2 h 47"/>
                <a:gd name="T12" fmla="*/ 14 w 48"/>
                <a:gd name="T13" fmla="*/ 5 h 47"/>
                <a:gd name="T14" fmla="*/ 10 w 48"/>
                <a:gd name="T15" fmla="*/ 4 h 47"/>
                <a:gd name="T16" fmla="*/ 4 w 48"/>
                <a:gd name="T17" fmla="*/ 6 h 47"/>
                <a:gd name="T18" fmla="*/ 1 w 48"/>
                <a:gd name="T19" fmla="*/ 11 h 47"/>
                <a:gd name="T20" fmla="*/ 1 w 48"/>
                <a:gd name="T21" fmla="*/ 15 h 47"/>
                <a:gd name="T22" fmla="*/ 2 w 48"/>
                <a:gd name="T23" fmla="*/ 16 h 47"/>
                <a:gd name="T24" fmla="*/ 7 w 48"/>
                <a:gd name="T25" fmla="*/ 17 h 47"/>
                <a:gd name="T26" fmla="*/ 10 w 48"/>
                <a:gd name="T27" fmla="*/ 16 h 47"/>
                <a:gd name="T28" fmla="*/ 12 w 48"/>
                <a:gd name="T29" fmla="*/ 22 h 47"/>
                <a:gd name="T30" fmla="*/ 9 w 48"/>
                <a:gd name="T31" fmla="*/ 23 h 47"/>
                <a:gd name="T32" fmla="*/ 7 w 48"/>
                <a:gd name="T33" fmla="*/ 25 h 47"/>
                <a:gd name="T34" fmla="*/ 1 w 48"/>
                <a:gd name="T35" fmla="*/ 35 h 47"/>
                <a:gd name="T36" fmla="*/ 1 w 48"/>
                <a:gd name="T37" fmla="*/ 39 h 47"/>
                <a:gd name="T38" fmla="*/ 5 w 48"/>
                <a:gd name="T39" fmla="*/ 44 h 47"/>
                <a:gd name="T40" fmla="*/ 8 w 48"/>
                <a:gd name="T41" fmla="*/ 46 h 47"/>
                <a:gd name="T42" fmla="*/ 12 w 48"/>
                <a:gd name="T43" fmla="*/ 47 h 47"/>
                <a:gd name="T44" fmla="*/ 15 w 48"/>
                <a:gd name="T45" fmla="*/ 46 h 47"/>
                <a:gd name="T46" fmla="*/ 26 w 48"/>
                <a:gd name="T47" fmla="*/ 39 h 47"/>
                <a:gd name="T48" fmla="*/ 27 w 48"/>
                <a:gd name="T49" fmla="*/ 39 h 47"/>
                <a:gd name="T50" fmla="*/ 43 w 48"/>
                <a:gd name="T51" fmla="*/ 35 h 47"/>
                <a:gd name="T52" fmla="*/ 47 w 48"/>
                <a:gd name="T53" fmla="*/ 31 h 47"/>
                <a:gd name="T54" fmla="*/ 48 w 48"/>
                <a:gd name="T55" fmla="*/ 19 h 47"/>
                <a:gd name="T56" fmla="*/ 47 w 48"/>
                <a:gd name="T57" fmla="*/ 16 h 47"/>
                <a:gd name="T58" fmla="*/ 44 w 48"/>
                <a:gd name="T59" fmla="*/ 13 h 47"/>
                <a:gd name="T60" fmla="*/ 44 w 48"/>
                <a:gd name="T61" fmla="*/ 8 h 47"/>
                <a:gd name="T62" fmla="*/ 39 w 48"/>
                <a:gd name="T63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7">
                  <a:moveTo>
                    <a:pt x="39" y="3"/>
                  </a:moveTo>
                  <a:cubicBezTo>
                    <a:pt x="38" y="2"/>
                    <a:pt x="36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1" y="3"/>
                    <a:pt x="29" y="2"/>
                    <a:pt x="27" y="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6" y="1"/>
                    <a:pt x="26" y="1"/>
                    <a:pt x="25" y="2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2" y="5"/>
                    <a:pt x="11" y="5"/>
                    <a:pt x="10" y="4"/>
                  </a:cubicBezTo>
                  <a:cubicBezTo>
                    <a:pt x="8" y="3"/>
                    <a:pt x="5" y="3"/>
                    <a:pt x="4" y="6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2"/>
                    <a:pt x="0" y="14"/>
                    <a:pt x="1" y="1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8"/>
                    <a:pt x="5" y="18"/>
                    <a:pt x="7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4"/>
                    <a:pt x="7" y="24"/>
                    <a:pt x="7" y="2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6"/>
                    <a:pt x="1" y="38"/>
                    <a:pt x="1" y="39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5"/>
                    <a:pt x="6" y="46"/>
                    <a:pt x="8" y="46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3" y="47"/>
                    <a:pt x="14" y="47"/>
                    <a:pt x="15" y="46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5" y="35"/>
                    <a:pt x="47" y="33"/>
                    <a:pt x="47" y="31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8" y="18"/>
                    <a:pt x="48" y="17"/>
                    <a:pt x="47" y="16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3" y="11"/>
                    <a:pt x="43" y="10"/>
                    <a:pt x="44" y="8"/>
                  </a:cubicBezTo>
                  <a:lnTo>
                    <a:pt x="39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8" name="Freeform 45">
              <a:extLst>
                <a:ext uri="{FF2B5EF4-FFF2-40B4-BE49-F238E27FC236}">
                  <a16:creationId xmlns:a16="http://schemas.microsoft.com/office/drawing/2014/main" id="{A62B727D-B423-42CE-BD4A-6557C633D2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6100" y="3287713"/>
              <a:ext cx="77788" cy="60325"/>
            </a:xfrm>
            <a:custGeom>
              <a:avLst/>
              <a:gdLst>
                <a:gd name="T0" fmla="*/ 7 w 26"/>
                <a:gd name="T1" fmla="*/ 14 h 20"/>
                <a:gd name="T2" fmla="*/ 7 w 26"/>
                <a:gd name="T3" fmla="*/ 14 h 20"/>
                <a:gd name="T4" fmla="*/ 12 w 26"/>
                <a:gd name="T5" fmla="*/ 15 h 20"/>
                <a:gd name="T6" fmla="*/ 17 w 26"/>
                <a:gd name="T7" fmla="*/ 20 h 20"/>
                <a:gd name="T8" fmla="*/ 20 w 26"/>
                <a:gd name="T9" fmla="*/ 18 h 20"/>
                <a:gd name="T10" fmla="*/ 21 w 26"/>
                <a:gd name="T11" fmla="*/ 18 h 20"/>
                <a:gd name="T12" fmla="*/ 25 w 26"/>
                <a:gd name="T13" fmla="*/ 15 h 20"/>
                <a:gd name="T14" fmla="*/ 26 w 26"/>
                <a:gd name="T15" fmla="*/ 12 h 20"/>
                <a:gd name="T16" fmla="*/ 25 w 26"/>
                <a:gd name="T17" fmla="*/ 8 h 20"/>
                <a:gd name="T18" fmla="*/ 19 w 26"/>
                <a:gd name="T19" fmla="*/ 2 h 20"/>
                <a:gd name="T20" fmla="*/ 16 w 26"/>
                <a:gd name="T21" fmla="*/ 1 h 20"/>
                <a:gd name="T22" fmla="*/ 10 w 26"/>
                <a:gd name="T23" fmla="*/ 0 h 20"/>
                <a:gd name="T24" fmla="*/ 6 w 26"/>
                <a:gd name="T25" fmla="*/ 2 h 20"/>
                <a:gd name="T26" fmla="*/ 0 w 26"/>
                <a:gd name="T27" fmla="*/ 12 h 20"/>
                <a:gd name="T28" fmla="*/ 0 w 26"/>
                <a:gd name="T29" fmla="*/ 12 h 20"/>
                <a:gd name="T30" fmla="*/ 0 w 26"/>
                <a:gd name="T31" fmla="*/ 13 h 20"/>
                <a:gd name="T32" fmla="*/ 7 w 26"/>
                <a:gd name="T33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20">
                  <a:moveTo>
                    <a:pt x="7" y="14"/>
                  </a:moveTo>
                  <a:cubicBezTo>
                    <a:pt x="7" y="14"/>
                    <a:pt x="7" y="14"/>
                    <a:pt x="7" y="14"/>
                  </a:cubicBezTo>
                  <a:cubicBezTo>
                    <a:pt x="9" y="14"/>
                    <a:pt x="11" y="14"/>
                    <a:pt x="12" y="15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19"/>
                    <a:pt x="18" y="18"/>
                    <a:pt x="20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3" y="18"/>
                    <a:pt x="24" y="17"/>
                    <a:pt x="25" y="15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1"/>
                    <a:pt x="26" y="9"/>
                    <a:pt x="25" y="8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7" y="1"/>
                    <a:pt x="16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6" y="1"/>
                    <a:pt x="6" y="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4"/>
                    <a:pt x="4" y="15"/>
                    <a:pt x="7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9" name="Freeform 46">
              <a:extLst>
                <a:ext uri="{FF2B5EF4-FFF2-40B4-BE49-F238E27FC236}">
                  <a16:creationId xmlns:a16="http://schemas.microsoft.com/office/drawing/2014/main" id="{AC8BCE4A-A184-48BF-800A-6D29862A5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3663" y="3713163"/>
              <a:ext cx="128588" cy="128588"/>
            </a:xfrm>
            <a:custGeom>
              <a:avLst/>
              <a:gdLst>
                <a:gd name="T0" fmla="*/ 43 w 43"/>
                <a:gd name="T1" fmla="*/ 25 h 43"/>
                <a:gd name="T2" fmla="*/ 33 w 43"/>
                <a:gd name="T3" fmla="*/ 43 h 43"/>
                <a:gd name="T4" fmla="*/ 33 w 43"/>
                <a:gd name="T5" fmla="*/ 43 h 43"/>
                <a:gd name="T6" fmla="*/ 4 w 43"/>
                <a:gd name="T7" fmla="*/ 19 h 43"/>
                <a:gd name="T8" fmla="*/ 7 w 43"/>
                <a:gd name="T9" fmla="*/ 14 h 43"/>
                <a:gd name="T10" fmla="*/ 0 w 43"/>
                <a:gd name="T11" fmla="*/ 9 h 43"/>
                <a:gd name="T12" fmla="*/ 2 w 43"/>
                <a:gd name="T13" fmla="*/ 4 h 43"/>
                <a:gd name="T14" fmla="*/ 7 w 43"/>
                <a:gd name="T15" fmla="*/ 4 h 43"/>
                <a:gd name="T16" fmla="*/ 11 w 43"/>
                <a:gd name="T17" fmla="*/ 0 h 43"/>
                <a:gd name="T18" fmla="*/ 31 w 43"/>
                <a:gd name="T19" fmla="*/ 3 h 43"/>
                <a:gd name="T20" fmla="*/ 40 w 43"/>
                <a:gd name="T21" fmla="*/ 9 h 43"/>
                <a:gd name="T22" fmla="*/ 39 w 43"/>
                <a:gd name="T23" fmla="*/ 10 h 43"/>
                <a:gd name="T24" fmla="*/ 39 w 43"/>
                <a:gd name="T25" fmla="*/ 14 h 43"/>
                <a:gd name="T26" fmla="*/ 43 w 43"/>
                <a:gd name="T27" fmla="*/ 23 h 43"/>
                <a:gd name="T28" fmla="*/ 43 w 43"/>
                <a:gd name="T29" fmla="*/ 2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43">
                  <a:moveTo>
                    <a:pt x="43" y="25"/>
                  </a:move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8" y="11"/>
                    <a:pt x="38" y="13"/>
                    <a:pt x="39" y="14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4"/>
                    <a:pt x="43" y="25"/>
                    <a:pt x="43" y="2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0" name="Freeform 47">
              <a:extLst>
                <a:ext uri="{FF2B5EF4-FFF2-40B4-BE49-F238E27FC236}">
                  <a16:creationId xmlns:a16="http://schemas.microsoft.com/office/drawing/2014/main" id="{B28DCFD8-D628-4432-B452-B4721DE0E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6200" y="2636838"/>
              <a:ext cx="338138" cy="182563"/>
            </a:xfrm>
            <a:custGeom>
              <a:avLst/>
              <a:gdLst>
                <a:gd name="T0" fmla="*/ 101 w 113"/>
                <a:gd name="T1" fmla="*/ 45 h 61"/>
                <a:gd name="T2" fmla="*/ 108 w 113"/>
                <a:gd name="T3" fmla="*/ 37 h 61"/>
                <a:gd name="T4" fmla="*/ 109 w 113"/>
                <a:gd name="T5" fmla="*/ 17 h 61"/>
                <a:gd name="T6" fmla="*/ 101 w 113"/>
                <a:gd name="T7" fmla="*/ 6 h 61"/>
                <a:gd name="T8" fmla="*/ 89 w 113"/>
                <a:gd name="T9" fmla="*/ 0 h 61"/>
                <a:gd name="T10" fmla="*/ 69 w 113"/>
                <a:gd name="T11" fmla="*/ 2 h 61"/>
                <a:gd name="T12" fmla="*/ 61 w 113"/>
                <a:gd name="T13" fmla="*/ 6 h 61"/>
                <a:gd name="T14" fmla="*/ 54 w 113"/>
                <a:gd name="T15" fmla="*/ 11 h 61"/>
                <a:gd name="T16" fmla="*/ 48 w 113"/>
                <a:gd name="T17" fmla="*/ 11 h 61"/>
                <a:gd name="T18" fmla="*/ 41 w 113"/>
                <a:gd name="T19" fmla="*/ 10 h 61"/>
                <a:gd name="T20" fmla="*/ 35 w 113"/>
                <a:gd name="T21" fmla="*/ 15 h 61"/>
                <a:gd name="T22" fmla="*/ 28 w 113"/>
                <a:gd name="T23" fmla="*/ 15 h 61"/>
                <a:gd name="T24" fmla="*/ 24 w 113"/>
                <a:gd name="T25" fmla="*/ 10 h 61"/>
                <a:gd name="T26" fmla="*/ 5 w 113"/>
                <a:gd name="T27" fmla="*/ 11 h 61"/>
                <a:gd name="T28" fmla="*/ 3 w 113"/>
                <a:gd name="T29" fmla="*/ 13 h 61"/>
                <a:gd name="T30" fmla="*/ 3 w 113"/>
                <a:gd name="T31" fmla="*/ 25 h 61"/>
                <a:gd name="T32" fmla="*/ 11 w 113"/>
                <a:gd name="T33" fmla="*/ 38 h 61"/>
                <a:gd name="T34" fmla="*/ 20 w 113"/>
                <a:gd name="T35" fmla="*/ 42 h 61"/>
                <a:gd name="T36" fmla="*/ 22 w 113"/>
                <a:gd name="T37" fmla="*/ 42 h 61"/>
                <a:gd name="T38" fmla="*/ 40 w 113"/>
                <a:gd name="T39" fmla="*/ 55 h 61"/>
                <a:gd name="T40" fmla="*/ 58 w 113"/>
                <a:gd name="T41" fmla="*/ 61 h 61"/>
                <a:gd name="T42" fmla="*/ 64 w 113"/>
                <a:gd name="T43" fmla="*/ 61 h 61"/>
                <a:gd name="T44" fmla="*/ 66 w 113"/>
                <a:gd name="T45" fmla="*/ 61 h 61"/>
                <a:gd name="T46" fmla="*/ 99 w 113"/>
                <a:gd name="T47" fmla="*/ 46 h 61"/>
                <a:gd name="T48" fmla="*/ 101 w 113"/>
                <a:gd name="T49" fmla="*/ 4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3" h="61">
                  <a:moveTo>
                    <a:pt x="101" y="45"/>
                  </a:moveTo>
                  <a:cubicBezTo>
                    <a:pt x="108" y="37"/>
                    <a:pt x="108" y="37"/>
                    <a:pt x="108" y="37"/>
                  </a:cubicBezTo>
                  <a:cubicBezTo>
                    <a:pt x="113" y="31"/>
                    <a:pt x="113" y="23"/>
                    <a:pt x="109" y="17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98" y="2"/>
                    <a:pt x="93" y="0"/>
                    <a:pt x="89" y="0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6" y="3"/>
                    <a:pt x="63" y="4"/>
                    <a:pt x="61" y="6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2" y="13"/>
                    <a:pt x="49" y="13"/>
                    <a:pt x="48" y="11"/>
                  </a:cubicBezTo>
                  <a:cubicBezTo>
                    <a:pt x="46" y="9"/>
                    <a:pt x="43" y="8"/>
                    <a:pt x="41" y="10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3" y="17"/>
                    <a:pt x="30" y="17"/>
                    <a:pt x="28" y="15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18" y="4"/>
                    <a:pt x="9" y="4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17"/>
                    <a:pt x="0" y="21"/>
                    <a:pt x="3" y="25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3" y="41"/>
                    <a:pt x="17" y="42"/>
                    <a:pt x="20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2" y="43"/>
                    <a:pt x="33" y="50"/>
                    <a:pt x="40" y="55"/>
                  </a:cubicBezTo>
                  <a:cubicBezTo>
                    <a:pt x="45" y="59"/>
                    <a:pt x="52" y="61"/>
                    <a:pt x="58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1"/>
                    <a:pt x="66" y="61"/>
                    <a:pt x="66" y="61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100" y="46"/>
                    <a:pt x="100" y="45"/>
                    <a:pt x="101" y="45"/>
                  </a:cubicBezTo>
                  <a:close/>
                </a:path>
              </a:pathLst>
            </a:custGeom>
            <a:solidFill>
              <a:schemeClr val="tx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1" name="Freeform 48">
              <a:extLst>
                <a:ext uri="{FF2B5EF4-FFF2-40B4-BE49-F238E27FC236}">
                  <a16:creationId xmlns:a16="http://schemas.microsoft.com/office/drawing/2014/main" id="{A4E14DFE-B17D-4DA5-B132-8DCEFBA36C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1475" y="4157663"/>
              <a:ext cx="117475" cy="36513"/>
            </a:xfrm>
            <a:custGeom>
              <a:avLst/>
              <a:gdLst>
                <a:gd name="T0" fmla="*/ 38 w 39"/>
                <a:gd name="T1" fmla="*/ 6 h 12"/>
                <a:gd name="T2" fmla="*/ 38 w 39"/>
                <a:gd name="T3" fmla="*/ 6 h 12"/>
                <a:gd name="T4" fmla="*/ 34 w 39"/>
                <a:gd name="T5" fmla="*/ 3 h 12"/>
                <a:gd name="T6" fmla="*/ 22 w 39"/>
                <a:gd name="T7" fmla="*/ 1 h 12"/>
                <a:gd name="T8" fmla="*/ 21 w 39"/>
                <a:gd name="T9" fmla="*/ 1 h 12"/>
                <a:gd name="T10" fmla="*/ 11 w 39"/>
                <a:gd name="T11" fmla="*/ 0 h 12"/>
                <a:gd name="T12" fmla="*/ 0 w 39"/>
                <a:gd name="T13" fmla="*/ 6 h 12"/>
                <a:gd name="T14" fmla="*/ 17 w 39"/>
                <a:gd name="T15" fmla="*/ 6 h 12"/>
                <a:gd name="T16" fmla="*/ 17 w 39"/>
                <a:gd name="T17" fmla="*/ 8 h 12"/>
                <a:gd name="T18" fmla="*/ 22 w 39"/>
                <a:gd name="T19" fmla="*/ 7 h 12"/>
                <a:gd name="T20" fmla="*/ 25 w 39"/>
                <a:gd name="T21" fmla="*/ 7 h 12"/>
                <a:gd name="T22" fmla="*/ 34 w 39"/>
                <a:gd name="T23" fmla="*/ 11 h 12"/>
                <a:gd name="T24" fmla="*/ 38 w 39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12">
                  <a:moveTo>
                    <a:pt x="38" y="6"/>
                  </a:moveTo>
                  <a:cubicBezTo>
                    <a:pt x="38" y="6"/>
                    <a:pt x="38" y="6"/>
                    <a:pt x="38" y="6"/>
                  </a:cubicBezTo>
                  <a:cubicBezTo>
                    <a:pt x="37" y="4"/>
                    <a:pt x="36" y="3"/>
                    <a:pt x="34" y="3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0" y="0"/>
                    <a:pt x="0" y="6"/>
                  </a:cubicBezTo>
                  <a:cubicBezTo>
                    <a:pt x="0" y="7"/>
                    <a:pt x="17" y="6"/>
                    <a:pt x="17" y="6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3" y="7"/>
                    <a:pt x="24" y="7"/>
                    <a:pt x="25" y="7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6" y="12"/>
                    <a:pt x="39" y="9"/>
                    <a:pt x="38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2" name="Freeform 52">
              <a:extLst>
                <a:ext uri="{FF2B5EF4-FFF2-40B4-BE49-F238E27FC236}">
                  <a16:creationId xmlns:a16="http://schemas.microsoft.com/office/drawing/2014/main" id="{927A3DDB-88CE-4007-915D-C3AD70A72D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4170363"/>
              <a:ext cx="76200" cy="50800"/>
            </a:xfrm>
            <a:custGeom>
              <a:avLst/>
              <a:gdLst>
                <a:gd name="T0" fmla="*/ 25 w 25"/>
                <a:gd name="T1" fmla="*/ 1 h 17"/>
                <a:gd name="T2" fmla="*/ 25 w 25"/>
                <a:gd name="T3" fmla="*/ 1 h 17"/>
                <a:gd name="T4" fmla="*/ 25 w 25"/>
                <a:gd name="T5" fmla="*/ 2 h 17"/>
                <a:gd name="T6" fmla="*/ 19 w 25"/>
                <a:gd name="T7" fmla="*/ 7 h 17"/>
                <a:gd name="T8" fmla="*/ 19 w 25"/>
                <a:gd name="T9" fmla="*/ 8 h 17"/>
                <a:gd name="T10" fmla="*/ 18 w 25"/>
                <a:gd name="T11" fmla="*/ 10 h 17"/>
                <a:gd name="T12" fmla="*/ 17 w 25"/>
                <a:gd name="T13" fmla="*/ 10 h 17"/>
                <a:gd name="T14" fmla="*/ 12 w 25"/>
                <a:gd name="T15" fmla="*/ 15 h 17"/>
                <a:gd name="T16" fmla="*/ 12 w 25"/>
                <a:gd name="T17" fmla="*/ 15 h 17"/>
                <a:gd name="T18" fmla="*/ 3 w 25"/>
                <a:gd name="T19" fmla="*/ 17 h 17"/>
                <a:gd name="T20" fmla="*/ 2 w 25"/>
                <a:gd name="T21" fmla="*/ 16 h 17"/>
                <a:gd name="T22" fmla="*/ 0 w 25"/>
                <a:gd name="T23" fmla="*/ 10 h 17"/>
                <a:gd name="T24" fmla="*/ 1 w 25"/>
                <a:gd name="T25" fmla="*/ 8 h 17"/>
                <a:gd name="T26" fmla="*/ 7 w 25"/>
                <a:gd name="T27" fmla="*/ 7 h 17"/>
                <a:gd name="T28" fmla="*/ 8 w 25"/>
                <a:gd name="T29" fmla="*/ 6 h 17"/>
                <a:gd name="T30" fmla="*/ 8 w 25"/>
                <a:gd name="T31" fmla="*/ 4 h 17"/>
                <a:gd name="T32" fmla="*/ 9 w 25"/>
                <a:gd name="T33" fmla="*/ 3 h 17"/>
                <a:gd name="T34" fmla="*/ 14 w 25"/>
                <a:gd name="T35" fmla="*/ 3 h 17"/>
                <a:gd name="T36" fmla="*/ 16 w 25"/>
                <a:gd name="T37" fmla="*/ 2 h 17"/>
                <a:gd name="T38" fmla="*/ 17 w 25"/>
                <a:gd name="T39" fmla="*/ 1 h 17"/>
                <a:gd name="T40" fmla="*/ 24 w 25"/>
                <a:gd name="T41" fmla="*/ 0 h 17"/>
                <a:gd name="T42" fmla="*/ 25 w 25"/>
                <a:gd name="T43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17">
                  <a:moveTo>
                    <a:pt x="25" y="1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5" y="1"/>
                    <a:pt x="25" y="2"/>
                    <a:pt x="25" y="2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8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7" y="1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2" y="16"/>
                    <a:pt x="2" y="1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8" y="7"/>
                    <a:pt x="8" y="6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6" y="3"/>
                    <a:pt x="16" y="2"/>
                  </a:cubicBezTo>
                  <a:cubicBezTo>
                    <a:pt x="16" y="1"/>
                    <a:pt x="16" y="1"/>
                    <a:pt x="17" y="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5" y="0"/>
                    <a:pt x="25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691684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0">
            <a:extLst>
              <a:ext uri="{FF2B5EF4-FFF2-40B4-BE49-F238E27FC236}">
                <a16:creationId xmlns:a16="http://schemas.microsoft.com/office/drawing/2014/main" id="{2C7F6899-AA89-4ACF-BBC6-9182A564A0B3}"/>
              </a:ext>
            </a:extLst>
          </p:cNvPr>
          <p:cNvSpPr/>
          <p:nvPr/>
        </p:nvSpPr>
        <p:spPr>
          <a:xfrm>
            <a:off x="2054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70">
            <a:extLst>
              <a:ext uri="{FF2B5EF4-FFF2-40B4-BE49-F238E27FC236}">
                <a16:creationId xmlns:a16="http://schemas.microsoft.com/office/drawing/2014/main" id="{68FA4209-A2EF-480B-BBDC-DE5322790CE7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FE3DD1-8761-4FA2-A00F-4C407ED92CBC}"/>
              </a:ext>
            </a:extLst>
          </p:cNvPr>
          <p:cNvSpPr txBox="1"/>
          <p:nvPr/>
        </p:nvSpPr>
        <p:spPr>
          <a:xfrm>
            <a:off x="708963" y="250833"/>
            <a:ext cx="10774074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/>
              <a:t>EUROPE MAP</a:t>
            </a:r>
          </a:p>
        </p:txBody>
      </p: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50214440-61B4-4F6C-98E6-9DBCCEFC9421}"/>
              </a:ext>
            </a:extLst>
          </p:cNvPr>
          <p:cNvGrpSpPr/>
          <p:nvPr/>
        </p:nvGrpSpPr>
        <p:grpSpPr>
          <a:xfrm>
            <a:off x="412696" y="1280524"/>
            <a:ext cx="5698102" cy="4764398"/>
            <a:chOff x="2616200" y="2406651"/>
            <a:chExt cx="2170113" cy="1814512"/>
          </a:xfrm>
          <a:solidFill>
            <a:srgbClr val="BFBFBF"/>
          </a:solidFill>
        </p:grpSpPr>
        <p:sp>
          <p:nvSpPr>
            <p:cNvPr id="161" name="Freeform 5">
              <a:extLst>
                <a:ext uri="{FF2B5EF4-FFF2-40B4-BE49-F238E27FC236}">
                  <a16:creationId xmlns:a16="http://schemas.microsoft.com/office/drawing/2014/main" id="{A0279242-16F6-46E6-A8CB-A463507895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438" y="3563938"/>
              <a:ext cx="125413" cy="149225"/>
            </a:xfrm>
            <a:custGeom>
              <a:avLst/>
              <a:gdLst>
                <a:gd name="T0" fmla="*/ 28 w 42"/>
                <a:gd name="T1" fmla="*/ 46 h 50"/>
                <a:gd name="T2" fmla="*/ 31 w 42"/>
                <a:gd name="T3" fmla="*/ 45 h 50"/>
                <a:gd name="T4" fmla="*/ 34 w 42"/>
                <a:gd name="T5" fmla="*/ 40 h 50"/>
                <a:gd name="T6" fmla="*/ 37 w 42"/>
                <a:gd name="T7" fmla="*/ 34 h 50"/>
                <a:gd name="T8" fmla="*/ 39 w 42"/>
                <a:gd name="T9" fmla="*/ 34 h 50"/>
                <a:gd name="T10" fmla="*/ 42 w 42"/>
                <a:gd name="T11" fmla="*/ 29 h 50"/>
                <a:gd name="T12" fmla="*/ 41 w 42"/>
                <a:gd name="T13" fmla="*/ 21 h 50"/>
                <a:gd name="T14" fmla="*/ 37 w 42"/>
                <a:gd name="T15" fmla="*/ 17 h 50"/>
                <a:gd name="T16" fmla="*/ 35 w 42"/>
                <a:gd name="T17" fmla="*/ 17 h 50"/>
                <a:gd name="T18" fmla="*/ 31 w 42"/>
                <a:gd name="T19" fmla="*/ 14 h 50"/>
                <a:gd name="T20" fmla="*/ 27 w 42"/>
                <a:gd name="T21" fmla="*/ 3 h 50"/>
                <a:gd name="T22" fmla="*/ 23 w 42"/>
                <a:gd name="T23" fmla="*/ 0 h 50"/>
                <a:gd name="T24" fmla="*/ 5 w 42"/>
                <a:gd name="T25" fmla="*/ 0 h 50"/>
                <a:gd name="T26" fmla="*/ 0 w 42"/>
                <a:gd name="T27" fmla="*/ 5 h 50"/>
                <a:gd name="T28" fmla="*/ 0 w 42"/>
                <a:gd name="T29" fmla="*/ 8 h 50"/>
                <a:gd name="T30" fmla="*/ 1 w 42"/>
                <a:gd name="T31" fmla="*/ 8 h 50"/>
                <a:gd name="T32" fmla="*/ 8 w 42"/>
                <a:gd name="T33" fmla="*/ 12 h 50"/>
                <a:gd name="T34" fmla="*/ 8 w 42"/>
                <a:gd name="T35" fmla="*/ 14 h 50"/>
                <a:gd name="T36" fmla="*/ 13 w 42"/>
                <a:gd name="T37" fmla="*/ 19 h 50"/>
                <a:gd name="T38" fmla="*/ 16 w 42"/>
                <a:gd name="T39" fmla="*/ 20 h 50"/>
                <a:gd name="T40" fmla="*/ 20 w 42"/>
                <a:gd name="T41" fmla="*/ 23 h 50"/>
                <a:gd name="T42" fmla="*/ 28 w 42"/>
                <a:gd name="T43" fmla="*/ 40 h 50"/>
                <a:gd name="T44" fmla="*/ 28 w 42"/>
                <a:gd name="T45" fmla="*/ 42 h 50"/>
                <a:gd name="T46" fmla="*/ 28 w 42"/>
                <a:gd name="T47" fmla="*/ 50 h 50"/>
                <a:gd name="T48" fmla="*/ 28 w 42"/>
                <a:gd name="T49" fmla="*/ 50 h 50"/>
                <a:gd name="T50" fmla="*/ 28 w 42"/>
                <a:gd name="T51" fmla="*/ 50 h 50"/>
                <a:gd name="T52" fmla="*/ 28 w 42"/>
                <a:gd name="T53" fmla="*/ 4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2" h="50">
                  <a:moveTo>
                    <a:pt x="28" y="46"/>
                  </a:moveTo>
                  <a:cubicBezTo>
                    <a:pt x="31" y="45"/>
                    <a:pt x="31" y="45"/>
                    <a:pt x="31" y="45"/>
                  </a:cubicBezTo>
                  <a:cubicBezTo>
                    <a:pt x="34" y="45"/>
                    <a:pt x="35" y="42"/>
                    <a:pt x="34" y="40"/>
                  </a:cubicBezTo>
                  <a:cubicBezTo>
                    <a:pt x="33" y="38"/>
                    <a:pt x="35" y="35"/>
                    <a:pt x="37" y="34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41" y="33"/>
                    <a:pt x="42" y="31"/>
                    <a:pt x="42" y="29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18"/>
                    <a:pt x="39" y="17"/>
                    <a:pt x="37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3" y="17"/>
                    <a:pt x="32" y="16"/>
                    <a:pt x="31" y="14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1"/>
                    <a:pt x="24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4" y="8"/>
                    <a:pt x="7" y="10"/>
                    <a:pt x="8" y="12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7"/>
                    <a:pt x="10" y="18"/>
                    <a:pt x="13" y="19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8" y="20"/>
                    <a:pt x="19" y="21"/>
                    <a:pt x="20" y="23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1"/>
                    <a:pt x="28" y="41"/>
                    <a:pt x="28" y="4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lnTo>
                    <a:pt x="28" y="4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6">
              <a:extLst>
                <a:ext uri="{FF2B5EF4-FFF2-40B4-BE49-F238E27FC236}">
                  <a16:creationId xmlns:a16="http://schemas.microsoft.com/office/drawing/2014/main" id="{8132FB0A-0F46-42B2-B684-AD3FB4F19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3650" y="4048126"/>
              <a:ext cx="96838" cy="61913"/>
            </a:xfrm>
            <a:custGeom>
              <a:avLst/>
              <a:gdLst>
                <a:gd name="T0" fmla="*/ 29 w 32"/>
                <a:gd name="T1" fmla="*/ 1 h 21"/>
                <a:gd name="T2" fmla="*/ 17 w 32"/>
                <a:gd name="T3" fmla="*/ 4 h 21"/>
                <a:gd name="T4" fmla="*/ 3 w 32"/>
                <a:gd name="T5" fmla="*/ 1 h 21"/>
                <a:gd name="T6" fmla="*/ 0 w 32"/>
                <a:gd name="T7" fmla="*/ 5 h 21"/>
                <a:gd name="T8" fmla="*/ 3 w 32"/>
                <a:gd name="T9" fmla="*/ 9 h 21"/>
                <a:gd name="T10" fmla="*/ 15 w 32"/>
                <a:gd name="T11" fmla="*/ 13 h 21"/>
                <a:gd name="T12" fmla="*/ 25 w 32"/>
                <a:gd name="T13" fmla="*/ 20 h 21"/>
                <a:gd name="T14" fmla="*/ 30 w 32"/>
                <a:gd name="T15" fmla="*/ 15 h 21"/>
                <a:gd name="T16" fmla="*/ 29 w 32"/>
                <a:gd name="T17" fmla="*/ 8 h 21"/>
                <a:gd name="T18" fmla="*/ 32 w 32"/>
                <a:gd name="T19" fmla="*/ 5 h 21"/>
                <a:gd name="T20" fmla="*/ 29 w 32"/>
                <a:gd name="T21" fmla="*/ 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21">
                  <a:moveTo>
                    <a:pt x="29" y="1"/>
                  </a:moveTo>
                  <a:cubicBezTo>
                    <a:pt x="26" y="1"/>
                    <a:pt x="23" y="4"/>
                    <a:pt x="17" y="4"/>
                  </a:cubicBezTo>
                  <a:cubicBezTo>
                    <a:pt x="10" y="4"/>
                    <a:pt x="6" y="0"/>
                    <a:pt x="3" y="1"/>
                  </a:cubicBezTo>
                  <a:cubicBezTo>
                    <a:pt x="1" y="2"/>
                    <a:pt x="0" y="2"/>
                    <a:pt x="0" y="5"/>
                  </a:cubicBezTo>
                  <a:cubicBezTo>
                    <a:pt x="0" y="7"/>
                    <a:pt x="0" y="9"/>
                    <a:pt x="3" y="9"/>
                  </a:cubicBezTo>
                  <a:cubicBezTo>
                    <a:pt x="6" y="10"/>
                    <a:pt x="13" y="11"/>
                    <a:pt x="15" y="13"/>
                  </a:cubicBezTo>
                  <a:cubicBezTo>
                    <a:pt x="17" y="15"/>
                    <a:pt x="22" y="20"/>
                    <a:pt x="25" y="20"/>
                  </a:cubicBezTo>
                  <a:cubicBezTo>
                    <a:pt x="29" y="21"/>
                    <a:pt x="30" y="19"/>
                    <a:pt x="30" y="15"/>
                  </a:cubicBezTo>
                  <a:cubicBezTo>
                    <a:pt x="30" y="11"/>
                    <a:pt x="26" y="9"/>
                    <a:pt x="29" y="8"/>
                  </a:cubicBezTo>
                  <a:cubicBezTo>
                    <a:pt x="29" y="8"/>
                    <a:pt x="32" y="7"/>
                    <a:pt x="32" y="5"/>
                  </a:cubicBezTo>
                  <a:cubicBezTo>
                    <a:pt x="32" y="3"/>
                    <a:pt x="32" y="0"/>
                    <a:pt x="29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7">
              <a:extLst>
                <a:ext uri="{FF2B5EF4-FFF2-40B4-BE49-F238E27FC236}">
                  <a16:creationId xmlns:a16="http://schemas.microsoft.com/office/drawing/2014/main" id="{B01E552E-8057-4103-90BA-E85E24F10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800" y="4133851"/>
              <a:ext cx="20638" cy="20638"/>
            </a:xfrm>
            <a:custGeom>
              <a:avLst/>
              <a:gdLst>
                <a:gd name="T0" fmla="*/ 6 w 7"/>
                <a:gd name="T1" fmla="*/ 5 h 7"/>
                <a:gd name="T2" fmla="*/ 2 w 7"/>
                <a:gd name="T3" fmla="*/ 1 h 7"/>
                <a:gd name="T4" fmla="*/ 1 w 7"/>
                <a:gd name="T5" fmla="*/ 5 h 7"/>
                <a:gd name="T6" fmla="*/ 5 w 7"/>
                <a:gd name="T7" fmla="*/ 7 h 7"/>
                <a:gd name="T8" fmla="*/ 6 w 7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5"/>
                  </a:moveTo>
                  <a:cubicBezTo>
                    <a:pt x="6" y="5"/>
                    <a:pt x="4" y="0"/>
                    <a:pt x="2" y="1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2" y="6"/>
                    <a:pt x="4" y="7"/>
                    <a:pt x="5" y="7"/>
                  </a:cubicBezTo>
                  <a:cubicBezTo>
                    <a:pt x="6" y="6"/>
                    <a:pt x="7" y="6"/>
                    <a:pt x="6" y="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8">
              <a:extLst>
                <a:ext uri="{FF2B5EF4-FFF2-40B4-BE49-F238E27FC236}">
                  <a16:creationId xmlns:a16="http://schemas.microsoft.com/office/drawing/2014/main" id="{673B2D33-F006-459D-A398-07155FFBCC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2850" y="2528888"/>
              <a:ext cx="458788" cy="758825"/>
            </a:xfrm>
            <a:custGeom>
              <a:avLst/>
              <a:gdLst>
                <a:gd name="T0" fmla="*/ 81 w 153"/>
                <a:gd name="T1" fmla="*/ 124 h 254"/>
                <a:gd name="T2" fmla="*/ 110 w 153"/>
                <a:gd name="T3" fmla="*/ 106 h 254"/>
                <a:gd name="T4" fmla="*/ 126 w 153"/>
                <a:gd name="T5" fmla="*/ 70 h 254"/>
                <a:gd name="T6" fmla="*/ 150 w 153"/>
                <a:gd name="T7" fmla="*/ 62 h 254"/>
                <a:gd name="T8" fmla="*/ 152 w 153"/>
                <a:gd name="T9" fmla="*/ 53 h 254"/>
                <a:gd name="T10" fmla="*/ 153 w 153"/>
                <a:gd name="T11" fmla="*/ 43 h 254"/>
                <a:gd name="T12" fmla="*/ 148 w 153"/>
                <a:gd name="T13" fmla="*/ 21 h 254"/>
                <a:gd name="T14" fmla="*/ 131 w 153"/>
                <a:gd name="T15" fmla="*/ 12 h 254"/>
                <a:gd name="T16" fmla="*/ 119 w 153"/>
                <a:gd name="T17" fmla="*/ 1 h 254"/>
                <a:gd name="T18" fmla="*/ 115 w 153"/>
                <a:gd name="T19" fmla="*/ 12 h 254"/>
                <a:gd name="T20" fmla="*/ 106 w 153"/>
                <a:gd name="T21" fmla="*/ 8 h 254"/>
                <a:gd name="T22" fmla="*/ 99 w 153"/>
                <a:gd name="T23" fmla="*/ 4 h 254"/>
                <a:gd name="T24" fmla="*/ 95 w 153"/>
                <a:gd name="T25" fmla="*/ 12 h 254"/>
                <a:gd name="T26" fmla="*/ 85 w 153"/>
                <a:gd name="T27" fmla="*/ 16 h 254"/>
                <a:gd name="T28" fmla="*/ 70 w 153"/>
                <a:gd name="T29" fmla="*/ 29 h 254"/>
                <a:gd name="T30" fmla="*/ 69 w 153"/>
                <a:gd name="T31" fmla="*/ 41 h 254"/>
                <a:gd name="T32" fmla="*/ 55 w 153"/>
                <a:gd name="T33" fmla="*/ 56 h 254"/>
                <a:gd name="T34" fmla="*/ 49 w 153"/>
                <a:gd name="T35" fmla="*/ 57 h 254"/>
                <a:gd name="T36" fmla="*/ 48 w 153"/>
                <a:gd name="T37" fmla="*/ 69 h 254"/>
                <a:gd name="T38" fmla="*/ 45 w 153"/>
                <a:gd name="T39" fmla="*/ 89 h 254"/>
                <a:gd name="T40" fmla="*/ 46 w 153"/>
                <a:gd name="T41" fmla="*/ 94 h 254"/>
                <a:gd name="T42" fmla="*/ 29 w 153"/>
                <a:gd name="T43" fmla="*/ 104 h 254"/>
                <a:gd name="T44" fmla="*/ 16 w 153"/>
                <a:gd name="T45" fmla="*/ 139 h 254"/>
                <a:gd name="T46" fmla="*/ 22 w 153"/>
                <a:gd name="T47" fmla="*/ 146 h 254"/>
                <a:gd name="T48" fmla="*/ 23 w 153"/>
                <a:gd name="T49" fmla="*/ 151 h 254"/>
                <a:gd name="T50" fmla="*/ 15 w 153"/>
                <a:gd name="T51" fmla="*/ 155 h 254"/>
                <a:gd name="T52" fmla="*/ 20 w 153"/>
                <a:gd name="T53" fmla="*/ 160 h 254"/>
                <a:gd name="T54" fmla="*/ 24 w 153"/>
                <a:gd name="T55" fmla="*/ 167 h 254"/>
                <a:gd name="T56" fmla="*/ 17 w 153"/>
                <a:gd name="T57" fmla="*/ 175 h 254"/>
                <a:gd name="T58" fmla="*/ 13 w 153"/>
                <a:gd name="T59" fmla="*/ 193 h 254"/>
                <a:gd name="T60" fmla="*/ 0 w 153"/>
                <a:gd name="T61" fmla="*/ 197 h 254"/>
                <a:gd name="T62" fmla="*/ 8 w 153"/>
                <a:gd name="T63" fmla="*/ 219 h 254"/>
                <a:gd name="T64" fmla="*/ 33 w 153"/>
                <a:gd name="T65" fmla="*/ 252 h 254"/>
                <a:gd name="T66" fmla="*/ 40 w 153"/>
                <a:gd name="T67" fmla="*/ 249 h 254"/>
                <a:gd name="T68" fmla="*/ 62 w 153"/>
                <a:gd name="T69" fmla="*/ 231 h 254"/>
                <a:gd name="T70" fmla="*/ 66 w 153"/>
                <a:gd name="T71" fmla="*/ 211 h 254"/>
                <a:gd name="T72" fmla="*/ 81 w 153"/>
                <a:gd name="T73" fmla="*/ 191 h 254"/>
                <a:gd name="T74" fmla="*/ 85 w 153"/>
                <a:gd name="T75" fmla="*/ 170 h 254"/>
                <a:gd name="T76" fmla="*/ 76 w 153"/>
                <a:gd name="T77" fmla="*/ 161 h 254"/>
                <a:gd name="T78" fmla="*/ 77 w 153"/>
                <a:gd name="T79" fmla="*/ 13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" h="254">
                  <a:moveTo>
                    <a:pt x="77" y="131"/>
                  </a:moveTo>
                  <a:cubicBezTo>
                    <a:pt x="78" y="128"/>
                    <a:pt x="79" y="126"/>
                    <a:pt x="81" y="12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110" y="106"/>
                    <a:pt x="110" y="106"/>
                    <a:pt x="110" y="106"/>
                  </a:cubicBezTo>
                  <a:cubicBezTo>
                    <a:pt x="116" y="88"/>
                    <a:pt x="116" y="88"/>
                    <a:pt x="116" y="88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9" y="65"/>
                    <a:pt x="135" y="62"/>
                    <a:pt x="141" y="62"/>
                  </a:cubicBezTo>
                  <a:cubicBezTo>
                    <a:pt x="150" y="62"/>
                    <a:pt x="150" y="62"/>
                    <a:pt x="150" y="62"/>
                  </a:cubicBezTo>
                  <a:cubicBezTo>
                    <a:pt x="151" y="62"/>
                    <a:pt x="152" y="62"/>
                    <a:pt x="152" y="62"/>
                  </a:cubicBezTo>
                  <a:cubicBezTo>
                    <a:pt x="152" y="53"/>
                    <a:pt x="152" y="53"/>
                    <a:pt x="152" y="53"/>
                  </a:cubicBezTo>
                  <a:cubicBezTo>
                    <a:pt x="148" y="49"/>
                    <a:pt x="148" y="49"/>
                    <a:pt x="148" y="49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48" y="38"/>
                    <a:pt x="148" y="38"/>
                    <a:pt x="148" y="38"/>
                  </a:cubicBezTo>
                  <a:cubicBezTo>
                    <a:pt x="148" y="21"/>
                    <a:pt x="148" y="21"/>
                    <a:pt x="148" y="21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119" y="0"/>
                    <a:pt x="119" y="1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19" y="10"/>
                    <a:pt x="117" y="12"/>
                    <a:pt x="115" y="12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108" y="12"/>
                    <a:pt x="106" y="10"/>
                    <a:pt x="106" y="8"/>
                  </a:cubicBezTo>
                  <a:cubicBezTo>
                    <a:pt x="106" y="6"/>
                    <a:pt x="104" y="4"/>
                    <a:pt x="102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7" y="4"/>
                    <a:pt x="95" y="6"/>
                    <a:pt x="95" y="8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14"/>
                    <a:pt x="93" y="16"/>
                    <a:pt x="91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4" y="16"/>
                    <a:pt x="83" y="16"/>
                    <a:pt x="82" y="17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69" y="29"/>
                    <a:pt x="69" y="30"/>
                    <a:pt x="69" y="3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2"/>
                    <a:pt x="69" y="43"/>
                    <a:pt x="68" y="44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7"/>
                    <a:pt x="54" y="57"/>
                    <a:pt x="52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7"/>
                    <a:pt x="49" y="68"/>
                    <a:pt x="48" y="69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1" y="79"/>
                    <a:pt x="41" y="85"/>
                    <a:pt x="45" y="89"/>
                  </a:cubicBezTo>
                  <a:cubicBezTo>
                    <a:pt x="46" y="89"/>
                    <a:pt x="46" y="90"/>
                    <a:pt x="46" y="91"/>
                  </a:cubicBezTo>
                  <a:cubicBezTo>
                    <a:pt x="46" y="94"/>
                    <a:pt x="46" y="94"/>
                    <a:pt x="46" y="94"/>
                  </a:cubicBezTo>
                  <a:cubicBezTo>
                    <a:pt x="46" y="96"/>
                    <a:pt x="45" y="98"/>
                    <a:pt x="44" y="98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1" y="108"/>
                    <a:pt x="16" y="116"/>
                    <a:pt x="16" y="125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40"/>
                    <a:pt x="17" y="141"/>
                    <a:pt x="17" y="141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3" y="147"/>
                    <a:pt x="23" y="148"/>
                  </a:cubicBezTo>
                  <a:cubicBezTo>
                    <a:pt x="23" y="151"/>
                    <a:pt x="23" y="151"/>
                    <a:pt x="23" y="151"/>
                  </a:cubicBezTo>
                  <a:cubicBezTo>
                    <a:pt x="23" y="154"/>
                    <a:pt x="21" y="155"/>
                    <a:pt x="19" y="155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15" y="160"/>
                    <a:pt x="15" y="160"/>
                    <a:pt x="15" y="160"/>
                  </a:cubicBezTo>
                  <a:cubicBezTo>
                    <a:pt x="20" y="160"/>
                    <a:pt x="20" y="160"/>
                    <a:pt x="20" y="160"/>
                  </a:cubicBezTo>
                  <a:cubicBezTo>
                    <a:pt x="22" y="160"/>
                    <a:pt x="24" y="162"/>
                    <a:pt x="24" y="164"/>
                  </a:cubicBezTo>
                  <a:cubicBezTo>
                    <a:pt x="24" y="167"/>
                    <a:pt x="24" y="167"/>
                    <a:pt x="24" y="167"/>
                  </a:cubicBezTo>
                  <a:cubicBezTo>
                    <a:pt x="24" y="168"/>
                    <a:pt x="23" y="169"/>
                    <a:pt x="23" y="169"/>
                  </a:cubicBezTo>
                  <a:cubicBezTo>
                    <a:pt x="17" y="175"/>
                    <a:pt x="17" y="175"/>
                    <a:pt x="17" y="175"/>
                  </a:cubicBezTo>
                  <a:cubicBezTo>
                    <a:pt x="15" y="178"/>
                    <a:pt x="13" y="181"/>
                    <a:pt x="13" y="184"/>
                  </a:cubicBezTo>
                  <a:cubicBezTo>
                    <a:pt x="13" y="193"/>
                    <a:pt x="13" y="193"/>
                    <a:pt x="13" y="193"/>
                  </a:cubicBezTo>
                  <a:cubicBezTo>
                    <a:pt x="13" y="196"/>
                    <a:pt x="11" y="197"/>
                    <a:pt x="9" y="197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2" y="201"/>
                    <a:pt x="3" y="206"/>
                    <a:pt x="3" y="212"/>
                  </a:cubicBezTo>
                  <a:cubicBezTo>
                    <a:pt x="8" y="219"/>
                    <a:pt x="8" y="219"/>
                    <a:pt x="8" y="219"/>
                  </a:cubicBezTo>
                  <a:cubicBezTo>
                    <a:pt x="17" y="239"/>
                    <a:pt x="17" y="239"/>
                    <a:pt x="17" y="239"/>
                  </a:cubicBezTo>
                  <a:cubicBezTo>
                    <a:pt x="16" y="248"/>
                    <a:pt x="24" y="254"/>
                    <a:pt x="33" y="252"/>
                  </a:cubicBezTo>
                  <a:cubicBezTo>
                    <a:pt x="34" y="252"/>
                    <a:pt x="34" y="252"/>
                    <a:pt x="34" y="252"/>
                  </a:cubicBezTo>
                  <a:cubicBezTo>
                    <a:pt x="36" y="251"/>
                    <a:pt x="38" y="250"/>
                    <a:pt x="40" y="249"/>
                  </a:cubicBezTo>
                  <a:cubicBezTo>
                    <a:pt x="47" y="243"/>
                    <a:pt x="47" y="243"/>
                    <a:pt x="47" y="243"/>
                  </a:cubicBezTo>
                  <a:cubicBezTo>
                    <a:pt x="62" y="231"/>
                    <a:pt x="62" y="231"/>
                    <a:pt x="62" y="231"/>
                  </a:cubicBezTo>
                  <a:cubicBezTo>
                    <a:pt x="66" y="227"/>
                    <a:pt x="68" y="222"/>
                    <a:pt x="67" y="217"/>
                  </a:cubicBezTo>
                  <a:cubicBezTo>
                    <a:pt x="66" y="211"/>
                    <a:pt x="66" y="211"/>
                    <a:pt x="66" y="211"/>
                  </a:cubicBezTo>
                  <a:cubicBezTo>
                    <a:pt x="65" y="205"/>
                    <a:pt x="68" y="199"/>
                    <a:pt x="73" y="196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85" y="189"/>
                    <a:pt x="87" y="185"/>
                    <a:pt x="86" y="181"/>
                  </a:cubicBezTo>
                  <a:cubicBezTo>
                    <a:pt x="85" y="170"/>
                    <a:pt x="85" y="170"/>
                    <a:pt x="85" y="170"/>
                  </a:cubicBezTo>
                  <a:cubicBezTo>
                    <a:pt x="85" y="166"/>
                    <a:pt x="82" y="164"/>
                    <a:pt x="79" y="162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73" y="159"/>
                    <a:pt x="71" y="155"/>
                    <a:pt x="72" y="152"/>
                  </a:cubicBezTo>
                  <a:lnTo>
                    <a:pt x="77" y="1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9">
              <a:extLst>
                <a:ext uri="{FF2B5EF4-FFF2-40B4-BE49-F238E27FC236}">
                  <a16:creationId xmlns:a16="http://schemas.microsoft.com/office/drawing/2014/main" id="{198C8A66-4357-406E-807E-5A4E21832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513" y="2471738"/>
              <a:ext cx="374650" cy="565150"/>
            </a:xfrm>
            <a:custGeom>
              <a:avLst/>
              <a:gdLst>
                <a:gd name="T0" fmla="*/ 118 w 125"/>
                <a:gd name="T1" fmla="*/ 130 h 189"/>
                <a:gd name="T2" fmla="*/ 114 w 125"/>
                <a:gd name="T3" fmla="*/ 127 h 189"/>
                <a:gd name="T4" fmla="*/ 114 w 125"/>
                <a:gd name="T5" fmla="*/ 119 h 189"/>
                <a:gd name="T6" fmla="*/ 115 w 125"/>
                <a:gd name="T7" fmla="*/ 112 h 189"/>
                <a:gd name="T8" fmla="*/ 114 w 125"/>
                <a:gd name="T9" fmla="*/ 111 h 189"/>
                <a:gd name="T10" fmla="*/ 106 w 125"/>
                <a:gd name="T11" fmla="*/ 95 h 189"/>
                <a:gd name="T12" fmla="*/ 106 w 125"/>
                <a:gd name="T13" fmla="*/ 91 h 189"/>
                <a:gd name="T14" fmla="*/ 108 w 125"/>
                <a:gd name="T15" fmla="*/ 83 h 189"/>
                <a:gd name="T16" fmla="*/ 108 w 125"/>
                <a:gd name="T17" fmla="*/ 79 h 189"/>
                <a:gd name="T18" fmla="*/ 99 w 125"/>
                <a:gd name="T19" fmla="*/ 61 h 189"/>
                <a:gd name="T20" fmla="*/ 100 w 125"/>
                <a:gd name="T21" fmla="*/ 55 h 189"/>
                <a:gd name="T22" fmla="*/ 103 w 125"/>
                <a:gd name="T23" fmla="*/ 52 h 189"/>
                <a:gd name="T24" fmla="*/ 103 w 125"/>
                <a:gd name="T25" fmla="*/ 45 h 189"/>
                <a:gd name="T26" fmla="*/ 98 w 125"/>
                <a:gd name="T27" fmla="*/ 37 h 189"/>
                <a:gd name="T28" fmla="*/ 98 w 125"/>
                <a:gd name="T29" fmla="*/ 33 h 189"/>
                <a:gd name="T30" fmla="*/ 100 w 125"/>
                <a:gd name="T31" fmla="*/ 15 h 189"/>
                <a:gd name="T32" fmla="*/ 99 w 125"/>
                <a:gd name="T33" fmla="*/ 15 h 189"/>
                <a:gd name="T34" fmla="*/ 86 w 125"/>
                <a:gd name="T35" fmla="*/ 0 h 189"/>
                <a:gd name="T36" fmla="*/ 84 w 125"/>
                <a:gd name="T37" fmla="*/ 0 h 189"/>
                <a:gd name="T38" fmla="*/ 68 w 125"/>
                <a:gd name="T39" fmla="*/ 3 h 189"/>
                <a:gd name="T40" fmla="*/ 65 w 125"/>
                <a:gd name="T41" fmla="*/ 7 h 189"/>
                <a:gd name="T42" fmla="*/ 65 w 125"/>
                <a:gd name="T43" fmla="*/ 11 h 189"/>
                <a:gd name="T44" fmla="*/ 64 w 125"/>
                <a:gd name="T45" fmla="*/ 14 h 189"/>
                <a:gd name="T46" fmla="*/ 58 w 125"/>
                <a:gd name="T47" fmla="*/ 19 h 189"/>
                <a:gd name="T48" fmla="*/ 43 w 125"/>
                <a:gd name="T49" fmla="*/ 25 h 189"/>
                <a:gd name="T50" fmla="*/ 23 w 125"/>
                <a:gd name="T51" fmla="*/ 25 h 189"/>
                <a:gd name="T52" fmla="*/ 20 w 125"/>
                <a:gd name="T53" fmla="*/ 24 h 189"/>
                <a:gd name="T54" fmla="*/ 15 w 125"/>
                <a:gd name="T55" fmla="*/ 19 h 189"/>
                <a:gd name="T56" fmla="*/ 7 w 125"/>
                <a:gd name="T57" fmla="*/ 15 h 189"/>
                <a:gd name="T58" fmla="*/ 3 w 125"/>
                <a:gd name="T59" fmla="*/ 19 h 189"/>
                <a:gd name="T60" fmla="*/ 15 w 125"/>
                <a:gd name="T61" fmla="*/ 31 h 189"/>
                <a:gd name="T62" fmla="*/ 23 w 125"/>
                <a:gd name="T63" fmla="*/ 31 h 189"/>
                <a:gd name="T64" fmla="*/ 32 w 125"/>
                <a:gd name="T65" fmla="*/ 40 h 189"/>
                <a:gd name="T66" fmla="*/ 32 w 125"/>
                <a:gd name="T67" fmla="*/ 57 h 189"/>
                <a:gd name="T68" fmla="*/ 37 w 125"/>
                <a:gd name="T69" fmla="*/ 62 h 189"/>
                <a:gd name="T70" fmla="*/ 32 w 125"/>
                <a:gd name="T71" fmla="*/ 68 h 189"/>
                <a:gd name="T72" fmla="*/ 36 w 125"/>
                <a:gd name="T73" fmla="*/ 72 h 189"/>
                <a:gd name="T74" fmla="*/ 36 w 125"/>
                <a:gd name="T75" fmla="*/ 81 h 189"/>
                <a:gd name="T76" fmla="*/ 44 w 125"/>
                <a:gd name="T77" fmla="*/ 86 h 189"/>
                <a:gd name="T78" fmla="*/ 43 w 125"/>
                <a:gd name="T79" fmla="*/ 97 h 189"/>
                <a:gd name="T80" fmla="*/ 15 w 125"/>
                <a:gd name="T81" fmla="*/ 126 h 189"/>
                <a:gd name="T82" fmla="*/ 10 w 125"/>
                <a:gd name="T83" fmla="*/ 142 h 189"/>
                <a:gd name="T84" fmla="*/ 7 w 125"/>
                <a:gd name="T85" fmla="*/ 145 h 189"/>
                <a:gd name="T86" fmla="*/ 2 w 125"/>
                <a:gd name="T87" fmla="*/ 162 h 189"/>
                <a:gd name="T88" fmla="*/ 7 w 125"/>
                <a:gd name="T89" fmla="*/ 177 h 189"/>
                <a:gd name="T90" fmla="*/ 13 w 125"/>
                <a:gd name="T91" fmla="*/ 184 h 189"/>
                <a:gd name="T92" fmla="*/ 20 w 125"/>
                <a:gd name="T93" fmla="*/ 187 h 189"/>
                <a:gd name="T94" fmla="*/ 29 w 125"/>
                <a:gd name="T95" fmla="*/ 188 h 189"/>
                <a:gd name="T96" fmla="*/ 61 w 125"/>
                <a:gd name="T97" fmla="*/ 179 h 189"/>
                <a:gd name="T98" fmla="*/ 78 w 125"/>
                <a:gd name="T99" fmla="*/ 179 h 189"/>
                <a:gd name="T100" fmla="*/ 86 w 125"/>
                <a:gd name="T101" fmla="*/ 182 h 189"/>
                <a:gd name="T102" fmla="*/ 113 w 125"/>
                <a:gd name="T103" fmla="*/ 163 h 189"/>
                <a:gd name="T104" fmla="*/ 123 w 125"/>
                <a:gd name="T105" fmla="*/ 149 h 189"/>
                <a:gd name="T106" fmla="*/ 123 w 125"/>
                <a:gd name="T107" fmla="*/ 147 h 189"/>
                <a:gd name="T108" fmla="*/ 118 w 125"/>
                <a:gd name="T109" fmla="*/ 13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5" h="189">
                  <a:moveTo>
                    <a:pt x="118" y="130"/>
                  </a:moveTo>
                  <a:cubicBezTo>
                    <a:pt x="114" y="127"/>
                    <a:pt x="114" y="127"/>
                    <a:pt x="114" y="127"/>
                  </a:cubicBezTo>
                  <a:cubicBezTo>
                    <a:pt x="111" y="125"/>
                    <a:pt x="111" y="121"/>
                    <a:pt x="114" y="119"/>
                  </a:cubicBezTo>
                  <a:cubicBezTo>
                    <a:pt x="115" y="117"/>
                    <a:pt x="116" y="115"/>
                    <a:pt x="115" y="112"/>
                  </a:cubicBezTo>
                  <a:cubicBezTo>
                    <a:pt x="114" y="111"/>
                    <a:pt x="114" y="111"/>
                    <a:pt x="114" y="111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106" y="93"/>
                    <a:pt x="106" y="92"/>
                    <a:pt x="106" y="91"/>
                  </a:cubicBezTo>
                  <a:cubicBezTo>
                    <a:pt x="108" y="83"/>
                    <a:pt x="108" y="83"/>
                    <a:pt x="108" y="83"/>
                  </a:cubicBezTo>
                  <a:cubicBezTo>
                    <a:pt x="108" y="81"/>
                    <a:pt x="108" y="80"/>
                    <a:pt x="108" y="79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8" y="59"/>
                    <a:pt x="99" y="56"/>
                    <a:pt x="100" y="55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4" y="50"/>
                    <a:pt x="105" y="47"/>
                    <a:pt x="103" y="45"/>
                  </a:cubicBezTo>
                  <a:cubicBezTo>
                    <a:pt x="98" y="37"/>
                    <a:pt x="98" y="37"/>
                    <a:pt x="98" y="37"/>
                  </a:cubicBezTo>
                  <a:cubicBezTo>
                    <a:pt x="98" y="36"/>
                    <a:pt x="98" y="34"/>
                    <a:pt x="98" y="33"/>
                  </a:cubicBezTo>
                  <a:cubicBezTo>
                    <a:pt x="100" y="15"/>
                    <a:pt x="100" y="15"/>
                    <a:pt x="100" y="15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5" y="0"/>
                    <a:pt x="85" y="0"/>
                    <a:pt x="84" y="0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6" y="4"/>
                    <a:pt x="65" y="5"/>
                    <a:pt x="65" y="7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2"/>
                    <a:pt x="65" y="13"/>
                    <a:pt x="64" y="14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4" y="23"/>
                    <a:pt x="49" y="25"/>
                    <a:pt x="43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2" y="25"/>
                    <a:pt x="21" y="25"/>
                    <a:pt x="20" y="24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3" y="17"/>
                    <a:pt x="10" y="15"/>
                    <a:pt x="7" y="15"/>
                  </a:cubicBezTo>
                  <a:cubicBezTo>
                    <a:pt x="5" y="15"/>
                    <a:pt x="3" y="17"/>
                    <a:pt x="3" y="19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40" y="81"/>
                    <a:pt x="43" y="83"/>
                    <a:pt x="44" y="86"/>
                  </a:cubicBezTo>
                  <a:cubicBezTo>
                    <a:pt x="46" y="90"/>
                    <a:pt x="45" y="94"/>
                    <a:pt x="43" y="97"/>
                  </a:cubicBezTo>
                  <a:cubicBezTo>
                    <a:pt x="15" y="126"/>
                    <a:pt x="15" y="126"/>
                    <a:pt x="15" y="126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2" y="149"/>
                    <a:pt x="0" y="156"/>
                    <a:pt x="2" y="162"/>
                  </a:cubicBezTo>
                  <a:cubicBezTo>
                    <a:pt x="7" y="177"/>
                    <a:pt x="7" y="177"/>
                    <a:pt x="7" y="177"/>
                  </a:cubicBezTo>
                  <a:cubicBezTo>
                    <a:pt x="8" y="180"/>
                    <a:pt x="10" y="182"/>
                    <a:pt x="13" y="184"/>
                  </a:cubicBezTo>
                  <a:cubicBezTo>
                    <a:pt x="20" y="187"/>
                    <a:pt x="20" y="187"/>
                    <a:pt x="20" y="187"/>
                  </a:cubicBezTo>
                  <a:cubicBezTo>
                    <a:pt x="23" y="189"/>
                    <a:pt x="26" y="189"/>
                    <a:pt x="29" y="188"/>
                  </a:cubicBezTo>
                  <a:cubicBezTo>
                    <a:pt x="61" y="179"/>
                    <a:pt x="61" y="179"/>
                    <a:pt x="61" y="179"/>
                  </a:cubicBezTo>
                  <a:cubicBezTo>
                    <a:pt x="78" y="179"/>
                    <a:pt x="78" y="179"/>
                    <a:pt x="78" y="179"/>
                  </a:cubicBezTo>
                  <a:cubicBezTo>
                    <a:pt x="81" y="179"/>
                    <a:pt x="84" y="180"/>
                    <a:pt x="86" y="182"/>
                  </a:cubicBezTo>
                  <a:cubicBezTo>
                    <a:pt x="113" y="163"/>
                    <a:pt x="113" y="163"/>
                    <a:pt x="113" y="163"/>
                  </a:cubicBezTo>
                  <a:cubicBezTo>
                    <a:pt x="117" y="160"/>
                    <a:pt x="121" y="155"/>
                    <a:pt x="123" y="149"/>
                  </a:cubicBezTo>
                  <a:cubicBezTo>
                    <a:pt x="123" y="147"/>
                    <a:pt x="123" y="147"/>
                    <a:pt x="123" y="147"/>
                  </a:cubicBezTo>
                  <a:cubicBezTo>
                    <a:pt x="125" y="141"/>
                    <a:pt x="123" y="134"/>
                    <a:pt x="118" y="1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0">
              <a:extLst>
                <a:ext uri="{FF2B5EF4-FFF2-40B4-BE49-F238E27FC236}">
                  <a16:creationId xmlns:a16="http://schemas.microsoft.com/office/drawing/2014/main" id="{9C95D2F7-4287-4CF0-95CC-717453B303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188" y="2406651"/>
              <a:ext cx="892175" cy="750888"/>
            </a:xfrm>
            <a:custGeom>
              <a:avLst/>
              <a:gdLst>
                <a:gd name="T0" fmla="*/ 277 w 298"/>
                <a:gd name="T1" fmla="*/ 6 h 251"/>
                <a:gd name="T2" fmla="*/ 256 w 298"/>
                <a:gd name="T3" fmla="*/ 13 h 251"/>
                <a:gd name="T4" fmla="*/ 247 w 298"/>
                <a:gd name="T5" fmla="*/ 16 h 251"/>
                <a:gd name="T6" fmla="*/ 241 w 298"/>
                <a:gd name="T7" fmla="*/ 1 h 251"/>
                <a:gd name="T8" fmla="*/ 226 w 298"/>
                <a:gd name="T9" fmla="*/ 6 h 251"/>
                <a:gd name="T10" fmla="*/ 217 w 298"/>
                <a:gd name="T11" fmla="*/ 23 h 251"/>
                <a:gd name="T12" fmla="*/ 209 w 298"/>
                <a:gd name="T13" fmla="*/ 15 h 251"/>
                <a:gd name="T14" fmla="*/ 198 w 298"/>
                <a:gd name="T15" fmla="*/ 13 h 251"/>
                <a:gd name="T16" fmla="*/ 189 w 298"/>
                <a:gd name="T17" fmla="*/ 23 h 251"/>
                <a:gd name="T18" fmla="*/ 178 w 298"/>
                <a:gd name="T19" fmla="*/ 18 h 251"/>
                <a:gd name="T20" fmla="*/ 168 w 298"/>
                <a:gd name="T21" fmla="*/ 24 h 251"/>
                <a:gd name="T22" fmla="*/ 154 w 298"/>
                <a:gd name="T23" fmla="*/ 34 h 251"/>
                <a:gd name="T24" fmla="*/ 144 w 298"/>
                <a:gd name="T25" fmla="*/ 35 h 251"/>
                <a:gd name="T26" fmla="*/ 148 w 298"/>
                <a:gd name="T27" fmla="*/ 43 h 251"/>
                <a:gd name="T28" fmla="*/ 143 w 298"/>
                <a:gd name="T29" fmla="*/ 49 h 251"/>
                <a:gd name="T30" fmla="*/ 118 w 298"/>
                <a:gd name="T31" fmla="*/ 50 h 251"/>
                <a:gd name="T32" fmla="*/ 120 w 298"/>
                <a:gd name="T33" fmla="*/ 60 h 251"/>
                <a:gd name="T34" fmla="*/ 126 w 298"/>
                <a:gd name="T35" fmla="*/ 66 h 251"/>
                <a:gd name="T36" fmla="*/ 84 w 298"/>
                <a:gd name="T37" fmla="*/ 118 h 251"/>
                <a:gd name="T38" fmla="*/ 69 w 298"/>
                <a:gd name="T39" fmla="*/ 125 h 251"/>
                <a:gd name="T40" fmla="*/ 53 w 298"/>
                <a:gd name="T41" fmla="*/ 139 h 251"/>
                <a:gd name="T42" fmla="*/ 60 w 298"/>
                <a:gd name="T43" fmla="*/ 143 h 251"/>
                <a:gd name="T44" fmla="*/ 75 w 298"/>
                <a:gd name="T45" fmla="*/ 149 h 251"/>
                <a:gd name="T46" fmla="*/ 44 w 298"/>
                <a:gd name="T47" fmla="*/ 155 h 251"/>
                <a:gd name="T48" fmla="*/ 3 w 298"/>
                <a:gd name="T49" fmla="*/ 208 h 251"/>
                <a:gd name="T50" fmla="*/ 14 w 298"/>
                <a:gd name="T51" fmla="*/ 211 h 251"/>
                <a:gd name="T52" fmla="*/ 6 w 298"/>
                <a:gd name="T53" fmla="*/ 223 h 251"/>
                <a:gd name="T54" fmla="*/ 13 w 298"/>
                <a:gd name="T55" fmla="*/ 242 h 251"/>
                <a:gd name="T56" fmla="*/ 35 w 298"/>
                <a:gd name="T57" fmla="*/ 249 h 251"/>
                <a:gd name="T58" fmla="*/ 74 w 298"/>
                <a:gd name="T59" fmla="*/ 238 h 251"/>
                <a:gd name="T60" fmla="*/ 87 w 298"/>
                <a:gd name="T61" fmla="*/ 234 h 251"/>
                <a:gd name="T62" fmla="*/ 91 w 298"/>
                <a:gd name="T63" fmla="*/ 216 h 251"/>
                <a:gd name="T64" fmla="*/ 98 w 298"/>
                <a:gd name="T65" fmla="*/ 208 h 251"/>
                <a:gd name="T66" fmla="*/ 94 w 298"/>
                <a:gd name="T67" fmla="*/ 201 h 251"/>
                <a:gd name="T68" fmla="*/ 89 w 298"/>
                <a:gd name="T69" fmla="*/ 196 h 251"/>
                <a:gd name="T70" fmla="*/ 97 w 298"/>
                <a:gd name="T71" fmla="*/ 192 h 251"/>
                <a:gd name="T72" fmla="*/ 96 w 298"/>
                <a:gd name="T73" fmla="*/ 187 h 251"/>
                <a:gd name="T74" fmla="*/ 90 w 298"/>
                <a:gd name="T75" fmla="*/ 180 h 251"/>
                <a:gd name="T76" fmla="*/ 103 w 298"/>
                <a:gd name="T77" fmla="*/ 145 h 251"/>
                <a:gd name="T78" fmla="*/ 120 w 298"/>
                <a:gd name="T79" fmla="*/ 135 h 251"/>
                <a:gd name="T80" fmla="*/ 119 w 298"/>
                <a:gd name="T81" fmla="*/ 130 h 251"/>
                <a:gd name="T82" fmla="*/ 122 w 298"/>
                <a:gd name="T83" fmla="*/ 110 h 251"/>
                <a:gd name="T84" fmla="*/ 123 w 298"/>
                <a:gd name="T85" fmla="*/ 98 h 251"/>
                <a:gd name="T86" fmla="*/ 129 w 298"/>
                <a:gd name="T87" fmla="*/ 97 h 251"/>
                <a:gd name="T88" fmla="*/ 143 w 298"/>
                <a:gd name="T89" fmla="*/ 82 h 251"/>
                <a:gd name="T90" fmla="*/ 144 w 298"/>
                <a:gd name="T91" fmla="*/ 70 h 251"/>
                <a:gd name="T92" fmla="*/ 159 w 298"/>
                <a:gd name="T93" fmla="*/ 57 h 251"/>
                <a:gd name="T94" fmla="*/ 169 w 298"/>
                <a:gd name="T95" fmla="*/ 53 h 251"/>
                <a:gd name="T96" fmla="*/ 173 w 298"/>
                <a:gd name="T97" fmla="*/ 45 h 251"/>
                <a:gd name="T98" fmla="*/ 180 w 298"/>
                <a:gd name="T99" fmla="*/ 49 h 251"/>
                <a:gd name="T100" fmla="*/ 189 w 298"/>
                <a:gd name="T101" fmla="*/ 53 h 251"/>
                <a:gd name="T102" fmla="*/ 193 w 298"/>
                <a:gd name="T103" fmla="*/ 42 h 251"/>
                <a:gd name="T104" fmla="*/ 205 w 298"/>
                <a:gd name="T105" fmla="*/ 41 h 251"/>
                <a:gd name="T106" fmla="*/ 213 w 298"/>
                <a:gd name="T107" fmla="*/ 47 h 251"/>
                <a:gd name="T108" fmla="*/ 248 w 298"/>
                <a:gd name="T109" fmla="*/ 41 h 251"/>
                <a:gd name="T110" fmla="*/ 255 w 298"/>
                <a:gd name="T111" fmla="*/ 33 h 251"/>
                <a:gd name="T112" fmla="*/ 258 w 298"/>
                <a:gd name="T113" fmla="*/ 25 h 251"/>
                <a:gd name="T114" fmla="*/ 276 w 298"/>
                <a:gd name="T115" fmla="*/ 22 h 251"/>
                <a:gd name="T116" fmla="*/ 290 w 298"/>
                <a:gd name="T117" fmla="*/ 21 h 251"/>
                <a:gd name="T118" fmla="*/ 297 w 298"/>
                <a:gd name="T119" fmla="*/ 16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8" h="251">
                  <a:moveTo>
                    <a:pt x="289" y="8"/>
                  </a:moveTo>
                  <a:cubicBezTo>
                    <a:pt x="285" y="8"/>
                    <a:pt x="281" y="8"/>
                    <a:pt x="277" y="6"/>
                  </a:cubicBezTo>
                  <a:cubicBezTo>
                    <a:pt x="272" y="2"/>
                    <a:pt x="265" y="3"/>
                    <a:pt x="261" y="7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4" y="15"/>
                    <a:pt x="252" y="16"/>
                    <a:pt x="250" y="16"/>
                  </a:cubicBezTo>
                  <a:cubicBezTo>
                    <a:pt x="247" y="16"/>
                    <a:pt x="247" y="16"/>
                    <a:pt x="247" y="16"/>
                  </a:cubicBezTo>
                  <a:cubicBezTo>
                    <a:pt x="243" y="16"/>
                    <a:pt x="241" y="11"/>
                    <a:pt x="243" y="8"/>
                  </a:cubicBezTo>
                  <a:cubicBezTo>
                    <a:pt x="246" y="5"/>
                    <a:pt x="244" y="1"/>
                    <a:pt x="241" y="1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2" y="0"/>
                    <a:pt x="227" y="2"/>
                    <a:pt x="226" y="6"/>
                  </a:cubicBezTo>
                  <a:cubicBezTo>
                    <a:pt x="222" y="17"/>
                    <a:pt x="222" y="17"/>
                    <a:pt x="222" y="17"/>
                  </a:cubicBezTo>
                  <a:cubicBezTo>
                    <a:pt x="222" y="20"/>
                    <a:pt x="220" y="22"/>
                    <a:pt x="217" y="23"/>
                  </a:cubicBezTo>
                  <a:cubicBezTo>
                    <a:pt x="213" y="24"/>
                    <a:pt x="210" y="21"/>
                    <a:pt x="209" y="17"/>
                  </a:cubicBezTo>
                  <a:cubicBezTo>
                    <a:pt x="209" y="15"/>
                    <a:pt x="209" y="15"/>
                    <a:pt x="209" y="15"/>
                  </a:cubicBezTo>
                  <a:cubicBezTo>
                    <a:pt x="208" y="12"/>
                    <a:pt x="205" y="9"/>
                    <a:pt x="202" y="9"/>
                  </a:cubicBezTo>
                  <a:cubicBezTo>
                    <a:pt x="200" y="9"/>
                    <a:pt x="198" y="11"/>
                    <a:pt x="198" y="13"/>
                  </a:cubicBezTo>
                  <a:cubicBezTo>
                    <a:pt x="197" y="19"/>
                    <a:pt x="197" y="19"/>
                    <a:pt x="197" y="19"/>
                  </a:cubicBezTo>
                  <a:cubicBezTo>
                    <a:pt x="197" y="23"/>
                    <a:pt x="193" y="25"/>
                    <a:pt x="189" y="23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5" y="17"/>
                    <a:pt x="181" y="16"/>
                    <a:pt x="178" y="18"/>
                  </a:cubicBezTo>
                  <a:cubicBezTo>
                    <a:pt x="173" y="20"/>
                    <a:pt x="173" y="20"/>
                    <a:pt x="173" y="20"/>
                  </a:cubicBezTo>
                  <a:cubicBezTo>
                    <a:pt x="171" y="21"/>
                    <a:pt x="169" y="22"/>
                    <a:pt x="168" y="24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1" y="33"/>
                    <a:pt x="157" y="35"/>
                    <a:pt x="154" y="34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47" y="32"/>
                    <a:pt x="145" y="33"/>
                    <a:pt x="144" y="35"/>
                  </a:cubicBezTo>
                  <a:cubicBezTo>
                    <a:pt x="143" y="38"/>
                    <a:pt x="143" y="41"/>
                    <a:pt x="146" y="42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8" y="44"/>
                    <a:pt x="149" y="45"/>
                    <a:pt x="149" y="45"/>
                  </a:cubicBezTo>
                  <a:cubicBezTo>
                    <a:pt x="148" y="48"/>
                    <a:pt x="145" y="50"/>
                    <a:pt x="143" y="49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2" y="46"/>
                    <a:pt x="120" y="47"/>
                    <a:pt x="118" y="50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6" y="55"/>
                    <a:pt x="117" y="58"/>
                    <a:pt x="120" y="60"/>
                  </a:cubicBezTo>
                  <a:cubicBezTo>
                    <a:pt x="125" y="62"/>
                    <a:pt x="125" y="62"/>
                    <a:pt x="125" y="62"/>
                  </a:cubicBezTo>
                  <a:cubicBezTo>
                    <a:pt x="126" y="63"/>
                    <a:pt x="127" y="65"/>
                    <a:pt x="126" y="66"/>
                  </a:cubicBezTo>
                  <a:cubicBezTo>
                    <a:pt x="98" y="95"/>
                    <a:pt x="98" y="95"/>
                    <a:pt x="98" y="95"/>
                  </a:cubicBezTo>
                  <a:cubicBezTo>
                    <a:pt x="84" y="118"/>
                    <a:pt x="84" y="118"/>
                    <a:pt x="84" y="118"/>
                  </a:cubicBezTo>
                  <a:cubicBezTo>
                    <a:pt x="82" y="120"/>
                    <a:pt x="80" y="122"/>
                    <a:pt x="78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7" y="125"/>
                    <a:pt x="65" y="126"/>
                    <a:pt x="64" y="127"/>
                  </a:cubicBezTo>
                  <a:cubicBezTo>
                    <a:pt x="53" y="139"/>
                    <a:pt x="53" y="139"/>
                    <a:pt x="53" y="139"/>
                  </a:cubicBezTo>
                  <a:cubicBezTo>
                    <a:pt x="52" y="140"/>
                    <a:pt x="52" y="142"/>
                    <a:pt x="53" y="143"/>
                  </a:cubicBezTo>
                  <a:cubicBezTo>
                    <a:pt x="55" y="145"/>
                    <a:pt x="58" y="145"/>
                    <a:pt x="60" y="143"/>
                  </a:cubicBezTo>
                  <a:cubicBezTo>
                    <a:pt x="74" y="132"/>
                    <a:pt x="74" y="132"/>
                    <a:pt x="74" y="132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60" y="156"/>
                    <a:pt x="60" y="156"/>
                    <a:pt x="60" y="156"/>
                  </a:cubicBezTo>
                  <a:cubicBezTo>
                    <a:pt x="44" y="155"/>
                    <a:pt x="44" y="155"/>
                    <a:pt x="44" y="155"/>
                  </a:cubicBezTo>
                  <a:cubicBezTo>
                    <a:pt x="16" y="173"/>
                    <a:pt x="16" y="173"/>
                    <a:pt x="16" y="173"/>
                  </a:cubicBezTo>
                  <a:cubicBezTo>
                    <a:pt x="5" y="181"/>
                    <a:pt x="0" y="195"/>
                    <a:pt x="3" y="208"/>
                  </a:cubicBezTo>
                  <a:cubicBezTo>
                    <a:pt x="12" y="209"/>
                    <a:pt x="12" y="209"/>
                    <a:pt x="12" y="209"/>
                  </a:cubicBezTo>
                  <a:cubicBezTo>
                    <a:pt x="13" y="209"/>
                    <a:pt x="14" y="210"/>
                    <a:pt x="14" y="211"/>
                  </a:cubicBezTo>
                  <a:cubicBezTo>
                    <a:pt x="16" y="214"/>
                    <a:pt x="13" y="217"/>
                    <a:pt x="10" y="217"/>
                  </a:cubicBezTo>
                  <a:cubicBezTo>
                    <a:pt x="7" y="217"/>
                    <a:pt x="5" y="220"/>
                    <a:pt x="6" y="223"/>
                  </a:cubicBezTo>
                  <a:cubicBezTo>
                    <a:pt x="9" y="236"/>
                    <a:pt x="9" y="236"/>
                    <a:pt x="9" y="236"/>
                  </a:cubicBezTo>
                  <a:cubicBezTo>
                    <a:pt x="9" y="238"/>
                    <a:pt x="11" y="240"/>
                    <a:pt x="13" y="242"/>
                  </a:cubicBezTo>
                  <a:cubicBezTo>
                    <a:pt x="23" y="248"/>
                    <a:pt x="23" y="248"/>
                    <a:pt x="23" y="248"/>
                  </a:cubicBezTo>
                  <a:cubicBezTo>
                    <a:pt x="26" y="250"/>
                    <a:pt x="31" y="251"/>
                    <a:pt x="35" y="249"/>
                  </a:cubicBezTo>
                  <a:cubicBezTo>
                    <a:pt x="44" y="244"/>
                    <a:pt x="44" y="244"/>
                    <a:pt x="44" y="244"/>
                  </a:cubicBezTo>
                  <a:cubicBezTo>
                    <a:pt x="55" y="236"/>
                    <a:pt x="68" y="224"/>
                    <a:pt x="74" y="238"/>
                  </a:cubicBezTo>
                  <a:cubicBezTo>
                    <a:pt x="83" y="238"/>
                    <a:pt x="83" y="238"/>
                    <a:pt x="83" y="238"/>
                  </a:cubicBezTo>
                  <a:cubicBezTo>
                    <a:pt x="85" y="238"/>
                    <a:pt x="87" y="237"/>
                    <a:pt x="87" y="234"/>
                  </a:cubicBezTo>
                  <a:cubicBezTo>
                    <a:pt x="87" y="225"/>
                    <a:pt x="87" y="225"/>
                    <a:pt x="87" y="225"/>
                  </a:cubicBezTo>
                  <a:cubicBezTo>
                    <a:pt x="87" y="222"/>
                    <a:pt x="89" y="219"/>
                    <a:pt x="91" y="216"/>
                  </a:cubicBezTo>
                  <a:cubicBezTo>
                    <a:pt x="97" y="210"/>
                    <a:pt x="97" y="210"/>
                    <a:pt x="97" y="210"/>
                  </a:cubicBezTo>
                  <a:cubicBezTo>
                    <a:pt x="97" y="210"/>
                    <a:pt x="98" y="209"/>
                    <a:pt x="98" y="208"/>
                  </a:cubicBezTo>
                  <a:cubicBezTo>
                    <a:pt x="98" y="205"/>
                    <a:pt x="98" y="205"/>
                    <a:pt x="98" y="205"/>
                  </a:cubicBezTo>
                  <a:cubicBezTo>
                    <a:pt x="98" y="203"/>
                    <a:pt x="96" y="201"/>
                    <a:pt x="94" y="201"/>
                  </a:cubicBezTo>
                  <a:cubicBezTo>
                    <a:pt x="89" y="201"/>
                    <a:pt x="89" y="201"/>
                    <a:pt x="89" y="201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93" y="196"/>
                    <a:pt x="93" y="196"/>
                    <a:pt x="93" y="196"/>
                  </a:cubicBezTo>
                  <a:cubicBezTo>
                    <a:pt x="95" y="196"/>
                    <a:pt x="97" y="195"/>
                    <a:pt x="97" y="192"/>
                  </a:cubicBezTo>
                  <a:cubicBezTo>
                    <a:pt x="97" y="189"/>
                    <a:pt x="97" y="189"/>
                    <a:pt x="97" y="189"/>
                  </a:cubicBezTo>
                  <a:cubicBezTo>
                    <a:pt x="97" y="188"/>
                    <a:pt x="96" y="187"/>
                    <a:pt x="96" y="187"/>
                  </a:cubicBezTo>
                  <a:cubicBezTo>
                    <a:pt x="91" y="182"/>
                    <a:pt x="91" y="182"/>
                    <a:pt x="91" y="182"/>
                  </a:cubicBezTo>
                  <a:cubicBezTo>
                    <a:pt x="91" y="182"/>
                    <a:pt x="90" y="181"/>
                    <a:pt x="90" y="180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7"/>
                    <a:pt x="95" y="149"/>
                    <a:pt x="103" y="145"/>
                  </a:cubicBezTo>
                  <a:cubicBezTo>
                    <a:pt x="118" y="139"/>
                    <a:pt x="118" y="139"/>
                    <a:pt x="118" y="139"/>
                  </a:cubicBezTo>
                  <a:cubicBezTo>
                    <a:pt x="119" y="139"/>
                    <a:pt x="120" y="137"/>
                    <a:pt x="120" y="135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0" y="131"/>
                    <a:pt x="120" y="130"/>
                    <a:pt x="119" y="130"/>
                  </a:cubicBezTo>
                  <a:cubicBezTo>
                    <a:pt x="115" y="126"/>
                    <a:pt x="115" y="120"/>
                    <a:pt x="118" y="115"/>
                  </a:cubicBezTo>
                  <a:cubicBezTo>
                    <a:pt x="122" y="110"/>
                    <a:pt x="122" y="110"/>
                    <a:pt x="122" y="110"/>
                  </a:cubicBezTo>
                  <a:cubicBezTo>
                    <a:pt x="123" y="109"/>
                    <a:pt x="123" y="108"/>
                    <a:pt x="123" y="107"/>
                  </a:cubicBezTo>
                  <a:cubicBezTo>
                    <a:pt x="123" y="98"/>
                    <a:pt x="123" y="98"/>
                    <a:pt x="123" y="98"/>
                  </a:cubicBezTo>
                  <a:cubicBezTo>
                    <a:pt x="126" y="98"/>
                    <a:pt x="126" y="98"/>
                    <a:pt x="126" y="98"/>
                  </a:cubicBezTo>
                  <a:cubicBezTo>
                    <a:pt x="128" y="98"/>
                    <a:pt x="129" y="98"/>
                    <a:pt x="129" y="97"/>
                  </a:cubicBezTo>
                  <a:cubicBezTo>
                    <a:pt x="142" y="85"/>
                    <a:pt x="142" y="85"/>
                    <a:pt x="142" y="85"/>
                  </a:cubicBezTo>
                  <a:cubicBezTo>
                    <a:pt x="143" y="84"/>
                    <a:pt x="143" y="83"/>
                    <a:pt x="143" y="82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43" y="71"/>
                    <a:pt x="143" y="70"/>
                    <a:pt x="144" y="70"/>
                  </a:cubicBezTo>
                  <a:cubicBezTo>
                    <a:pt x="156" y="58"/>
                    <a:pt x="156" y="58"/>
                    <a:pt x="156" y="58"/>
                  </a:cubicBezTo>
                  <a:cubicBezTo>
                    <a:pt x="157" y="57"/>
                    <a:pt x="158" y="57"/>
                    <a:pt x="159" y="57"/>
                  </a:cubicBezTo>
                  <a:cubicBezTo>
                    <a:pt x="165" y="57"/>
                    <a:pt x="165" y="57"/>
                    <a:pt x="165" y="57"/>
                  </a:cubicBezTo>
                  <a:cubicBezTo>
                    <a:pt x="167" y="57"/>
                    <a:pt x="169" y="55"/>
                    <a:pt x="169" y="53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9" y="47"/>
                    <a:pt x="171" y="45"/>
                    <a:pt x="173" y="45"/>
                  </a:cubicBezTo>
                  <a:cubicBezTo>
                    <a:pt x="176" y="45"/>
                    <a:pt x="176" y="45"/>
                    <a:pt x="176" y="45"/>
                  </a:cubicBezTo>
                  <a:cubicBezTo>
                    <a:pt x="178" y="45"/>
                    <a:pt x="180" y="47"/>
                    <a:pt x="180" y="49"/>
                  </a:cubicBezTo>
                  <a:cubicBezTo>
                    <a:pt x="180" y="51"/>
                    <a:pt x="182" y="53"/>
                    <a:pt x="184" y="53"/>
                  </a:cubicBezTo>
                  <a:cubicBezTo>
                    <a:pt x="189" y="53"/>
                    <a:pt x="189" y="53"/>
                    <a:pt x="189" y="53"/>
                  </a:cubicBezTo>
                  <a:cubicBezTo>
                    <a:pt x="191" y="53"/>
                    <a:pt x="193" y="51"/>
                    <a:pt x="193" y="49"/>
                  </a:cubicBezTo>
                  <a:cubicBezTo>
                    <a:pt x="193" y="42"/>
                    <a:pt x="193" y="42"/>
                    <a:pt x="193" y="42"/>
                  </a:cubicBezTo>
                  <a:cubicBezTo>
                    <a:pt x="193" y="39"/>
                    <a:pt x="195" y="37"/>
                    <a:pt x="197" y="37"/>
                  </a:cubicBezTo>
                  <a:cubicBezTo>
                    <a:pt x="200" y="37"/>
                    <a:pt x="203" y="39"/>
                    <a:pt x="205" y="41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1" y="47"/>
                    <a:pt x="212" y="47"/>
                    <a:pt x="213" y="47"/>
                  </a:cubicBezTo>
                  <a:cubicBezTo>
                    <a:pt x="233" y="47"/>
                    <a:pt x="233" y="47"/>
                    <a:pt x="233" y="47"/>
                  </a:cubicBezTo>
                  <a:cubicBezTo>
                    <a:pt x="239" y="47"/>
                    <a:pt x="244" y="45"/>
                    <a:pt x="248" y="41"/>
                  </a:cubicBezTo>
                  <a:cubicBezTo>
                    <a:pt x="254" y="36"/>
                    <a:pt x="254" y="36"/>
                    <a:pt x="254" y="36"/>
                  </a:cubicBezTo>
                  <a:cubicBezTo>
                    <a:pt x="255" y="35"/>
                    <a:pt x="255" y="34"/>
                    <a:pt x="255" y="33"/>
                  </a:cubicBezTo>
                  <a:cubicBezTo>
                    <a:pt x="255" y="29"/>
                    <a:pt x="255" y="29"/>
                    <a:pt x="255" y="29"/>
                  </a:cubicBezTo>
                  <a:cubicBezTo>
                    <a:pt x="255" y="27"/>
                    <a:pt x="256" y="26"/>
                    <a:pt x="258" y="25"/>
                  </a:cubicBezTo>
                  <a:cubicBezTo>
                    <a:pt x="274" y="22"/>
                    <a:pt x="274" y="22"/>
                    <a:pt x="274" y="22"/>
                  </a:cubicBezTo>
                  <a:cubicBezTo>
                    <a:pt x="275" y="22"/>
                    <a:pt x="275" y="22"/>
                    <a:pt x="276" y="22"/>
                  </a:cubicBezTo>
                  <a:cubicBezTo>
                    <a:pt x="276" y="21"/>
                    <a:pt x="276" y="21"/>
                    <a:pt x="276" y="21"/>
                  </a:cubicBezTo>
                  <a:cubicBezTo>
                    <a:pt x="290" y="21"/>
                    <a:pt x="290" y="21"/>
                    <a:pt x="290" y="21"/>
                  </a:cubicBezTo>
                  <a:cubicBezTo>
                    <a:pt x="293" y="22"/>
                    <a:pt x="296" y="19"/>
                    <a:pt x="297" y="16"/>
                  </a:cubicBezTo>
                  <a:cubicBezTo>
                    <a:pt x="297" y="16"/>
                    <a:pt x="297" y="16"/>
                    <a:pt x="297" y="16"/>
                  </a:cubicBezTo>
                  <a:cubicBezTo>
                    <a:pt x="298" y="11"/>
                    <a:pt x="294" y="7"/>
                    <a:pt x="289" y="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11">
              <a:extLst>
                <a:ext uri="{FF2B5EF4-FFF2-40B4-BE49-F238E27FC236}">
                  <a16:creationId xmlns:a16="http://schemas.microsoft.com/office/drawing/2014/main" id="{EF6356D0-FEB5-454E-9DC1-5F15B10457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3933826"/>
              <a:ext cx="50800" cy="84138"/>
            </a:xfrm>
            <a:custGeom>
              <a:avLst/>
              <a:gdLst>
                <a:gd name="T0" fmla="*/ 14 w 17"/>
                <a:gd name="T1" fmla="*/ 1 h 28"/>
                <a:gd name="T2" fmla="*/ 10 w 17"/>
                <a:gd name="T3" fmla="*/ 0 h 28"/>
                <a:gd name="T4" fmla="*/ 9 w 17"/>
                <a:gd name="T5" fmla="*/ 0 h 28"/>
                <a:gd name="T6" fmla="*/ 6 w 17"/>
                <a:gd name="T7" fmla="*/ 2 h 28"/>
                <a:gd name="T8" fmla="*/ 2 w 17"/>
                <a:gd name="T9" fmla="*/ 2 h 28"/>
                <a:gd name="T10" fmla="*/ 1 w 17"/>
                <a:gd name="T11" fmla="*/ 9 h 28"/>
                <a:gd name="T12" fmla="*/ 3 w 17"/>
                <a:gd name="T13" fmla="*/ 12 h 28"/>
                <a:gd name="T14" fmla="*/ 3 w 17"/>
                <a:gd name="T15" fmla="*/ 28 h 28"/>
                <a:gd name="T16" fmla="*/ 5 w 17"/>
                <a:gd name="T17" fmla="*/ 28 h 28"/>
                <a:gd name="T18" fmla="*/ 11 w 17"/>
                <a:gd name="T19" fmla="*/ 25 h 28"/>
                <a:gd name="T20" fmla="*/ 13 w 17"/>
                <a:gd name="T21" fmla="*/ 22 h 28"/>
                <a:gd name="T22" fmla="*/ 16 w 17"/>
                <a:gd name="T23" fmla="*/ 17 h 28"/>
                <a:gd name="T24" fmla="*/ 16 w 17"/>
                <a:gd name="T25" fmla="*/ 10 h 28"/>
                <a:gd name="T26" fmla="*/ 16 w 17"/>
                <a:gd name="T27" fmla="*/ 8 h 28"/>
                <a:gd name="T28" fmla="*/ 14 w 17"/>
                <a:gd name="T29" fmla="*/ 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28">
                  <a:moveTo>
                    <a:pt x="14" y="1"/>
                  </a:moveTo>
                  <a:cubicBezTo>
                    <a:pt x="13" y="0"/>
                    <a:pt x="12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3" y="1"/>
                    <a:pt x="2" y="2"/>
                  </a:cubicBezTo>
                  <a:cubicBezTo>
                    <a:pt x="0" y="3"/>
                    <a:pt x="1" y="9"/>
                    <a:pt x="1" y="9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7" y="28"/>
                    <a:pt x="9" y="27"/>
                    <a:pt x="11" y="25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5" y="21"/>
                    <a:pt x="16" y="19"/>
                    <a:pt x="16" y="17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5"/>
                    <a:pt x="16" y="2"/>
                    <a:pt x="14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2">
              <a:extLst>
                <a:ext uri="{FF2B5EF4-FFF2-40B4-BE49-F238E27FC236}">
                  <a16:creationId xmlns:a16="http://schemas.microsoft.com/office/drawing/2014/main" id="{762EE0F8-B06D-4860-B86E-B3CA686A9D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063" y="3862388"/>
              <a:ext cx="30163" cy="47625"/>
            </a:xfrm>
            <a:custGeom>
              <a:avLst/>
              <a:gdLst>
                <a:gd name="T0" fmla="*/ 4 w 10"/>
                <a:gd name="T1" fmla="*/ 0 h 16"/>
                <a:gd name="T2" fmla="*/ 0 w 10"/>
                <a:gd name="T3" fmla="*/ 4 h 16"/>
                <a:gd name="T4" fmla="*/ 0 w 10"/>
                <a:gd name="T5" fmla="*/ 11 h 16"/>
                <a:gd name="T6" fmla="*/ 2 w 10"/>
                <a:gd name="T7" fmla="*/ 15 h 16"/>
                <a:gd name="T8" fmla="*/ 4 w 10"/>
                <a:gd name="T9" fmla="*/ 15 h 16"/>
                <a:gd name="T10" fmla="*/ 4 w 10"/>
                <a:gd name="T11" fmla="*/ 9 h 16"/>
                <a:gd name="T12" fmla="*/ 9 w 10"/>
                <a:gd name="T13" fmla="*/ 9 h 16"/>
                <a:gd name="T14" fmla="*/ 9 w 10"/>
                <a:gd name="T15" fmla="*/ 4 h 16"/>
                <a:gd name="T16" fmla="*/ 4 w 10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6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"/>
                    <a:pt x="0" y="14"/>
                    <a:pt x="2" y="15"/>
                  </a:cubicBezTo>
                  <a:cubicBezTo>
                    <a:pt x="2" y="15"/>
                    <a:pt x="3" y="16"/>
                    <a:pt x="4" y="15"/>
                  </a:cubicBezTo>
                  <a:cubicBezTo>
                    <a:pt x="5" y="14"/>
                    <a:pt x="4" y="9"/>
                    <a:pt x="4" y="9"/>
                  </a:cubicBezTo>
                  <a:cubicBezTo>
                    <a:pt x="4" y="9"/>
                    <a:pt x="8" y="10"/>
                    <a:pt x="9" y="9"/>
                  </a:cubicBezTo>
                  <a:cubicBezTo>
                    <a:pt x="10" y="8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13">
              <a:extLst>
                <a:ext uri="{FF2B5EF4-FFF2-40B4-BE49-F238E27FC236}">
                  <a16:creationId xmlns:a16="http://schemas.microsoft.com/office/drawing/2014/main" id="{60B6721B-9A91-4C41-B5AB-76B173E7B1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300" y="3814763"/>
              <a:ext cx="442913" cy="315913"/>
            </a:xfrm>
            <a:custGeom>
              <a:avLst/>
              <a:gdLst>
                <a:gd name="T0" fmla="*/ 120 w 148"/>
                <a:gd name="T1" fmla="*/ 13 h 106"/>
                <a:gd name="T2" fmla="*/ 113 w 148"/>
                <a:gd name="T3" fmla="*/ 14 h 106"/>
                <a:gd name="T4" fmla="*/ 88 w 148"/>
                <a:gd name="T5" fmla="*/ 5 h 106"/>
                <a:gd name="T6" fmla="*/ 85 w 148"/>
                <a:gd name="T7" fmla="*/ 6 h 106"/>
                <a:gd name="T8" fmla="*/ 68 w 148"/>
                <a:gd name="T9" fmla="*/ 5 h 106"/>
                <a:gd name="T10" fmla="*/ 68 w 148"/>
                <a:gd name="T11" fmla="*/ 5 h 106"/>
                <a:gd name="T12" fmla="*/ 56 w 148"/>
                <a:gd name="T13" fmla="*/ 5 h 106"/>
                <a:gd name="T14" fmla="*/ 54 w 148"/>
                <a:gd name="T15" fmla="*/ 5 h 106"/>
                <a:gd name="T16" fmla="*/ 49 w 148"/>
                <a:gd name="T17" fmla="*/ 2 h 106"/>
                <a:gd name="T18" fmla="*/ 47 w 148"/>
                <a:gd name="T19" fmla="*/ 2 h 106"/>
                <a:gd name="T20" fmla="*/ 22 w 148"/>
                <a:gd name="T21" fmla="*/ 0 h 106"/>
                <a:gd name="T22" fmla="*/ 22 w 148"/>
                <a:gd name="T23" fmla="*/ 0 h 106"/>
                <a:gd name="T24" fmla="*/ 12 w 148"/>
                <a:gd name="T25" fmla="*/ 0 h 106"/>
                <a:gd name="T26" fmla="*/ 9 w 148"/>
                <a:gd name="T27" fmla="*/ 1 h 106"/>
                <a:gd name="T28" fmla="*/ 2 w 148"/>
                <a:gd name="T29" fmla="*/ 7 h 106"/>
                <a:gd name="T30" fmla="*/ 0 w 148"/>
                <a:gd name="T31" fmla="*/ 12 h 106"/>
                <a:gd name="T32" fmla="*/ 2 w 148"/>
                <a:gd name="T33" fmla="*/ 20 h 106"/>
                <a:gd name="T34" fmla="*/ 3 w 148"/>
                <a:gd name="T35" fmla="*/ 22 h 106"/>
                <a:gd name="T36" fmla="*/ 5 w 148"/>
                <a:gd name="T37" fmla="*/ 25 h 106"/>
                <a:gd name="T38" fmla="*/ 6 w 148"/>
                <a:gd name="T39" fmla="*/ 27 h 106"/>
                <a:gd name="T40" fmla="*/ 13 w 148"/>
                <a:gd name="T41" fmla="*/ 29 h 106"/>
                <a:gd name="T42" fmla="*/ 29 w 148"/>
                <a:gd name="T43" fmla="*/ 26 h 106"/>
                <a:gd name="T44" fmla="*/ 34 w 148"/>
                <a:gd name="T45" fmla="*/ 28 h 106"/>
                <a:gd name="T46" fmla="*/ 35 w 148"/>
                <a:gd name="T47" fmla="*/ 35 h 106"/>
                <a:gd name="T48" fmla="*/ 34 w 148"/>
                <a:gd name="T49" fmla="*/ 36 h 106"/>
                <a:gd name="T50" fmla="*/ 32 w 148"/>
                <a:gd name="T51" fmla="*/ 38 h 106"/>
                <a:gd name="T52" fmla="*/ 31 w 148"/>
                <a:gd name="T53" fmla="*/ 38 h 106"/>
                <a:gd name="T54" fmla="*/ 28 w 148"/>
                <a:gd name="T55" fmla="*/ 43 h 106"/>
                <a:gd name="T56" fmla="*/ 25 w 148"/>
                <a:gd name="T57" fmla="*/ 62 h 106"/>
                <a:gd name="T58" fmla="*/ 24 w 148"/>
                <a:gd name="T59" fmla="*/ 65 h 106"/>
                <a:gd name="T60" fmla="*/ 22 w 148"/>
                <a:gd name="T61" fmla="*/ 67 h 106"/>
                <a:gd name="T62" fmla="*/ 24 w 148"/>
                <a:gd name="T63" fmla="*/ 70 h 106"/>
                <a:gd name="T64" fmla="*/ 25 w 148"/>
                <a:gd name="T65" fmla="*/ 73 h 106"/>
                <a:gd name="T66" fmla="*/ 23 w 148"/>
                <a:gd name="T67" fmla="*/ 91 h 106"/>
                <a:gd name="T68" fmla="*/ 27 w 148"/>
                <a:gd name="T69" fmla="*/ 92 h 106"/>
                <a:gd name="T70" fmla="*/ 28 w 148"/>
                <a:gd name="T71" fmla="*/ 94 h 106"/>
                <a:gd name="T72" fmla="*/ 30 w 148"/>
                <a:gd name="T73" fmla="*/ 98 h 106"/>
                <a:gd name="T74" fmla="*/ 33 w 148"/>
                <a:gd name="T75" fmla="*/ 102 h 106"/>
                <a:gd name="T76" fmla="*/ 37 w 148"/>
                <a:gd name="T77" fmla="*/ 105 h 106"/>
                <a:gd name="T78" fmla="*/ 41 w 148"/>
                <a:gd name="T79" fmla="*/ 106 h 106"/>
                <a:gd name="T80" fmla="*/ 50 w 148"/>
                <a:gd name="T81" fmla="*/ 103 h 106"/>
                <a:gd name="T82" fmla="*/ 51 w 148"/>
                <a:gd name="T83" fmla="*/ 102 h 106"/>
                <a:gd name="T84" fmla="*/ 65 w 148"/>
                <a:gd name="T85" fmla="*/ 99 h 106"/>
                <a:gd name="T86" fmla="*/ 66 w 148"/>
                <a:gd name="T87" fmla="*/ 99 h 106"/>
                <a:gd name="T88" fmla="*/ 75 w 148"/>
                <a:gd name="T89" fmla="*/ 99 h 106"/>
                <a:gd name="T90" fmla="*/ 78 w 148"/>
                <a:gd name="T91" fmla="*/ 98 h 106"/>
                <a:gd name="T92" fmla="*/ 89 w 148"/>
                <a:gd name="T93" fmla="*/ 90 h 106"/>
                <a:gd name="T94" fmla="*/ 89 w 148"/>
                <a:gd name="T95" fmla="*/ 90 h 106"/>
                <a:gd name="T96" fmla="*/ 99 w 148"/>
                <a:gd name="T97" fmla="*/ 81 h 106"/>
                <a:gd name="T98" fmla="*/ 109 w 148"/>
                <a:gd name="T99" fmla="*/ 72 h 106"/>
                <a:gd name="T100" fmla="*/ 104 w 148"/>
                <a:gd name="T101" fmla="*/ 64 h 106"/>
                <a:gd name="T102" fmla="*/ 108 w 148"/>
                <a:gd name="T103" fmla="*/ 52 h 106"/>
                <a:gd name="T104" fmla="*/ 121 w 148"/>
                <a:gd name="T105" fmla="*/ 39 h 106"/>
                <a:gd name="T106" fmla="*/ 125 w 148"/>
                <a:gd name="T107" fmla="*/ 37 h 106"/>
                <a:gd name="T108" fmla="*/ 131 w 148"/>
                <a:gd name="T109" fmla="*/ 36 h 106"/>
                <a:gd name="T110" fmla="*/ 134 w 148"/>
                <a:gd name="T111" fmla="*/ 35 h 106"/>
                <a:gd name="T112" fmla="*/ 144 w 148"/>
                <a:gd name="T113" fmla="*/ 30 h 106"/>
                <a:gd name="T114" fmla="*/ 147 w 148"/>
                <a:gd name="T115" fmla="*/ 25 h 106"/>
                <a:gd name="T116" fmla="*/ 148 w 148"/>
                <a:gd name="T117" fmla="*/ 20 h 106"/>
                <a:gd name="T118" fmla="*/ 127 w 148"/>
                <a:gd name="T119" fmla="*/ 11 h 106"/>
                <a:gd name="T120" fmla="*/ 120 w 148"/>
                <a:gd name="T121" fmla="*/ 1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06">
                  <a:moveTo>
                    <a:pt x="120" y="13"/>
                  </a:moveTo>
                  <a:cubicBezTo>
                    <a:pt x="118" y="15"/>
                    <a:pt x="115" y="15"/>
                    <a:pt x="113" y="14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7" y="6"/>
                    <a:pt x="86" y="6"/>
                    <a:pt x="85" y="6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5" y="5"/>
                    <a:pt x="54" y="5"/>
                    <a:pt x="54" y="5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8" y="2"/>
                    <a:pt x="48" y="2"/>
                    <a:pt x="47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9" y="1"/>
                    <a:pt x="9" y="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8"/>
                    <a:pt x="0" y="10"/>
                    <a:pt x="0" y="1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1"/>
                    <a:pt x="2" y="21"/>
                    <a:pt x="3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6" y="26"/>
                    <a:pt x="6" y="26"/>
                    <a:pt x="6" y="27"/>
                  </a:cubicBezTo>
                  <a:cubicBezTo>
                    <a:pt x="9" y="28"/>
                    <a:pt x="12" y="29"/>
                    <a:pt x="13" y="29"/>
                  </a:cubicBezTo>
                  <a:cubicBezTo>
                    <a:pt x="14" y="29"/>
                    <a:pt x="23" y="27"/>
                    <a:pt x="29" y="26"/>
                  </a:cubicBezTo>
                  <a:cubicBezTo>
                    <a:pt x="31" y="26"/>
                    <a:pt x="33" y="27"/>
                    <a:pt x="34" y="28"/>
                  </a:cubicBezTo>
                  <a:cubicBezTo>
                    <a:pt x="36" y="30"/>
                    <a:pt x="36" y="33"/>
                    <a:pt x="35" y="35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3" y="37"/>
                    <a:pt x="33" y="38"/>
                    <a:pt x="32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8" y="41"/>
                    <a:pt x="28" y="43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5" y="63"/>
                    <a:pt x="25" y="64"/>
                    <a:pt x="24" y="65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5" y="71"/>
                    <a:pt x="25" y="72"/>
                    <a:pt x="25" y="73"/>
                  </a:cubicBezTo>
                  <a:cubicBezTo>
                    <a:pt x="23" y="91"/>
                    <a:pt x="23" y="91"/>
                    <a:pt x="23" y="91"/>
                  </a:cubicBezTo>
                  <a:cubicBezTo>
                    <a:pt x="24" y="91"/>
                    <a:pt x="26" y="92"/>
                    <a:pt x="27" y="92"/>
                  </a:cubicBezTo>
                  <a:cubicBezTo>
                    <a:pt x="28" y="94"/>
                    <a:pt x="28" y="94"/>
                    <a:pt x="28" y="94"/>
                  </a:cubicBezTo>
                  <a:cubicBezTo>
                    <a:pt x="30" y="95"/>
                    <a:pt x="30" y="96"/>
                    <a:pt x="30" y="98"/>
                  </a:cubicBezTo>
                  <a:cubicBezTo>
                    <a:pt x="30" y="100"/>
                    <a:pt x="31" y="101"/>
                    <a:pt x="33" y="102"/>
                  </a:cubicBezTo>
                  <a:cubicBezTo>
                    <a:pt x="37" y="105"/>
                    <a:pt x="37" y="105"/>
                    <a:pt x="37" y="105"/>
                  </a:cubicBezTo>
                  <a:cubicBezTo>
                    <a:pt x="38" y="106"/>
                    <a:pt x="40" y="106"/>
                    <a:pt x="41" y="106"/>
                  </a:cubicBezTo>
                  <a:cubicBezTo>
                    <a:pt x="50" y="103"/>
                    <a:pt x="50" y="103"/>
                    <a:pt x="50" y="103"/>
                  </a:cubicBezTo>
                  <a:cubicBezTo>
                    <a:pt x="50" y="103"/>
                    <a:pt x="50" y="102"/>
                    <a:pt x="51" y="102"/>
                  </a:cubicBezTo>
                  <a:cubicBezTo>
                    <a:pt x="65" y="99"/>
                    <a:pt x="65" y="99"/>
                    <a:pt x="65" y="99"/>
                  </a:cubicBezTo>
                  <a:cubicBezTo>
                    <a:pt x="65" y="99"/>
                    <a:pt x="66" y="99"/>
                    <a:pt x="66" y="99"/>
                  </a:cubicBezTo>
                  <a:cubicBezTo>
                    <a:pt x="75" y="99"/>
                    <a:pt x="75" y="99"/>
                    <a:pt x="75" y="99"/>
                  </a:cubicBezTo>
                  <a:cubicBezTo>
                    <a:pt x="76" y="99"/>
                    <a:pt x="77" y="99"/>
                    <a:pt x="78" y="98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8" y="52"/>
                    <a:pt x="108" y="52"/>
                    <a:pt x="108" y="52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2" y="38"/>
                    <a:pt x="124" y="37"/>
                    <a:pt x="125" y="37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2" y="36"/>
                    <a:pt x="133" y="36"/>
                    <a:pt x="134" y="35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29"/>
                    <a:pt x="147" y="27"/>
                    <a:pt x="147" y="25"/>
                  </a:cubicBezTo>
                  <a:cubicBezTo>
                    <a:pt x="148" y="20"/>
                    <a:pt x="148" y="20"/>
                    <a:pt x="148" y="20"/>
                  </a:cubicBezTo>
                  <a:cubicBezTo>
                    <a:pt x="127" y="11"/>
                    <a:pt x="127" y="11"/>
                    <a:pt x="127" y="11"/>
                  </a:cubicBezTo>
                  <a:cubicBezTo>
                    <a:pt x="124" y="10"/>
                    <a:pt x="121" y="11"/>
                    <a:pt x="120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4">
              <a:extLst>
                <a:ext uri="{FF2B5EF4-FFF2-40B4-BE49-F238E27FC236}">
                  <a16:creationId xmlns:a16="http://schemas.microsoft.com/office/drawing/2014/main" id="{8DCD2BBD-2F16-45CA-8E2B-0445018E4A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250" y="3178176"/>
              <a:ext cx="90488" cy="136525"/>
            </a:xfrm>
            <a:custGeom>
              <a:avLst/>
              <a:gdLst>
                <a:gd name="T0" fmla="*/ 1 w 30"/>
                <a:gd name="T1" fmla="*/ 28 h 46"/>
                <a:gd name="T2" fmla="*/ 8 w 30"/>
                <a:gd name="T3" fmla="*/ 46 h 46"/>
                <a:gd name="T4" fmla="*/ 19 w 30"/>
                <a:gd name="T5" fmla="*/ 46 h 46"/>
                <a:gd name="T6" fmla="*/ 17 w 30"/>
                <a:gd name="T7" fmla="*/ 41 h 46"/>
                <a:gd name="T8" fmla="*/ 16 w 30"/>
                <a:gd name="T9" fmla="*/ 32 h 46"/>
                <a:gd name="T10" fmla="*/ 17 w 30"/>
                <a:gd name="T11" fmla="*/ 27 h 46"/>
                <a:gd name="T12" fmla="*/ 20 w 30"/>
                <a:gd name="T13" fmla="*/ 24 h 46"/>
                <a:gd name="T14" fmla="*/ 27 w 30"/>
                <a:gd name="T15" fmla="*/ 22 h 46"/>
                <a:gd name="T16" fmla="*/ 30 w 30"/>
                <a:gd name="T17" fmla="*/ 18 h 46"/>
                <a:gd name="T18" fmla="*/ 30 w 30"/>
                <a:gd name="T19" fmla="*/ 17 h 46"/>
                <a:gd name="T20" fmla="*/ 28 w 30"/>
                <a:gd name="T21" fmla="*/ 14 h 46"/>
                <a:gd name="T22" fmla="*/ 27 w 30"/>
                <a:gd name="T23" fmla="*/ 13 h 46"/>
                <a:gd name="T24" fmla="*/ 26 w 30"/>
                <a:gd name="T25" fmla="*/ 9 h 46"/>
                <a:gd name="T26" fmla="*/ 28 w 30"/>
                <a:gd name="T27" fmla="*/ 2 h 46"/>
                <a:gd name="T28" fmla="*/ 17 w 30"/>
                <a:gd name="T29" fmla="*/ 3 h 46"/>
                <a:gd name="T30" fmla="*/ 13 w 30"/>
                <a:gd name="T31" fmla="*/ 7 h 46"/>
                <a:gd name="T32" fmla="*/ 8 w 30"/>
                <a:gd name="T33" fmla="*/ 7 h 46"/>
                <a:gd name="T34" fmla="*/ 4 w 30"/>
                <a:gd name="T35" fmla="*/ 7 h 46"/>
                <a:gd name="T36" fmla="*/ 1 w 30"/>
                <a:gd name="T37" fmla="*/ 10 h 46"/>
                <a:gd name="T38" fmla="*/ 0 w 30"/>
                <a:gd name="T39" fmla="*/ 13 h 46"/>
                <a:gd name="T40" fmla="*/ 1 w 30"/>
                <a:gd name="T41" fmla="*/ 26 h 46"/>
                <a:gd name="T42" fmla="*/ 1 w 30"/>
                <a:gd name="T43" fmla="*/ 2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" h="46">
                  <a:moveTo>
                    <a:pt x="1" y="28"/>
                  </a:moveTo>
                  <a:cubicBezTo>
                    <a:pt x="8" y="46"/>
                    <a:pt x="8" y="46"/>
                    <a:pt x="8" y="46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5" y="38"/>
                    <a:pt x="15" y="35"/>
                    <a:pt x="16" y="32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8" y="22"/>
                    <a:pt x="30" y="20"/>
                    <a:pt x="30" y="18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6"/>
                    <a:pt x="29" y="15"/>
                    <a:pt x="28" y="14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6" y="12"/>
                    <a:pt x="25" y="10"/>
                    <a:pt x="26" y="9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0"/>
                    <a:pt x="20" y="0"/>
                    <a:pt x="17" y="3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9"/>
                    <a:pt x="9" y="9"/>
                    <a:pt x="8" y="7"/>
                  </a:cubicBezTo>
                  <a:cubicBezTo>
                    <a:pt x="7" y="6"/>
                    <a:pt x="5" y="6"/>
                    <a:pt x="4" y="7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1"/>
                    <a:pt x="0" y="12"/>
                    <a:pt x="0" y="13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7"/>
                    <a:pt x="1" y="27"/>
                    <a:pt x="1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15">
              <a:extLst>
                <a:ext uri="{FF2B5EF4-FFF2-40B4-BE49-F238E27FC236}">
                  <a16:creationId xmlns:a16="http://schemas.microsoft.com/office/drawing/2014/main" id="{02E1B4B9-0E17-44CA-890F-8250FE62D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3314701"/>
              <a:ext cx="317500" cy="303213"/>
            </a:xfrm>
            <a:custGeom>
              <a:avLst/>
              <a:gdLst>
                <a:gd name="T0" fmla="*/ 42 w 106"/>
                <a:gd name="T1" fmla="*/ 95 h 101"/>
                <a:gd name="T2" fmla="*/ 52 w 106"/>
                <a:gd name="T3" fmla="*/ 100 h 101"/>
                <a:gd name="T4" fmla="*/ 56 w 106"/>
                <a:gd name="T5" fmla="*/ 101 h 101"/>
                <a:gd name="T6" fmla="*/ 71 w 106"/>
                <a:gd name="T7" fmla="*/ 101 h 101"/>
                <a:gd name="T8" fmla="*/ 86 w 106"/>
                <a:gd name="T9" fmla="*/ 94 h 101"/>
                <a:gd name="T10" fmla="*/ 92 w 106"/>
                <a:gd name="T11" fmla="*/ 89 h 101"/>
                <a:gd name="T12" fmla="*/ 92 w 106"/>
                <a:gd name="T13" fmla="*/ 76 h 101"/>
                <a:gd name="T14" fmla="*/ 86 w 106"/>
                <a:gd name="T15" fmla="*/ 69 h 101"/>
                <a:gd name="T16" fmla="*/ 83 w 106"/>
                <a:gd name="T17" fmla="*/ 63 h 101"/>
                <a:gd name="T18" fmla="*/ 83 w 106"/>
                <a:gd name="T19" fmla="*/ 60 h 101"/>
                <a:gd name="T20" fmla="*/ 89 w 106"/>
                <a:gd name="T21" fmla="*/ 51 h 101"/>
                <a:gd name="T22" fmla="*/ 99 w 106"/>
                <a:gd name="T23" fmla="*/ 48 h 101"/>
                <a:gd name="T24" fmla="*/ 104 w 106"/>
                <a:gd name="T25" fmla="*/ 37 h 101"/>
                <a:gd name="T26" fmla="*/ 101 w 106"/>
                <a:gd name="T27" fmla="*/ 25 h 101"/>
                <a:gd name="T28" fmla="*/ 104 w 106"/>
                <a:gd name="T29" fmla="*/ 16 h 101"/>
                <a:gd name="T30" fmla="*/ 106 w 106"/>
                <a:gd name="T31" fmla="*/ 13 h 101"/>
                <a:gd name="T32" fmla="*/ 103 w 106"/>
                <a:gd name="T33" fmla="*/ 10 h 101"/>
                <a:gd name="T34" fmla="*/ 88 w 106"/>
                <a:gd name="T35" fmla="*/ 5 h 101"/>
                <a:gd name="T36" fmla="*/ 85 w 106"/>
                <a:gd name="T37" fmla="*/ 5 h 101"/>
                <a:gd name="T38" fmla="*/ 77 w 106"/>
                <a:gd name="T39" fmla="*/ 13 h 101"/>
                <a:gd name="T40" fmla="*/ 59 w 106"/>
                <a:gd name="T41" fmla="*/ 6 h 101"/>
                <a:gd name="T42" fmla="*/ 53 w 106"/>
                <a:gd name="T43" fmla="*/ 1 h 101"/>
                <a:gd name="T44" fmla="*/ 52 w 106"/>
                <a:gd name="T45" fmla="*/ 0 h 101"/>
                <a:gd name="T46" fmla="*/ 41 w 106"/>
                <a:gd name="T47" fmla="*/ 0 h 101"/>
                <a:gd name="T48" fmla="*/ 42 w 106"/>
                <a:gd name="T49" fmla="*/ 3 h 101"/>
                <a:gd name="T50" fmla="*/ 45 w 106"/>
                <a:gd name="T51" fmla="*/ 8 h 101"/>
                <a:gd name="T52" fmla="*/ 44 w 106"/>
                <a:gd name="T53" fmla="*/ 12 h 101"/>
                <a:gd name="T54" fmla="*/ 39 w 106"/>
                <a:gd name="T55" fmla="*/ 16 h 101"/>
                <a:gd name="T56" fmla="*/ 38 w 106"/>
                <a:gd name="T57" fmla="*/ 17 h 101"/>
                <a:gd name="T58" fmla="*/ 36 w 106"/>
                <a:gd name="T59" fmla="*/ 22 h 101"/>
                <a:gd name="T60" fmla="*/ 30 w 106"/>
                <a:gd name="T61" fmla="*/ 17 h 101"/>
                <a:gd name="T62" fmla="*/ 27 w 106"/>
                <a:gd name="T63" fmla="*/ 17 h 101"/>
                <a:gd name="T64" fmla="*/ 25 w 106"/>
                <a:gd name="T65" fmla="*/ 17 h 101"/>
                <a:gd name="T66" fmla="*/ 26 w 106"/>
                <a:gd name="T67" fmla="*/ 19 h 101"/>
                <a:gd name="T68" fmla="*/ 26 w 106"/>
                <a:gd name="T69" fmla="*/ 21 h 101"/>
                <a:gd name="T70" fmla="*/ 18 w 106"/>
                <a:gd name="T71" fmla="*/ 34 h 101"/>
                <a:gd name="T72" fmla="*/ 10 w 106"/>
                <a:gd name="T73" fmla="*/ 48 h 101"/>
                <a:gd name="T74" fmla="*/ 10 w 106"/>
                <a:gd name="T75" fmla="*/ 55 h 101"/>
                <a:gd name="T76" fmla="*/ 10 w 106"/>
                <a:gd name="T77" fmla="*/ 55 h 101"/>
                <a:gd name="T78" fmla="*/ 10 w 106"/>
                <a:gd name="T79" fmla="*/ 65 h 101"/>
                <a:gd name="T80" fmla="*/ 7 w 106"/>
                <a:gd name="T81" fmla="*/ 71 h 101"/>
                <a:gd name="T82" fmla="*/ 0 w 106"/>
                <a:gd name="T83" fmla="*/ 79 h 101"/>
                <a:gd name="T84" fmla="*/ 10 w 106"/>
                <a:gd name="T85" fmla="*/ 79 h 101"/>
                <a:gd name="T86" fmla="*/ 12 w 106"/>
                <a:gd name="T87" fmla="*/ 80 h 101"/>
                <a:gd name="T88" fmla="*/ 16 w 106"/>
                <a:gd name="T89" fmla="*/ 84 h 101"/>
                <a:gd name="T90" fmla="*/ 19 w 106"/>
                <a:gd name="T91" fmla="*/ 85 h 101"/>
                <a:gd name="T92" fmla="*/ 28 w 106"/>
                <a:gd name="T93" fmla="*/ 85 h 101"/>
                <a:gd name="T94" fmla="*/ 32 w 106"/>
                <a:gd name="T95" fmla="*/ 88 h 101"/>
                <a:gd name="T96" fmla="*/ 32 w 106"/>
                <a:gd name="T97" fmla="*/ 91 h 101"/>
                <a:gd name="T98" fmla="*/ 31 w 106"/>
                <a:gd name="T99" fmla="*/ 93 h 101"/>
                <a:gd name="T100" fmla="*/ 30 w 106"/>
                <a:gd name="T101" fmla="*/ 94 h 101"/>
                <a:gd name="T102" fmla="*/ 38 w 106"/>
                <a:gd name="T103" fmla="*/ 94 h 101"/>
                <a:gd name="T104" fmla="*/ 42 w 106"/>
                <a:gd name="T105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6" h="101">
                  <a:moveTo>
                    <a:pt x="42" y="95"/>
                  </a:moveTo>
                  <a:cubicBezTo>
                    <a:pt x="52" y="100"/>
                    <a:pt x="52" y="100"/>
                    <a:pt x="52" y="100"/>
                  </a:cubicBezTo>
                  <a:cubicBezTo>
                    <a:pt x="53" y="100"/>
                    <a:pt x="54" y="101"/>
                    <a:pt x="56" y="101"/>
                  </a:cubicBezTo>
                  <a:cubicBezTo>
                    <a:pt x="71" y="101"/>
                    <a:pt x="71" y="101"/>
                    <a:pt x="71" y="101"/>
                  </a:cubicBezTo>
                  <a:cubicBezTo>
                    <a:pt x="77" y="101"/>
                    <a:pt x="82" y="98"/>
                    <a:pt x="86" y="94"/>
                  </a:cubicBezTo>
                  <a:cubicBezTo>
                    <a:pt x="92" y="89"/>
                    <a:pt x="92" y="89"/>
                    <a:pt x="92" y="89"/>
                  </a:cubicBezTo>
                  <a:cubicBezTo>
                    <a:pt x="96" y="85"/>
                    <a:pt x="96" y="79"/>
                    <a:pt x="92" y="76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4" y="68"/>
                    <a:pt x="83" y="65"/>
                    <a:pt x="83" y="63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3" y="56"/>
                    <a:pt x="86" y="53"/>
                    <a:pt x="89" y="51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103" y="46"/>
                    <a:pt x="105" y="42"/>
                    <a:pt x="104" y="3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0" y="22"/>
                    <a:pt x="101" y="18"/>
                    <a:pt x="104" y="16"/>
                  </a:cubicBezTo>
                  <a:cubicBezTo>
                    <a:pt x="105" y="15"/>
                    <a:pt x="106" y="14"/>
                    <a:pt x="106" y="13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99" y="5"/>
                    <a:pt x="93" y="4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1" y="6"/>
                    <a:pt x="78" y="9"/>
                    <a:pt x="77" y="13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6" y="5"/>
                    <a:pt x="54" y="3"/>
                    <a:pt x="53" y="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9"/>
                    <a:pt x="45" y="11"/>
                    <a:pt x="44" y="12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7"/>
                    <a:pt x="38" y="17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29" y="17"/>
                    <a:pt x="28" y="16"/>
                    <a:pt x="27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8"/>
                    <a:pt x="26" y="19"/>
                    <a:pt x="26" y="19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6"/>
                    <a:pt x="23" y="31"/>
                    <a:pt x="18" y="34"/>
                  </a:cubicBezTo>
                  <a:cubicBezTo>
                    <a:pt x="13" y="37"/>
                    <a:pt x="10" y="42"/>
                    <a:pt x="10" y="48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1" y="59"/>
                    <a:pt x="11" y="62"/>
                    <a:pt x="10" y="65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6" y="74"/>
                    <a:pt x="3" y="77"/>
                    <a:pt x="0" y="79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1" y="79"/>
                    <a:pt x="11" y="79"/>
                    <a:pt x="12" y="80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7" y="85"/>
                    <a:pt x="18" y="85"/>
                    <a:pt x="19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0" y="85"/>
                    <a:pt x="32" y="86"/>
                    <a:pt x="32" y="88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32" y="92"/>
                    <a:pt x="31" y="92"/>
                    <a:pt x="31" y="93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9" y="94"/>
                    <a:pt x="41" y="94"/>
                    <a:pt x="42" y="9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6">
              <a:extLst>
                <a:ext uri="{FF2B5EF4-FFF2-40B4-BE49-F238E27FC236}">
                  <a16:creationId xmlns:a16="http://schemas.microsoft.com/office/drawing/2014/main" id="{23BA8051-598A-44E4-8BD9-8792C54855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5" y="3541713"/>
              <a:ext cx="220663" cy="150813"/>
            </a:xfrm>
            <a:custGeom>
              <a:avLst/>
              <a:gdLst>
                <a:gd name="T0" fmla="*/ 68 w 74"/>
                <a:gd name="T1" fmla="*/ 29 h 50"/>
                <a:gd name="T2" fmla="*/ 73 w 74"/>
                <a:gd name="T3" fmla="*/ 21 h 50"/>
                <a:gd name="T4" fmla="*/ 73 w 74"/>
                <a:gd name="T5" fmla="*/ 15 h 50"/>
                <a:gd name="T6" fmla="*/ 71 w 74"/>
                <a:gd name="T7" fmla="*/ 7 h 50"/>
                <a:gd name="T8" fmla="*/ 65 w 74"/>
                <a:gd name="T9" fmla="*/ 2 h 50"/>
                <a:gd name="T10" fmla="*/ 61 w 74"/>
                <a:gd name="T11" fmla="*/ 1 h 50"/>
                <a:gd name="T12" fmla="*/ 53 w 74"/>
                <a:gd name="T13" fmla="*/ 4 h 50"/>
                <a:gd name="T14" fmla="*/ 46 w 74"/>
                <a:gd name="T15" fmla="*/ 7 h 50"/>
                <a:gd name="T16" fmla="*/ 40 w 74"/>
                <a:gd name="T17" fmla="*/ 7 h 50"/>
                <a:gd name="T18" fmla="*/ 37 w 74"/>
                <a:gd name="T19" fmla="*/ 13 h 50"/>
                <a:gd name="T20" fmla="*/ 31 w 74"/>
                <a:gd name="T21" fmla="*/ 18 h 50"/>
                <a:gd name="T22" fmla="*/ 16 w 74"/>
                <a:gd name="T23" fmla="*/ 25 h 50"/>
                <a:gd name="T24" fmla="*/ 1 w 74"/>
                <a:gd name="T25" fmla="*/ 25 h 50"/>
                <a:gd name="T26" fmla="*/ 1 w 74"/>
                <a:gd name="T27" fmla="*/ 26 h 50"/>
                <a:gd name="T28" fmla="*/ 5 w 74"/>
                <a:gd name="T29" fmla="*/ 31 h 50"/>
                <a:gd name="T30" fmla="*/ 7 w 74"/>
                <a:gd name="T31" fmla="*/ 31 h 50"/>
                <a:gd name="T32" fmla="*/ 10 w 74"/>
                <a:gd name="T33" fmla="*/ 35 h 50"/>
                <a:gd name="T34" fmla="*/ 8 w 74"/>
                <a:gd name="T35" fmla="*/ 39 h 50"/>
                <a:gd name="T36" fmla="*/ 3 w 74"/>
                <a:gd name="T37" fmla="*/ 42 h 50"/>
                <a:gd name="T38" fmla="*/ 0 w 74"/>
                <a:gd name="T39" fmla="*/ 47 h 50"/>
                <a:gd name="T40" fmla="*/ 0 w 74"/>
                <a:gd name="T41" fmla="*/ 50 h 50"/>
                <a:gd name="T42" fmla="*/ 2 w 74"/>
                <a:gd name="T43" fmla="*/ 48 h 50"/>
                <a:gd name="T44" fmla="*/ 8 w 74"/>
                <a:gd name="T45" fmla="*/ 46 h 50"/>
                <a:gd name="T46" fmla="*/ 14 w 74"/>
                <a:gd name="T47" fmla="*/ 46 h 50"/>
                <a:gd name="T48" fmla="*/ 15 w 74"/>
                <a:gd name="T49" fmla="*/ 42 h 50"/>
                <a:gd name="T50" fmla="*/ 23 w 74"/>
                <a:gd name="T51" fmla="*/ 42 h 50"/>
                <a:gd name="T52" fmla="*/ 28 w 74"/>
                <a:gd name="T53" fmla="*/ 45 h 50"/>
                <a:gd name="T54" fmla="*/ 30 w 74"/>
                <a:gd name="T55" fmla="*/ 48 h 50"/>
                <a:gd name="T56" fmla="*/ 34 w 74"/>
                <a:gd name="T57" fmla="*/ 49 h 50"/>
                <a:gd name="T58" fmla="*/ 35 w 74"/>
                <a:gd name="T59" fmla="*/ 49 h 50"/>
                <a:gd name="T60" fmla="*/ 62 w 74"/>
                <a:gd name="T61" fmla="*/ 36 h 50"/>
                <a:gd name="T62" fmla="*/ 68 w 74"/>
                <a:gd name="T63" fmla="*/ 29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4" h="50">
                  <a:moveTo>
                    <a:pt x="68" y="29"/>
                  </a:moveTo>
                  <a:cubicBezTo>
                    <a:pt x="73" y="21"/>
                    <a:pt x="73" y="21"/>
                    <a:pt x="73" y="21"/>
                  </a:cubicBezTo>
                  <a:cubicBezTo>
                    <a:pt x="74" y="19"/>
                    <a:pt x="74" y="17"/>
                    <a:pt x="73" y="15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0" y="5"/>
                    <a:pt x="68" y="2"/>
                    <a:pt x="65" y="2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58" y="0"/>
                    <a:pt x="55" y="1"/>
                    <a:pt x="53" y="4"/>
                  </a:cubicBezTo>
                  <a:cubicBezTo>
                    <a:pt x="51" y="6"/>
                    <a:pt x="49" y="7"/>
                    <a:pt x="46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9"/>
                    <a:pt x="39" y="11"/>
                    <a:pt x="37" y="13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27" y="22"/>
                    <a:pt x="22" y="25"/>
                    <a:pt x="16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9"/>
                    <a:pt x="3" y="31"/>
                    <a:pt x="5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9" y="31"/>
                    <a:pt x="10" y="33"/>
                    <a:pt x="10" y="35"/>
                  </a:cubicBezTo>
                  <a:cubicBezTo>
                    <a:pt x="10" y="36"/>
                    <a:pt x="10" y="38"/>
                    <a:pt x="8" y="39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1" y="43"/>
                    <a:pt x="0" y="45"/>
                    <a:pt x="0" y="4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3" y="47"/>
                    <a:pt x="6" y="46"/>
                    <a:pt x="8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3"/>
                    <a:pt x="15" y="42"/>
                  </a:cubicBezTo>
                  <a:cubicBezTo>
                    <a:pt x="16" y="40"/>
                    <a:pt x="23" y="42"/>
                    <a:pt x="23" y="42"/>
                  </a:cubicBezTo>
                  <a:cubicBezTo>
                    <a:pt x="25" y="42"/>
                    <a:pt x="27" y="43"/>
                    <a:pt x="28" y="45"/>
                  </a:cubicBezTo>
                  <a:cubicBezTo>
                    <a:pt x="28" y="46"/>
                    <a:pt x="29" y="47"/>
                    <a:pt x="30" y="48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5" y="49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5" y="34"/>
                    <a:pt x="67" y="32"/>
                    <a:pt x="68" y="2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17">
              <a:extLst>
                <a:ext uri="{FF2B5EF4-FFF2-40B4-BE49-F238E27FC236}">
                  <a16:creationId xmlns:a16="http://schemas.microsoft.com/office/drawing/2014/main" id="{EFA11903-2FD4-44CA-9E93-B86C5B012A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3443288"/>
              <a:ext cx="193675" cy="120650"/>
            </a:xfrm>
            <a:custGeom>
              <a:avLst/>
              <a:gdLst>
                <a:gd name="T0" fmla="*/ 52 w 65"/>
                <a:gd name="T1" fmla="*/ 34 h 40"/>
                <a:gd name="T2" fmla="*/ 55 w 65"/>
                <a:gd name="T3" fmla="*/ 33 h 40"/>
                <a:gd name="T4" fmla="*/ 62 w 65"/>
                <a:gd name="T5" fmla="*/ 26 h 40"/>
                <a:gd name="T6" fmla="*/ 61 w 65"/>
                <a:gd name="T7" fmla="*/ 18 h 40"/>
                <a:gd name="T8" fmla="*/ 21 w 65"/>
                <a:gd name="T9" fmla="*/ 0 h 40"/>
                <a:gd name="T10" fmla="*/ 16 w 65"/>
                <a:gd name="T11" fmla="*/ 5 h 40"/>
                <a:gd name="T12" fmla="*/ 6 w 65"/>
                <a:gd name="T13" fmla="*/ 8 h 40"/>
                <a:gd name="T14" fmla="*/ 0 w 65"/>
                <a:gd name="T15" fmla="*/ 17 h 40"/>
                <a:gd name="T16" fmla="*/ 0 w 65"/>
                <a:gd name="T17" fmla="*/ 20 h 40"/>
                <a:gd name="T18" fmla="*/ 3 w 65"/>
                <a:gd name="T19" fmla="*/ 26 h 40"/>
                <a:gd name="T20" fmla="*/ 9 w 65"/>
                <a:gd name="T21" fmla="*/ 33 h 40"/>
                <a:gd name="T22" fmla="*/ 12 w 65"/>
                <a:gd name="T23" fmla="*/ 40 h 40"/>
                <a:gd name="T24" fmla="*/ 18 w 65"/>
                <a:gd name="T25" fmla="*/ 40 h 40"/>
                <a:gd name="T26" fmla="*/ 25 w 65"/>
                <a:gd name="T27" fmla="*/ 37 h 40"/>
                <a:gd name="T28" fmla="*/ 33 w 65"/>
                <a:gd name="T29" fmla="*/ 34 h 40"/>
                <a:gd name="T30" fmla="*/ 37 w 65"/>
                <a:gd name="T31" fmla="*/ 35 h 40"/>
                <a:gd name="T32" fmla="*/ 38 w 65"/>
                <a:gd name="T33" fmla="*/ 34 h 40"/>
                <a:gd name="T34" fmla="*/ 52 w 65"/>
                <a:gd name="T35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" h="40">
                  <a:moveTo>
                    <a:pt x="52" y="34"/>
                  </a:moveTo>
                  <a:cubicBezTo>
                    <a:pt x="53" y="34"/>
                    <a:pt x="54" y="34"/>
                    <a:pt x="55" y="33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5" y="24"/>
                    <a:pt x="64" y="20"/>
                    <a:pt x="61" y="18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2"/>
                    <a:pt x="18" y="4"/>
                    <a:pt x="16" y="5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3" y="10"/>
                    <a:pt x="0" y="13"/>
                    <a:pt x="0" y="1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1" y="25"/>
                    <a:pt x="3" y="26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1" y="35"/>
                    <a:pt x="12" y="37"/>
                    <a:pt x="12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21" y="40"/>
                    <a:pt x="23" y="39"/>
                    <a:pt x="25" y="37"/>
                  </a:cubicBezTo>
                  <a:cubicBezTo>
                    <a:pt x="27" y="34"/>
                    <a:pt x="30" y="33"/>
                    <a:pt x="33" y="34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4"/>
                    <a:pt x="38" y="34"/>
                    <a:pt x="38" y="34"/>
                  </a:cubicBezTo>
                  <a:lnTo>
                    <a:pt x="52" y="3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8">
              <a:extLst>
                <a:ext uri="{FF2B5EF4-FFF2-40B4-BE49-F238E27FC236}">
                  <a16:creationId xmlns:a16="http://schemas.microsoft.com/office/drawing/2014/main" id="{793A3E6C-A018-42BB-987B-CFE7E2312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700" y="3638551"/>
              <a:ext cx="125413" cy="85725"/>
            </a:xfrm>
            <a:custGeom>
              <a:avLst/>
              <a:gdLst>
                <a:gd name="T0" fmla="*/ 23 w 42"/>
                <a:gd name="T1" fmla="*/ 22 h 29"/>
                <a:gd name="T2" fmla="*/ 29 w 42"/>
                <a:gd name="T3" fmla="*/ 11 h 29"/>
                <a:gd name="T4" fmla="*/ 36 w 42"/>
                <a:gd name="T5" fmla="*/ 14 h 29"/>
                <a:gd name="T6" fmla="*/ 39 w 42"/>
                <a:gd name="T7" fmla="*/ 13 h 29"/>
                <a:gd name="T8" fmla="*/ 42 w 42"/>
                <a:gd name="T9" fmla="*/ 11 h 29"/>
                <a:gd name="T10" fmla="*/ 39 w 42"/>
                <a:gd name="T11" fmla="*/ 8 h 29"/>
                <a:gd name="T12" fmla="*/ 32 w 42"/>
                <a:gd name="T13" fmla="*/ 0 h 29"/>
                <a:gd name="T14" fmla="*/ 27 w 42"/>
                <a:gd name="T15" fmla="*/ 4 h 29"/>
                <a:gd name="T16" fmla="*/ 0 w 42"/>
                <a:gd name="T17" fmla="*/ 17 h 29"/>
                <a:gd name="T18" fmla="*/ 5 w 42"/>
                <a:gd name="T19" fmla="*/ 28 h 29"/>
                <a:gd name="T20" fmla="*/ 5 w 42"/>
                <a:gd name="T21" fmla="*/ 29 h 29"/>
                <a:gd name="T22" fmla="*/ 21 w 42"/>
                <a:gd name="T23" fmla="*/ 23 h 29"/>
                <a:gd name="T24" fmla="*/ 23 w 42"/>
                <a:gd name="T25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29">
                  <a:moveTo>
                    <a:pt x="23" y="22"/>
                  </a:moveTo>
                  <a:cubicBezTo>
                    <a:pt x="25" y="19"/>
                    <a:pt x="29" y="12"/>
                    <a:pt x="29" y="11"/>
                  </a:cubicBezTo>
                  <a:cubicBezTo>
                    <a:pt x="29" y="11"/>
                    <a:pt x="33" y="12"/>
                    <a:pt x="36" y="14"/>
                  </a:cubicBezTo>
                  <a:cubicBezTo>
                    <a:pt x="37" y="14"/>
                    <a:pt x="38" y="14"/>
                    <a:pt x="39" y="13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1" y="10"/>
                    <a:pt x="40" y="9"/>
                    <a:pt x="39" y="8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0" y="1"/>
                    <a:pt x="29" y="3"/>
                    <a:pt x="27" y="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4" y="19"/>
                    <a:pt x="7" y="23"/>
                    <a:pt x="5" y="2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2" y="23"/>
                    <a:pt x="23" y="22"/>
                    <a:pt x="23" y="2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19">
              <a:extLst>
                <a:ext uri="{FF2B5EF4-FFF2-40B4-BE49-F238E27FC236}">
                  <a16:creationId xmlns:a16="http://schemas.microsoft.com/office/drawing/2014/main" id="{6E4E184B-4E27-47EC-BC77-9B1A8CAF7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738" y="3808413"/>
              <a:ext cx="44450" cy="68263"/>
            </a:xfrm>
            <a:custGeom>
              <a:avLst/>
              <a:gdLst>
                <a:gd name="T0" fmla="*/ 15 w 15"/>
                <a:gd name="T1" fmla="*/ 12 h 23"/>
                <a:gd name="T2" fmla="*/ 11 w 15"/>
                <a:gd name="T3" fmla="*/ 3 h 23"/>
                <a:gd name="T4" fmla="*/ 10 w 15"/>
                <a:gd name="T5" fmla="*/ 2 h 23"/>
                <a:gd name="T6" fmla="*/ 8 w 15"/>
                <a:gd name="T7" fmla="*/ 0 h 23"/>
                <a:gd name="T8" fmla="*/ 2 w 15"/>
                <a:gd name="T9" fmla="*/ 11 h 23"/>
                <a:gd name="T10" fmla="*/ 2 w 15"/>
                <a:gd name="T11" fmla="*/ 12 h 23"/>
                <a:gd name="T12" fmla="*/ 0 w 15"/>
                <a:gd name="T13" fmla="*/ 21 h 23"/>
                <a:gd name="T14" fmla="*/ 1 w 15"/>
                <a:gd name="T15" fmla="*/ 21 h 23"/>
                <a:gd name="T16" fmla="*/ 8 w 15"/>
                <a:gd name="T17" fmla="*/ 23 h 23"/>
                <a:gd name="T18" fmla="*/ 11 w 15"/>
                <a:gd name="T19" fmla="*/ 20 h 23"/>
                <a:gd name="T20" fmla="*/ 15 w 15"/>
                <a:gd name="T21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23">
                  <a:moveTo>
                    <a:pt x="15" y="12"/>
                  </a:moveTo>
                  <a:cubicBezTo>
                    <a:pt x="15" y="8"/>
                    <a:pt x="13" y="5"/>
                    <a:pt x="11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9" y="1"/>
                    <a:pt x="8" y="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0"/>
                    <a:pt x="6" y="21"/>
                    <a:pt x="8" y="23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3" y="18"/>
                    <a:pt x="15" y="15"/>
                    <a:pt x="15" y="1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20">
              <a:extLst>
                <a:ext uri="{FF2B5EF4-FFF2-40B4-BE49-F238E27FC236}">
                  <a16:creationId xmlns:a16="http://schemas.microsoft.com/office/drawing/2014/main" id="{27E9464A-7E8A-4445-A0AC-65983E8F1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9550" y="3852863"/>
              <a:ext cx="69850" cy="120650"/>
            </a:xfrm>
            <a:custGeom>
              <a:avLst/>
              <a:gdLst>
                <a:gd name="T0" fmla="*/ 17 w 23"/>
                <a:gd name="T1" fmla="*/ 13 h 40"/>
                <a:gd name="T2" fmla="*/ 17 w 23"/>
                <a:gd name="T3" fmla="*/ 11 h 40"/>
                <a:gd name="T4" fmla="*/ 12 w 23"/>
                <a:gd name="T5" fmla="*/ 3 h 40"/>
                <a:gd name="T6" fmla="*/ 6 w 23"/>
                <a:gd name="T7" fmla="*/ 0 h 40"/>
                <a:gd name="T8" fmla="*/ 3 w 23"/>
                <a:gd name="T9" fmla="*/ 5 h 40"/>
                <a:gd name="T10" fmla="*/ 0 w 23"/>
                <a:gd name="T11" fmla="*/ 8 h 40"/>
                <a:gd name="T12" fmla="*/ 1 w 23"/>
                <a:gd name="T13" fmla="*/ 9 h 40"/>
                <a:gd name="T14" fmla="*/ 9 w 23"/>
                <a:gd name="T15" fmla="*/ 20 h 40"/>
                <a:gd name="T16" fmla="*/ 10 w 23"/>
                <a:gd name="T17" fmla="*/ 24 h 40"/>
                <a:gd name="T18" fmla="*/ 10 w 23"/>
                <a:gd name="T19" fmla="*/ 29 h 40"/>
                <a:gd name="T20" fmla="*/ 13 w 23"/>
                <a:gd name="T21" fmla="*/ 38 h 40"/>
                <a:gd name="T22" fmla="*/ 14 w 23"/>
                <a:gd name="T23" fmla="*/ 40 h 40"/>
                <a:gd name="T24" fmla="*/ 18 w 23"/>
                <a:gd name="T25" fmla="*/ 28 h 40"/>
                <a:gd name="T26" fmla="*/ 23 w 23"/>
                <a:gd name="T27" fmla="*/ 24 h 40"/>
                <a:gd name="T28" fmla="*/ 19 w 23"/>
                <a:gd name="T29" fmla="*/ 20 h 40"/>
                <a:gd name="T30" fmla="*/ 17 w 23"/>
                <a:gd name="T31" fmla="*/ 1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" h="40">
                  <a:moveTo>
                    <a:pt x="17" y="13"/>
                  </a:moveTo>
                  <a:cubicBezTo>
                    <a:pt x="17" y="11"/>
                    <a:pt x="17" y="11"/>
                    <a:pt x="17" y="11"/>
                  </a:cubicBezTo>
                  <a:cubicBezTo>
                    <a:pt x="17" y="7"/>
                    <a:pt x="15" y="4"/>
                    <a:pt x="12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4"/>
                    <a:pt x="3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1" y="9"/>
                    <a:pt x="1" y="9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1"/>
                    <a:pt x="10" y="22"/>
                    <a:pt x="10" y="24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32"/>
                    <a:pt x="11" y="35"/>
                    <a:pt x="13" y="38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6"/>
                    <a:pt x="21" y="24"/>
                    <a:pt x="23" y="24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7" y="18"/>
                    <a:pt x="17" y="16"/>
                    <a:pt x="17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21">
              <a:extLst>
                <a:ext uri="{FF2B5EF4-FFF2-40B4-BE49-F238E27FC236}">
                  <a16:creationId xmlns:a16="http://schemas.microsoft.com/office/drawing/2014/main" id="{72A097FB-2682-4553-8448-7EAD8F1974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1613" y="3673476"/>
              <a:ext cx="146050" cy="203200"/>
            </a:xfrm>
            <a:custGeom>
              <a:avLst/>
              <a:gdLst>
                <a:gd name="T0" fmla="*/ 31 w 49"/>
                <a:gd name="T1" fmla="*/ 60 h 68"/>
                <a:gd name="T2" fmla="*/ 32 w 49"/>
                <a:gd name="T3" fmla="*/ 60 h 68"/>
                <a:gd name="T4" fmla="*/ 43 w 49"/>
                <a:gd name="T5" fmla="*/ 61 h 68"/>
                <a:gd name="T6" fmla="*/ 42 w 49"/>
                <a:gd name="T7" fmla="*/ 57 h 68"/>
                <a:gd name="T8" fmla="*/ 47 w 49"/>
                <a:gd name="T9" fmla="*/ 53 h 68"/>
                <a:gd name="T10" fmla="*/ 49 w 49"/>
                <a:gd name="T11" fmla="*/ 53 h 68"/>
                <a:gd name="T12" fmla="*/ 49 w 49"/>
                <a:gd name="T13" fmla="*/ 49 h 68"/>
                <a:gd name="T14" fmla="*/ 47 w 49"/>
                <a:gd name="T15" fmla="*/ 46 h 68"/>
                <a:gd name="T16" fmla="*/ 45 w 49"/>
                <a:gd name="T17" fmla="*/ 43 h 68"/>
                <a:gd name="T18" fmla="*/ 43 w 49"/>
                <a:gd name="T19" fmla="*/ 40 h 68"/>
                <a:gd name="T20" fmla="*/ 43 w 49"/>
                <a:gd name="T21" fmla="*/ 30 h 68"/>
                <a:gd name="T22" fmla="*/ 44 w 49"/>
                <a:gd name="T23" fmla="*/ 29 h 68"/>
                <a:gd name="T24" fmla="*/ 39 w 49"/>
                <a:gd name="T25" fmla="*/ 22 h 68"/>
                <a:gd name="T26" fmla="*/ 35 w 49"/>
                <a:gd name="T27" fmla="*/ 22 h 68"/>
                <a:gd name="T28" fmla="*/ 35 w 49"/>
                <a:gd name="T29" fmla="*/ 26 h 68"/>
                <a:gd name="T30" fmla="*/ 33 w 49"/>
                <a:gd name="T31" fmla="*/ 26 h 68"/>
                <a:gd name="T32" fmla="*/ 28 w 49"/>
                <a:gd name="T33" fmla="*/ 24 h 68"/>
                <a:gd name="T34" fmla="*/ 21 w 49"/>
                <a:gd name="T35" fmla="*/ 14 h 68"/>
                <a:gd name="T36" fmla="*/ 20 w 49"/>
                <a:gd name="T37" fmla="*/ 11 h 68"/>
                <a:gd name="T38" fmla="*/ 19 w 49"/>
                <a:gd name="T39" fmla="*/ 1 h 68"/>
                <a:gd name="T40" fmla="*/ 15 w 49"/>
                <a:gd name="T41" fmla="*/ 1 h 68"/>
                <a:gd name="T42" fmla="*/ 8 w 49"/>
                <a:gd name="T43" fmla="*/ 1 h 68"/>
                <a:gd name="T44" fmla="*/ 1 w 49"/>
                <a:gd name="T45" fmla="*/ 5 h 68"/>
                <a:gd name="T46" fmla="*/ 0 w 49"/>
                <a:gd name="T47" fmla="*/ 5 h 68"/>
                <a:gd name="T48" fmla="*/ 1 w 49"/>
                <a:gd name="T49" fmla="*/ 8 h 68"/>
                <a:gd name="T50" fmla="*/ 4 w 49"/>
                <a:gd name="T51" fmla="*/ 11 h 68"/>
                <a:gd name="T52" fmla="*/ 7 w 49"/>
                <a:gd name="T53" fmla="*/ 13 h 68"/>
                <a:gd name="T54" fmla="*/ 7 w 49"/>
                <a:gd name="T55" fmla="*/ 16 h 68"/>
                <a:gd name="T56" fmla="*/ 7 w 49"/>
                <a:gd name="T57" fmla="*/ 18 h 68"/>
                <a:gd name="T58" fmla="*/ 3 w 49"/>
                <a:gd name="T59" fmla="*/ 23 h 68"/>
                <a:gd name="T60" fmla="*/ 3 w 49"/>
                <a:gd name="T61" fmla="*/ 27 h 68"/>
                <a:gd name="T62" fmla="*/ 7 w 49"/>
                <a:gd name="T63" fmla="*/ 36 h 68"/>
                <a:gd name="T64" fmla="*/ 7 w 49"/>
                <a:gd name="T65" fmla="*/ 38 h 68"/>
                <a:gd name="T66" fmla="*/ 3 w 49"/>
                <a:gd name="T67" fmla="*/ 45 h 68"/>
                <a:gd name="T68" fmla="*/ 5 w 49"/>
                <a:gd name="T69" fmla="*/ 47 h 68"/>
                <a:gd name="T70" fmla="*/ 6 w 49"/>
                <a:gd name="T71" fmla="*/ 48 h 68"/>
                <a:gd name="T72" fmla="*/ 10 w 49"/>
                <a:gd name="T73" fmla="*/ 57 h 68"/>
                <a:gd name="T74" fmla="*/ 9 w 49"/>
                <a:gd name="T75" fmla="*/ 60 h 68"/>
                <a:gd name="T76" fmla="*/ 15 w 49"/>
                <a:gd name="T77" fmla="*/ 63 h 68"/>
                <a:gd name="T78" fmla="*/ 20 w 49"/>
                <a:gd name="T79" fmla="*/ 68 h 68"/>
                <a:gd name="T80" fmla="*/ 22 w 49"/>
                <a:gd name="T81" fmla="*/ 65 h 68"/>
                <a:gd name="T82" fmla="*/ 31 w 49"/>
                <a:gd name="T83" fmla="*/ 6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68">
                  <a:moveTo>
                    <a:pt x="31" y="60"/>
                  </a:moveTo>
                  <a:cubicBezTo>
                    <a:pt x="32" y="60"/>
                    <a:pt x="32" y="60"/>
                    <a:pt x="32" y="60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60"/>
                    <a:pt x="42" y="59"/>
                    <a:pt x="42" y="57"/>
                  </a:cubicBezTo>
                  <a:cubicBezTo>
                    <a:pt x="42" y="55"/>
                    <a:pt x="44" y="53"/>
                    <a:pt x="47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49" y="48"/>
                    <a:pt x="48" y="46"/>
                    <a:pt x="47" y="46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4" y="42"/>
                    <a:pt x="43" y="41"/>
                    <a:pt x="43" y="4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29"/>
                    <a:pt x="44" y="29"/>
                    <a:pt x="44" y="29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1" y="26"/>
                    <a:pt x="29" y="25"/>
                    <a:pt x="28" y="2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0" y="13"/>
                    <a:pt x="20" y="12"/>
                    <a:pt x="20" y="1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7" y="1"/>
                    <a:pt x="16" y="1"/>
                    <a:pt x="15" y="1"/>
                  </a:cubicBezTo>
                  <a:cubicBezTo>
                    <a:pt x="13" y="0"/>
                    <a:pt x="10" y="0"/>
                    <a:pt x="8" y="1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10"/>
                    <a:pt x="2" y="11"/>
                    <a:pt x="4" y="11"/>
                  </a:cubicBezTo>
                  <a:cubicBezTo>
                    <a:pt x="5" y="11"/>
                    <a:pt x="7" y="12"/>
                    <a:pt x="7" y="13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8" y="16"/>
                    <a:pt x="7" y="17"/>
                    <a:pt x="7" y="18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2" y="24"/>
                    <a:pt x="2" y="26"/>
                    <a:pt x="3" y="27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7"/>
                    <a:pt x="7" y="38"/>
                    <a:pt x="7" y="38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4" y="46"/>
                    <a:pt x="5" y="46"/>
                    <a:pt x="5" y="47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8" y="50"/>
                    <a:pt x="10" y="53"/>
                    <a:pt x="10" y="57"/>
                  </a:cubicBezTo>
                  <a:cubicBezTo>
                    <a:pt x="10" y="58"/>
                    <a:pt x="9" y="59"/>
                    <a:pt x="9" y="60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7" y="64"/>
                    <a:pt x="19" y="66"/>
                    <a:pt x="20" y="68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4" y="62"/>
                    <a:pt x="28" y="60"/>
                    <a:pt x="31" y="6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22">
              <a:extLst>
                <a:ext uri="{FF2B5EF4-FFF2-40B4-BE49-F238E27FC236}">
                  <a16:creationId xmlns:a16="http://schemas.microsoft.com/office/drawing/2014/main" id="{636F0147-1AD8-4192-9559-CB2DA4696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0350" y="3852863"/>
              <a:ext cx="90488" cy="71438"/>
            </a:xfrm>
            <a:custGeom>
              <a:avLst/>
              <a:gdLst>
                <a:gd name="T0" fmla="*/ 28 w 30"/>
                <a:gd name="T1" fmla="*/ 8 h 24"/>
                <a:gd name="T2" fmla="*/ 27 w 30"/>
                <a:gd name="T3" fmla="*/ 4 h 24"/>
                <a:gd name="T4" fmla="*/ 23 w 30"/>
                <a:gd name="T5" fmla="*/ 1 h 24"/>
                <a:gd name="T6" fmla="*/ 23 w 30"/>
                <a:gd name="T7" fmla="*/ 1 h 24"/>
                <a:gd name="T8" fmla="*/ 12 w 30"/>
                <a:gd name="T9" fmla="*/ 0 h 24"/>
                <a:gd name="T10" fmla="*/ 11 w 30"/>
                <a:gd name="T11" fmla="*/ 0 h 24"/>
                <a:gd name="T12" fmla="*/ 2 w 30"/>
                <a:gd name="T13" fmla="*/ 5 h 24"/>
                <a:gd name="T14" fmla="*/ 0 w 30"/>
                <a:gd name="T15" fmla="*/ 8 h 24"/>
                <a:gd name="T16" fmla="*/ 0 w 30"/>
                <a:gd name="T17" fmla="*/ 11 h 24"/>
                <a:gd name="T18" fmla="*/ 0 w 30"/>
                <a:gd name="T19" fmla="*/ 13 h 24"/>
                <a:gd name="T20" fmla="*/ 2 w 30"/>
                <a:gd name="T21" fmla="*/ 20 h 24"/>
                <a:gd name="T22" fmla="*/ 6 w 30"/>
                <a:gd name="T23" fmla="*/ 24 h 24"/>
                <a:gd name="T24" fmla="*/ 8 w 30"/>
                <a:gd name="T25" fmla="*/ 23 h 24"/>
                <a:gd name="T26" fmla="*/ 9 w 30"/>
                <a:gd name="T27" fmla="*/ 23 h 24"/>
                <a:gd name="T28" fmla="*/ 14 w 30"/>
                <a:gd name="T29" fmla="*/ 21 h 24"/>
                <a:gd name="T30" fmla="*/ 14 w 30"/>
                <a:gd name="T31" fmla="*/ 21 h 24"/>
                <a:gd name="T32" fmla="*/ 20 w 30"/>
                <a:gd name="T33" fmla="*/ 19 h 24"/>
                <a:gd name="T34" fmla="*/ 26 w 30"/>
                <a:gd name="T35" fmla="*/ 17 h 24"/>
                <a:gd name="T36" fmla="*/ 30 w 30"/>
                <a:gd name="T37" fmla="*/ 12 h 24"/>
                <a:gd name="T38" fmla="*/ 28 w 30"/>
                <a:gd name="T39" fmla="*/ 9 h 24"/>
                <a:gd name="T40" fmla="*/ 28 w 30"/>
                <a:gd name="T41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24">
                  <a:moveTo>
                    <a:pt x="28" y="8"/>
                  </a:moveTo>
                  <a:cubicBezTo>
                    <a:pt x="28" y="7"/>
                    <a:pt x="28" y="5"/>
                    <a:pt x="27" y="4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4" y="2"/>
                    <a:pt x="2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10"/>
                    <a:pt x="0" y="1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6"/>
                    <a:pt x="0" y="18"/>
                    <a:pt x="2" y="20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1" y="23"/>
                    <a:pt x="13" y="23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6" y="20"/>
                    <a:pt x="18" y="19"/>
                    <a:pt x="20" y="19"/>
                  </a:cubicBezTo>
                  <a:cubicBezTo>
                    <a:pt x="22" y="19"/>
                    <a:pt x="24" y="18"/>
                    <a:pt x="26" y="17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9" y="11"/>
                    <a:pt x="28" y="10"/>
                    <a:pt x="28" y="9"/>
                  </a:cubicBezTo>
                  <a:lnTo>
                    <a:pt x="28" y="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23">
              <a:extLst>
                <a:ext uri="{FF2B5EF4-FFF2-40B4-BE49-F238E27FC236}">
                  <a16:creationId xmlns:a16="http://schemas.microsoft.com/office/drawing/2014/main" id="{533F6C8B-7668-431D-94DA-DA0C843088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2413" y="3865563"/>
              <a:ext cx="314325" cy="250825"/>
            </a:xfrm>
            <a:custGeom>
              <a:avLst/>
              <a:gdLst>
                <a:gd name="T0" fmla="*/ 99 w 105"/>
                <a:gd name="T1" fmla="*/ 6 h 84"/>
                <a:gd name="T2" fmla="*/ 93 w 105"/>
                <a:gd name="T3" fmla="*/ 0 h 84"/>
                <a:gd name="T4" fmla="*/ 75 w 105"/>
                <a:gd name="T5" fmla="*/ 1 h 84"/>
                <a:gd name="T6" fmla="*/ 67 w 105"/>
                <a:gd name="T7" fmla="*/ 8 h 84"/>
                <a:gd name="T8" fmla="*/ 55 w 105"/>
                <a:gd name="T9" fmla="*/ 7 h 84"/>
                <a:gd name="T10" fmla="*/ 50 w 105"/>
                <a:gd name="T11" fmla="*/ 4 h 84"/>
                <a:gd name="T12" fmla="*/ 42 w 105"/>
                <a:gd name="T13" fmla="*/ 10 h 84"/>
                <a:gd name="T14" fmla="*/ 33 w 105"/>
                <a:gd name="T15" fmla="*/ 8 h 84"/>
                <a:gd name="T16" fmla="*/ 23 w 105"/>
                <a:gd name="T17" fmla="*/ 15 h 84"/>
                <a:gd name="T18" fmla="*/ 17 w 105"/>
                <a:gd name="T19" fmla="*/ 17 h 84"/>
                <a:gd name="T20" fmla="*/ 11 w 105"/>
                <a:gd name="T21" fmla="*/ 19 h 84"/>
                <a:gd name="T22" fmla="*/ 0 w 105"/>
                <a:gd name="T23" fmla="*/ 36 h 84"/>
                <a:gd name="T24" fmla="*/ 13 w 105"/>
                <a:gd name="T25" fmla="*/ 48 h 84"/>
                <a:gd name="T26" fmla="*/ 16 w 105"/>
                <a:gd name="T27" fmla="*/ 52 h 84"/>
                <a:gd name="T28" fmla="*/ 15 w 105"/>
                <a:gd name="T29" fmla="*/ 57 h 84"/>
                <a:gd name="T30" fmla="*/ 29 w 105"/>
                <a:gd name="T31" fmla="*/ 58 h 84"/>
                <a:gd name="T32" fmla="*/ 39 w 105"/>
                <a:gd name="T33" fmla="*/ 63 h 84"/>
                <a:gd name="T34" fmla="*/ 26 w 105"/>
                <a:gd name="T35" fmla="*/ 63 h 84"/>
                <a:gd name="T36" fmla="*/ 21 w 105"/>
                <a:gd name="T37" fmla="*/ 67 h 84"/>
                <a:gd name="T38" fmla="*/ 26 w 105"/>
                <a:gd name="T39" fmla="*/ 78 h 84"/>
                <a:gd name="T40" fmla="*/ 33 w 105"/>
                <a:gd name="T41" fmla="*/ 83 h 84"/>
                <a:gd name="T42" fmla="*/ 36 w 105"/>
                <a:gd name="T43" fmla="*/ 84 h 84"/>
                <a:gd name="T44" fmla="*/ 38 w 105"/>
                <a:gd name="T45" fmla="*/ 77 h 84"/>
                <a:gd name="T46" fmla="*/ 43 w 105"/>
                <a:gd name="T47" fmla="*/ 68 h 84"/>
                <a:gd name="T48" fmla="*/ 49 w 105"/>
                <a:gd name="T49" fmla="*/ 66 h 84"/>
                <a:gd name="T50" fmla="*/ 52 w 105"/>
                <a:gd name="T51" fmla="*/ 60 h 84"/>
                <a:gd name="T52" fmla="*/ 49 w 105"/>
                <a:gd name="T53" fmla="*/ 52 h 84"/>
                <a:gd name="T54" fmla="*/ 36 w 105"/>
                <a:gd name="T55" fmla="*/ 39 h 84"/>
                <a:gd name="T56" fmla="*/ 34 w 105"/>
                <a:gd name="T57" fmla="*/ 34 h 84"/>
                <a:gd name="T58" fmla="*/ 39 w 105"/>
                <a:gd name="T59" fmla="*/ 32 h 84"/>
                <a:gd name="T60" fmla="*/ 49 w 105"/>
                <a:gd name="T61" fmla="*/ 31 h 84"/>
                <a:gd name="T62" fmla="*/ 71 w 105"/>
                <a:gd name="T63" fmla="*/ 25 h 84"/>
                <a:gd name="T64" fmla="*/ 83 w 105"/>
                <a:gd name="T65" fmla="*/ 29 h 84"/>
                <a:gd name="T66" fmla="*/ 98 w 105"/>
                <a:gd name="T67" fmla="*/ 24 h 84"/>
                <a:gd name="T68" fmla="*/ 103 w 105"/>
                <a:gd name="T69" fmla="*/ 1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5" h="84">
                  <a:moveTo>
                    <a:pt x="103" y="14"/>
                  </a:moveTo>
                  <a:cubicBezTo>
                    <a:pt x="99" y="6"/>
                    <a:pt x="99" y="6"/>
                    <a:pt x="99" y="6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8" y="0"/>
                    <a:pt x="76" y="0"/>
                    <a:pt x="75" y="1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9" y="8"/>
                    <a:pt x="68" y="8"/>
                    <a:pt x="67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8" y="8"/>
                    <a:pt x="56" y="8"/>
                    <a:pt x="55" y="7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4" y="9"/>
                    <a:pt x="43" y="10"/>
                    <a:pt x="42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5" y="10"/>
                    <a:pt x="33" y="9"/>
                    <a:pt x="33" y="8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7" y="14"/>
                    <a:pt x="25" y="15"/>
                    <a:pt x="23" y="15"/>
                  </a:cubicBezTo>
                  <a:cubicBezTo>
                    <a:pt x="21" y="15"/>
                    <a:pt x="19" y="16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6" y="19"/>
                    <a:pt x="14" y="19"/>
                    <a:pt x="12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8" y="19"/>
                    <a:pt x="5" y="21"/>
                    <a:pt x="4" y="2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5" y="44"/>
                    <a:pt x="9" y="47"/>
                    <a:pt x="13" y="48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4" y="53"/>
                    <a:pt x="13" y="55"/>
                    <a:pt x="14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7" y="59"/>
                    <a:pt x="18" y="59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29" y="58"/>
                    <a:pt x="30" y="58"/>
                    <a:pt x="31" y="5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5" y="63"/>
                    <a:pt x="23" y="63"/>
                    <a:pt x="22" y="65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0" y="69"/>
                    <a:pt x="20" y="70"/>
                    <a:pt x="21" y="72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7" y="79"/>
                    <a:pt x="27" y="79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3" y="84"/>
                    <a:pt x="34" y="84"/>
                    <a:pt x="35" y="84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8" y="84"/>
                    <a:pt x="40" y="81"/>
                    <a:pt x="39" y="78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7" y="75"/>
                    <a:pt x="38" y="73"/>
                    <a:pt x="41" y="72"/>
                  </a:cubicBezTo>
                  <a:cubicBezTo>
                    <a:pt x="43" y="72"/>
                    <a:pt x="44" y="70"/>
                    <a:pt x="43" y="68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51" y="62"/>
                    <a:pt x="51" y="62"/>
                    <a:pt x="51" y="62"/>
                  </a:cubicBezTo>
                  <a:cubicBezTo>
                    <a:pt x="51" y="62"/>
                    <a:pt x="52" y="61"/>
                    <a:pt x="52" y="60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52" y="54"/>
                    <a:pt x="51" y="53"/>
                    <a:pt x="49" y="52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4" y="33"/>
                    <a:pt x="34" y="31"/>
                    <a:pt x="35" y="29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40" y="34"/>
                    <a:pt x="43" y="36"/>
                    <a:pt x="46" y="35"/>
                  </a:cubicBezTo>
                  <a:cubicBezTo>
                    <a:pt x="48" y="35"/>
                    <a:pt x="49" y="33"/>
                    <a:pt x="49" y="31"/>
                  </a:cubicBezTo>
                  <a:cubicBezTo>
                    <a:pt x="49" y="28"/>
                    <a:pt x="51" y="26"/>
                    <a:pt x="54" y="26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3" y="25"/>
                    <a:pt x="75" y="25"/>
                    <a:pt x="76" y="27"/>
                  </a:cubicBezTo>
                  <a:cubicBezTo>
                    <a:pt x="78" y="29"/>
                    <a:pt x="80" y="29"/>
                    <a:pt x="83" y="29"/>
                  </a:cubicBezTo>
                  <a:cubicBezTo>
                    <a:pt x="96" y="25"/>
                    <a:pt x="96" y="25"/>
                    <a:pt x="96" y="25"/>
                  </a:cubicBezTo>
                  <a:cubicBezTo>
                    <a:pt x="97" y="25"/>
                    <a:pt x="97" y="24"/>
                    <a:pt x="98" y="24"/>
                  </a:cubicBezTo>
                  <a:cubicBezTo>
                    <a:pt x="101" y="22"/>
                    <a:pt x="101" y="22"/>
                    <a:pt x="101" y="22"/>
                  </a:cubicBezTo>
                  <a:cubicBezTo>
                    <a:pt x="104" y="20"/>
                    <a:pt x="105" y="17"/>
                    <a:pt x="103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24">
              <a:extLst>
                <a:ext uri="{FF2B5EF4-FFF2-40B4-BE49-F238E27FC236}">
                  <a16:creationId xmlns:a16="http://schemas.microsoft.com/office/drawing/2014/main" id="{03488F26-7F7D-43E7-A432-A1FDA39D2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7025" y="3760788"/>
              <a:ext cx="250825" cy="134938"/>
            </a:xfrm>
            <a:custGeom>
              <a:avLst/>
              <a:gdLst>
                <a:gd name="T0" fmla="*/ 74 w 84"/>
                <a:gd name="T1" fmla="*/ 27 h 45"/>
                <a:gd name="T2" fmla="*/ 75 w 84"/>
                <a:gd name="T3" fmla="*/ 15 h 45"/>
                <a:gd name="T4" fmla="*/ 77 w 84"/>
                <a:gd name="T5" fmla="*/ 11 h 45"/>
                <a:gd name="T6" fmla="*/ 84 w 84"/>
                <a:gd name="T7" fmla="*/ 6 h 45"/>
                <a:gd name="T8" fmla="*/ 53 w 84"/>
                <a:gd name="T9" fmla="*/ 6 h 45"/>
                <a:gd name="T10" fmla="*/ 51 w 84"/>
                <a:gd name="T11" fmla="*/ 6 h 45"/>
                <a:gd name="T12" fmla="*/ 38 w 84"/>
                <a:gd name="T13" fmla="*/ 13 h 45"/>
                <a:gd name="T14" fmla="*/ 35 w 84"/>
                <a:gd name="T15" fmla="*/ 13 h 45"/>
                <a:gd name="T16" fmla="*/ 14 w 84"/>
                <a:gd name="T17" fmla="*/ 13 h 45"/>
                <a:gd name="T18" fmla="*/ 9 w 84"/>
                <a:gd name="T19" fmla="*/ 11 h 45"/>
                <a:gd name="T20" fmla="*/ 2 w 84"/>
                <a:gd name="T21" fmla="*/ 0 h 45"/>
                <a:gd name="T22" fmla="*/ 1 w 84"/>
                <a:gd name="T23" fmla="*/ 1 h 45"/>
                <a:gd name="T24" fmla="*/ 1 w 84"/>
                <a:gd name="T25" fmla="*/ 11 h 45"/>
                <a:gd name="T26" fmla="*/ 3 w 84"/>
                <a:gd name="T27" fmla="*/ 14 h 45"/>
                <a:gd name="T28" fmla="*/ 5 w 84"/>
                <a:gd name="T29" fmla="*/ 17 h 45"/>
                <a:gd name="T30" fmla="*/ 7 w 84"/>
                <a:gd name="T31" fmla="*/ 20 h 45"/>
                <a:gd name="T32" fmla="*/ 7 w 84"/>
                <a:gd name="T33" fmla="*/ 24 h 45"/>
                <a:gd name="T34" fmla="*/ 5 w 84"/>
                <a:gd name="T35" fmla="*/ 24 h 45"/>
                <a:gd name="T36" fmla="*/ 0 w 84"/>
                <a:gd name="T37" fmla="*/ 28 h 45"/>
                <a:gd name="T38" fmla="*/ 1 w 84"/>
                <a:gd name="T39" fmla="*/ 32 h 45"/>
                <a:gd name="T40" fmla="*/ 5 w 84"/>
                <a:gd name="T41" fmla="*/ 35 h 45"/>
                <a:gd name="T42" fmla="*/ 6 w 84"/>
                <a:gd name="T43" fmla="*/ 39 h 45"/>
                <a:gd name="T44" fmla="*/ 6 w 84"/>
                <a:gd name="T45" fmla="*/ 40 h 45"/>
                <a:gd name="T46" fmla="*/ 11 w 84"/>
                <a:gd name="T47" fmla="*/ 45 h 45"/>
                <a:gd name="T48" fmla="*/ 17 w 84"/>
                <a:gd name="T49" fmla="*/ 45 h 45"/>
                <a:gd name="T50" fmla="*/ 20 w 84"/>
                <a:gd name="T51" fmla="*/ 44 h 45"/>
                <a:gd name="T52" fmla="*/ 25 w 84"/>
                <a:gd name="T53" fmla="*/ 39 h 45"/>
                <a:gd name="T54" fmla="*/ 28 w 84"/>
                <a:gd name="T55" fmla="*/ 39 h 45"/>
                <a:gd name="T56" fmla="*/ 30 w 84"/>
                <a:gd name="T57" fmla="*/ 42 h 45"/>
                <a:gd name="T58" fmla="*/ 34 w 84"/>
                <a:gd name="T59" fmla="*/ 43 h 45"/>
                <a:gd name="T60" fmla="*/ 42 w 84"/>
                <a:gd name="T61" fmla="*/ 43 h 45"/>
                <a:gd name="T62" fmla="*/ 45 w 84"/>
                <a:gd name="T63" fmla="*/ 42 h 45"/>
                <a:gd name="T64" fmla="*/ 50 w 84"/>
                <a:gd name="T65" fmla="*/ 36 h 45"/>
                <a:gd name="T66" fmla="*/ 54 w 84"/>
                <a:gd name="T67" fmla="*/ 35 h 45"/>
                <a:gd name="T68" fmla="*/ 68 w 84"/>
                <a:gd name="T69" fmla="*/ 35 h 45"/>
                <a:gd name="T70" fmla="*/ 73 w 84"/>
                <a:gd name="T71" fmla="*/ 30 h 45"/>
                <a:gd name="T72" fmla="*/ 74 w 84"/>
                <a:gd name="T73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45">
                  <a:moveTo>
                    <a:pt x="74" y="27"/>
                  </a:moveTo>
                  <a:cubicBezTo>
                    <a:pt x="75" y="15"/>
                    <a:pt x="75" y="15"/>
                    <a:pt x="75" y="15"/>
                  </a:cubicBezTo>
                  <a:cubicBezTo>
                    <a:pt x="75" y="13"/>
                    <a:pt x="76" y="12"/>
                    <a:pt x="77" y="11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2" y="6"/>
                    <a:pt x="51" y="6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7" y="13"/>
                    <a:pt x="36" y="13"/>
                    <a:pt x="35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3"/>
                    <a:pt x="10" y="12"/>
                    <a:pt x="9" y="1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2"/>
                    <a:pt x="2" y="13"/>
                    <a:pt x="3" y="14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6" y="17"/>
                    <a:pt x="7" y="19"/>
                    <a:pt x="7" y="20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2" y="24"/>
                    <a:pt x="0" y="26"/>
                    <a:pt x="0" y="28"/>
                  </a:cubicBezTo>
                  <a:cubicBezTo>
                    <a:pt x="0" y="30"/>
                    <a:pt x="0" y="31"/>
                    <a:pt x="1" y="32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6" y="36"/>
                    <a:pt x="6" y="38"/>
                    <a:pt x="6" y="39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6" y="43"/>
                    <a:pt x="8" y="45"/>
                    <a:pt x="11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8" y="45"/>
                    <a:pt x="19" y="44"/>
                    <a:pt x="20" y="44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1" y="43"/>
                    <a:pt x="33" y="43"/>
                    <a:pt x="34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3" y="43"/>
                    <a:pt x="44" y="43"/>
                    <a:pt x="45" y="42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1" y="35"/>
                    <a:pt x="53" y="35"/>
                    <a:pt x="54" y="35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4" y="29"/>
                    <a:pt x="74" y="28"/>
                    <a:pt x="74" y="2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25">
              <a:extLst>
                <a:ext uri="{FF2B5EF4-FFF2-40B4-BE49-F238E27FC236}">
                  <a16:creationId xmlns:a16="http://schemas.microsoft.com/office/drawing/2014/main" id="{CDE886B6-2032-4E5A-9F34-F781FCB9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8938" y="3055938"/>
              <a:ext cx="155575" cy="109538"/>
            </a:xfrm>
            <a:custGeom>
              <a:avLst/>
              <a:gdLst>
                <a:gd name="T0" fmla="*/ 30 w 52"/>
                <a:gd name="T1" fmla="*/ 34 h 37"/>
                <a:gd name="T2" fmla="*/ 38 w 52"/>
                <a:gd name="T3" fmla="*/ 37 h 37"/>
                <a:gd name="T4" fmla="*/ 48 w 52"/>
                <a:gd name="T5" fmla="*/ 37 h 37"/>
                <a:gd name="T6" fmla="*/ 49 w 52"/>
                <a:gd name="T7" fmla="*/ 33 h 37"/>
                <a:gd name="T8" fmla="*/ 50 w 52"/>
                <a:gd name="T9" fmla="*/ 20 h 37"/>
                <a:gd name="T10" fmla="*/ 38 w 52"/>
                <a:gd name="T11" fmla="*/ 6 h 37"/>
                <a:gd name="T12" fmla="*/ 32 w 52"/>
                <a:gd name="T13" fmla="*/ 0 h 37"/>
                <a:gd name="T14" fmla="*/ 0 w 52"/>
                <a:gd name="T15" fmla="*/ 9 h 37"/>
                <a:gd name="T16" fmla="*/ 0 w 52"/>
                <a:gd name="T17" fmla="*/ 19 h 37"/>
                <a:gd name="T18" fmla="*/ 8 w 52"/>
                <a:gd name="T19" fmla="*/ 25 h 37"/>
                <a:gd name="T20" fmla="*/ 10 w 52"/>
                <a:gd name="T21" fmla="*/ 25 h 37"/>
                <a:gd name="T22" fmla="*/ 10 w 52"/>
                <a:gd name="T23" fmla="*/ 30 h 37"/>
                <a:gd name="T24" fmla="*/ 21 w 52"/>
                <a:gd name="T25" fmla="*/ 30 h 37"/>
                <a:gd name="T26" fmla="*/ 30 w 52"/>
                <a:gd name="T27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37">
                  <a:moveTo>
                    <a:pt x="30" y="34"/>
                  </a:moveTo>
                  <a:cubicBezTo>
                    <a:pt x="32" y="36"/>
                    <a:pt x="35" y="37"/>
                    <a:pt x="3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6"/>
                    <a:pt x="48" y="34"/>
                    <a:pt x="49" y="33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2" y="13"/>
                    <a:pt x="46" y="6"/>
                    <a:pt x="38" y="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4" y="30"/>
                    <a:pt x="27" y="31"/>
                    <a:pt x="30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26">
              <a:extLst>
                <a:ext uri="{FF2B5EF4-FFF2-40B4-BE49-F238E27FC236}">
                  <a16:creationId xmlns:a16="http://schemas.microsoft.com/office/drawing/2014/main" id="{E01B15E6-8718-48F5-93C5-5A30294B3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144838"/>
              <a:ext cx="344488" cy="155575"/>
            </a:xfrm>
            <a:custGeom>
              <a:avLst/>
              <a:gdLst>
                <a:gd name="T0" fmla="*/ 36 w 115"/>
                <a:gd name="T1" fmla="*/ 34 h 52"/>
                <a:gd name="T2" fmla="*/ 57 w 115"/>
                <a:gd name="T3" fmla="*/ 41 h 52"/>
                <a:gd name="T4" fmla="*/ 61 w 115"/>
                <a:gd name="T5" fmla="*/ 42 h 52"/>
                <a:gd name="T6" fmla="*/ 74 w 115"/>
                <a:gd name="T7" fmla="*/ 48 h 52"/>
                <a:gd name="T8" fmla="*/ 104 w 115"/>
                <a:gd name="T9" fmla="*/ 48 h 52"/>
                <a:gd name="T10" fmla="*/ 115 w 115"/>
                <a:gd name="T11" fmla="*/ 43 h 52"/>
                <a:gd name="T12" fmla="*/ 104 w 115"/>
                <a:gd name="T13" fmla="*/ 35 h 52"/>
                <a:gd name="T14" fmla="*/ 96 w 115"/>
                <a:gd name="T15" fmla="*/ 33 h 52"/>
                <a:gd name="T16" fmla="*/ 85 w 115"/>
                <a:gd name="T17" fmla="*/ 24 h 52"/>
                <a:gd name="T18" fmla="*/ 81 w 115"/>
                <a:gd name="T19" fmla="*/ 15 h 52"/>
                <a:gd name="T20" fmla="*/ 79 w 115"/>
                <a:gd name="T21" fmla="*/ 7 h 52"/>
                <a:gd name="T22" fmla="*/ 69 w 115"/>
                <a:gd name="T23" fmla="*/ 7 h 52"/>
                <a:gd name="T24" fmla="*/ 61 w 115"/>
                <a:gd name="T25" fmla="*/ 4 h 52"/>
                <a:gd name="T26" fmla="*/ 52 w 115"/>
                <a:gd name="T27" fmla="*/ 0 h 52"/>
                <a:gd name="T28" fmla="*/ 41 w 115"/>
                <a:gd name="T29" fmla="*/ 0 h 52"/>
                <a:gd name="T30" fmla="*/ 41 w 115"/>
                <a:gd name="T31" fmla="*/ 13 h 52"/>
                <a:gd name="T32" fmla="*/ 33 w 115"/>
                <a:gd name="T33" fmla="*/ 21 h 52"/>
                <a:gd name="T34" fmla="*/ 24 w 115"/>
                <a:gd name="T35" fmla="*/ 11 h 52"/>
                <a:gd name="T36" fmla="*/ 10 w 115"/>
                <a:gd name="T37" fmla="*/ 11 h 52"/>
                <a:gd name="T38" fmla="*/ 0 w 115"/>
                <a:gd name="T39" fmla="*/ 22 h 52"/>
                <a:gd name="T40" fmla="*/ 0 w 115"/>
                <a:gd name="T41" fmla="*/ 32 h 52"/>
                <a:gd name="T42" fmla="*/ 25 w 115"/>
                <a:gd name="T43" fmla="*/ 32 h 52"/>
                <a:gd name="T44" fmla="*/ 36 w 115"/>
                <a:gd name="T45" fmla="*/ 3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2">
                  <a:moveTo>
                    <a:pt x="36" y="34"/>
                  </a:moveTo>
                  <a:cubicBezTo>
                    <a:pt x="57" y="41"/>
                    <a:pt x="57" y="41"/>
                    <a:pt x="57" y="41"/>
                  </a:cubicBezTo>
                  <a:cubicBezTo>
                    <a:pt x="58" y="41"/>
                    <a:pt x="60" y="42"/>
                    <a:pt x="61" y="42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84" y="52"/>
                    <a:pt x="94" y="52"/>
                    <a:pt x="104" y="48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2" y="39"/>
                    <a:pt x="108" y="36"/>
                    <a:pt x="104" y="35"/>
                  </a:cubicBezTo>
                  <a:cubicBezTo>
                    <a:pt x="96" y="33"/>
                    <a:pt x="96" y="33"/>
                    <a:pt x="96" y="33"/>
                  </a:cubicBezTo>
                  <a:cubicBezTo>
                    <a:pt x="91" y="32"/>
                    <a:pt x="87" y="29"/>
                    <a:pt x="85" y="2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0" y="13"/>
                    <a:pt x="80" y="10"/>
                    <a:pt x="79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6" y="7"/>
                    <a:pt x="63" y="6"/>
                    <a:pt x="61" y="4"/>
                  </a:cubicBezTo>
                  <a:cubicBezTo>
                    <a:pt x="58" y="1"/>
                    <a:pt x="55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9" y="32"/>
                    <a:pt x="33" y="33"/>
                    <a:pt x="36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27">
              <a:extLst>
                <a:ext uri="{FF2B5EF4-FFF2-40B4-BE49-F238E27FC236}">
                  <a16:creationId xmlns:a16="http://schemas.microsoft.com/office/drawing/2014/main" id="{88FE4956-A874-48E9-B2ED-3D2201B58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240088"/>
              <a:ext cx="146050" cy="120650"/>
            </a:xfrm>
            <a:custGeom>
              <a:avLst/>
              <a:gdLst>
                <a:gd name="T0" fmla="*/ 49 w 49"/>
                <a:gd name="T1" fmla="*/ 21 h 40"/>
                <a:gd name="T2" fmla="*/ 49 w 49"/>
                <a:gd name="T3" fmla="*/ 16 h 40"/>
                <a:gd name="T4" fmla="*/ 45 w 49"/>
                <a:gd name="T5" fmla="*/ 5 h 40"/>
                <a:gd name="T6" fmla="*/ 36 w 49"/>
                <a:gd name="T7" fmla="*/ 2 h 40"/>
                <a:gd name="T8" fmla="*/ 25 w 49"/>
                <a:gd name="T9" fmla="*/ 0 h 40"/>
                <a:gd name="T10" fmla="*/ 0 w 49"/>
                <a:gd name="T11" fmla="*/ 0 h 40"/>
                <a:gd name="T12" fmla="*/ 0 w 49"/>
                <a:gd name="T13" fmla="*/ 9 h 40"/>
                <a:gd name="T14" fmla="*/ 5 w 49"/>
                <a:gd name="T15" fmla="*/ 14 h 40"/>
                <a:gd name="T16" fmla="*/ 4 w 49"/>
                <a:gd name="T17" fmla="*/ 15 h 40"/>
                <a:gd name="T18" fmla="*/ 6 w 49"/>
                <a:gd name="T19" fmla="*/ 16 h 40"/>
                <a:gd name="T20" fmla="*/ 15 w 49"/>
                <a:gd name="T21" fmla="*/ 37 h 40"/>
                <a:gd name="T22" fmla="*/ 15 w 49"/>
                <a:gd name="T23" fmla="*/ 40 h 40"/>
                <a:gd name="T24" fmla="*/ 41 w 49"/>
                <a:gd name="T25" fmla="*/ 32 h 40"/>
                <a:gd name="T26" fmla="*/ 49 w 49"/>
                <a:gd name="T27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" h="40">
                  <a:moveTo>
                    <a:pt x="49" y="21"/>
                  </a:moveTo>
                  <a:cubicBezTo>
                    <a:pt x="49" y="19"/>
                    <a:pt x="49" y="18"/>
                    <a:pt x="49" y="16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3" y="1"/>
                    <a:pt x="29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5" y="16"/>
                    <a:pt x="6" y="16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8"/>
                    <a:pt x="15" y="39"/>
                    <a:pt x="15" y="40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6" y="30"/>
                    <a:pt x="49" y="26"/>
                    <a:pt x="49" y="2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28">
              <a:extLst>
                <a:ext uri="{FF2B5EF4-FFF2-40B4-BE49-F238E27FC236}">
                  <a16:creationId xmlns:a16="http://schemas.microsoft.com/office/drawing/2014/main" id="{B3F217B4-8DD7-4C47-B4F5-8A6C548BF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0675" y="3255963"/>
              <a:ext cx="379413" cy="200025"/>
            </a:xfrm>
            <a:custGeom>
              <a:avLst/>
              <a:gdLst>
                <a:gd name="T0" fmla="*/ 122 w 127"/>
                <a:gd name="T1" fmla="*/ 46 h 67"/>
                <a:gd name="T2" fmla="*/ 125 w 127"/>
                <a:gd name="T3" fmla="*/ 38 h 67"/>
                <a:gd name="T4" fmla="*/ 112 w 127"/>
                <a:gd name="T5" fmla="*/ 20 h 67"/>
                <a:gd name="T6" fmla="*/ 110 w 127"/>
                <a:gd name="T7" fmla="*/ 13 h 67"/>
                <a:gd name="T8" fmla="*/ 107 w 127"/>
                <a:gd name="T9" fmla="*/ 6 h 67"/>
                <a:gd name="T10" fmla="*/ 96 w 127"/>
                <a:gd name="T11" fmla="*/ 11 h 67"/>
                <a:gd name="T12" fmla="*/ 66 w 127"/>
                <a:gd name="T13" fmla="*/ 11 h 67"/>
                <a:gd name="T14" fmla="*/ 53 w 127"/>
                <a:gd name="T15" fmla="*/ 5 h 67"/>
                <a:gd name="T16" fmla="*/ 49 w 127"/>
                <a:gd name="T17" fmla="*/ 4 h 67"/>
                <a:gd name="T18" fmla="*/ 37 w 127"/>
                <a:gd name="T19" fmla="*/ 0 h 67"/>
                <a:gd name="T20" fmla="*/ 41 w 127"/>
                <a:gd name="T21" fmla="*/ 11 h 67"/>
                <a:gd name="T22" fmla="*/ 41 w 127"/>
                <a:gd name="T23" fmla="*/ 16 h 67"/>
                <a:gd name="T24" fmla="*/ 33 w 127"/>
                <a:gd name="T25" fmla="*/ 27 h 67"/>
                <a:gd name="T26" fmla="*/ 7 w 127"/>
                <a:gd name="T27" fmla="*/ 35 h 67"/>
                <a:gd name="T28" fmla="*/ 5 w 127"/>
                <a:gd name="T29" fmla="*/ 37 h 67"/>
                <a:gd name="T30" fmla="*/ 2 w 127"/>
                <a:gd name="T31" fmla="*/ 39 h 67"/>
                <a:gd name="T32" fmla="*/ 0 w 127"/>
                <a:gd name="T33" fmla="*/ 42 h 67"/>
                <a:gd name="T34" fmla="*/ 2 w 127"/>
                <a:gd name="T35" fmla="*/ 46 h 67"/>
                <a:gd name="T36" fmla="*/ 5 w 127"/>
                <a:gd name="T37" fmla="*/ 47 h 67"/>
                <a:gd name="T38" fmla="*/ 7 w 127"/>
                <a:gd name="T39" fmla="*/ 51 h 67"/>
                <a:gd name="T40" fmla="*/ 7 w 127"/>
                <a:gd name="T41" fmla="*/ 63 h 67"/>
                <a:gd name="T42" fmla="*/ 24 w 127"/>
                <a:gd name="T43" fmla="*/ 59 h 67"/>
                <a:gd name="T44" fmla="*/ 31 w 127"/>
                <a:gd name="T45" fmla="*/ 59 h 67"/>
                <a:gd name="T46" fmla="*/ 36 w 127"/>
                <a:gd name="T47" fmla="*/ 59 h 67"/>
                <a:gd name="T48" fmla="*/ 47 w 127"/>
                <a:gd name="T49" fmla="*/ 61 h 67"/>
                <a:gd name="T50" fmla="*/ 59 w 127"/>
                <a:gd name="T51" fmla="*/ 65 h 67"/>
                <a:gd name="T52" fmla="*/ 70 w 127"/>
                <a:gd name="T53" fmla="*/ 67 h 67"/>
                <a:gd name="T54" fmla="*/ 79 w 127"/>
                <a:gd name="T55" fmla="*/ 67 h 67"/>
                <a:gd name="T56" fmla="*/ 90 w 127"/>
                <a:gd name="T57" fmla="*/ 65 h 67"/>
                <a:gd name="T58" fmla="*/ 97 w 127"/>
                <a:gd name="T59" fmla="*/ 62 h 67"/>
                <a:gd name="T60" fmla="*/ 105 w 127"/>
                <a:gd name="T61" fmla="*/ 60 h 67"/>
                <a:gd name="T62" fmla="*/ 123 w 127"/>
                <a:gd name="T63" fmla="*/ 58 h 67"/>
                <a:gd name="T64" fmla="*/ 117 w 127"/>
                <a:gd name="T65" fmla="*/ 50 h 67"/>
                <a:gd name="T66" fmla="*/ 122 w 127"/>
                <a:gd name="T67" fmla="*/ 4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7" h="67">
                  <a:moveTo>
                    <a:pt x="122" y="46"/>
                  </a:moveTo>
                  <a:cubicBezTo>
                    <a:pt x="125" y="45"/>
                    <a:pt x="127" y="41"/>
                    <a:pt x="125" y="38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0" y="13"/>
                    <a:pt x="110" y="13"/>
                    <a:pt x="110" y="13"/>
                  </a:cubicBezTo>
                  <a:cubicBezTo>
                    <a:pt x="110" y="10"/>
                    <a:pt x="108" y="8"/>
                    <a:pt x="107" y="6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86" y="15"/>
                    <a:pt x="76" y="15"/>
                    <a:pt x="66" y="11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2" y="5"/>
                    <a:pt x="50" y="4"/>
                    <a:pt x="49" y="4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3"/>
                    <a:pt x="41" y="14"/>
                    <a:pt x="41" y="16"/>
                  </a:cubicBezTo>
                  <a:cubicBezTo>
                    <a:pt x="41" y="21"/>
                    <a:pt x="38" y="25"/>
                    <a:pt x="33" y="27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6"/>
                    <a:pt x="6" y="36"/>
                    <a:pt x="5" y="37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1" y="39"/>
                    <a:pt x="0" y="41"/>
                    <a:pt x="0" y="42"/>
                  </a:cubicBezTo>
                  <a:cubicBezTo>
                    <a:pt x="0" y="44"/>
                    <a:pt x="1" y="45"/>
                    <a:pt x="2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6" y="48"/>
                    <a:pt x="7" y="49"/>
                    <a:pt x="7" y="51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26" y="59"/>
                    <a:pt x="29" y="59"/>
                    <a:pt x="31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40" y="59"/>
                    <a:pt x="43" y="59"/>
                    <a:pt x="47" y="61"/>
                  </a:cubicBezTo>
                  <a:cubicBezTo>
                    <a:pt x="59" y="65"/>
                    <a:pt x="59" y="65"/>
                    <a:pt x="59" y="65"/>
                  </a:cubicBezTo>
                  <a:cubicBezTo>
                    <a:pt x="63" y="66"/>
                    <a:pt x="66" y="67"/>
                    <a:pt x="70" y="67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83" y="67"/>
                    <a:pt x="86" y="66"/>
                    <a:pt x="90" y="65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100" y="61"/>
                    <a:pt x="102" y="61"/>
                    <a:pt x="105" y="60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20" y="57"/>
                    <a:pt x="117" y="54"/>
                    <a:pt x="117" y="50"/>
                  </a:cubicBezTo>
                  <a:cubicBezTo>
                    <a:pt x="117" y="47"/>
                    <a:pt x="119" y="46"/>
                    <a:pt x="122" y="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29">
              <a:extLst>
                <a:ext uri="{FF2B5EF4-FFF2-40B4-BE49-F238E27FC236}">
                  <a16:creationId xmlns:a16="http://schemas.microsoft.com/office/drawing/2014/main" id="{0A917DD5-405B-4BF0-81AB-7DFB66EEB2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3213" y="3429001"/>
              <a:ext cx="673100" cy="355600"/>
            </a:xfrm>
            <a:custGeom>
              <a:avLst/>
              <a:gdLst>
                <a:gd name="T0" fmla="*/ 216 w 225"/>
                <a:gd name="T1" fmla="*/ 35 h 119"/>
                <a:gd name="T2" fmla="*/ 195 w 225"/>
                <a:gd name="T3" fmla="*/ 34 h 119"/>
                <a:gd name="T4" fmla="*/ 167 w 225"/>
                <a:gd name="T5" fmla="*/ 21 h 119"/>
                <a:gd name="T6" fmla="*/ 155 w 225"/>
                <a:gd name="T7" fmla="*/ 10 h 119"/>
                <a:gd name="T8" fmla="*/ 132 w 225"/>
                <a:gd name="T9" fmla="*/ 1 h 119"/>
                <a:gd name="T10" fmla="*/ 111 w 225"/>
                <a:gd name="T11" fmla="*/ 2 h 119"/>
                <a:gd name="T12" fmla="*/ 96 w 225"/>
                <a:gd name="T13" fmla="*/ 7 h 119"/>
                <a:gd name="T14" fmla="*/ 76 w 225"/>
                <a:gd name="T15" fmla="*/ 9 h 119"/>
                <a:gd name="T16" fmla="*/ 53 w 225"/>
                <a:gd name="T17" fmla="*/ 3 h 119"/>
                <a:gd name="T18" fmla="*/ 37 w 225"/>
                <a:gd name="T19" fmla="*/ 1 h 119"/>
                <a:gd name="T20" fmla="*/ 13 w 225"/>
                <a:gd name="T21" fmla="*/ 5 h 119"/>
                <a:gd name="T22" fmla="*/ 14 w 225"/>
                <a:gd name="T23" fmla="*/ 7 h 119"/>
                <a:gd name="T24" fmla="*/ 16 w 225"/>
                <a:gd name="T25" fmla="*/ 19 h 119"/>
                <a:gd name="T26" fmla="*/ 11 w 225"/>
                <a:gd name="T27" fmla="*/ 20 h 119"/>
                <a:gd name="T28" fmla="*/ 1 w 225"/>
                <a:gd name="T29" fmla="*/ 34 h 119"/>
                <a:gd name="T30" fmla="*/ 3 w 225"/>
                <a:gd name="T31" fmla="*/ 42 h 119"/>
                <a:gd name="T32" fmla="*/ 0 w 225"/>
                <a:gd name="T33" fmla="*/ 45 h 119"/>
                <a:gd name="T34" fmla="*/ 6 w 225"/>
                <a:gd name="T35" fmla="*/ 55 h 119"/>
                <a:gd name="T36" fmla="*/ 50 w 225"/>
                <a:gd name="T37" fmla="*/ 50 h 119"/>
                <a:gd name="T38" fmla="*/ 73 w 225"/>
                <a:gd name="T39" fmla="*/ 45 h 119"/>
                <a:gd name="T40" fmla="*/ 81 w 225"/>
                <a:gd name="T41" fmla="*/ 59 h 119"/>
                <a:gd name="T42" fmla="*/ 87 w 225"/>
                <a:gd name="T43" fmla="*/ 62 h 119"/>
                <a:gd name="T44" fmla="*/ 92 w 225"/>
                <a:gd name="T45" fmla="*/ 74 h 119"/>
                <a:gd name="T46" fmla="*/ 87 w 225"/>
                <a:gd name="T47" fmla="*/ 79 h 119"/>
                <a:gd name="T48" fmla="*/ 81 w 225"/>
                <a:gd name="T49" fmla="*/ 90 h 119"/>
                <a:gd name="T50" fmla="*/ 78 w 225"/>
                <a:gd name="T51" fmla="*/ 95 h 119"/>
                <a:gd name="T52" fmla="*/ 85 w 225"/>
                <a:gd name="T53" fmla="*/ 101 h 119"/>
                <a:gd name="T54" fmla="*/ 102 w 225"/>
                <a:gd name="T55" fmla="*/ 101 h 119"/>
                <a:gd name="T56" fmla="*/ 112 w 225"/>
                <a:gd name="T57" fmla="*/ 96 h 119"/>
                <a:gd name="T58" fmla="*/ 121 w 225"/>
                <a:gd name="T59" fmla="*/ 85 h 119"/>
                <a:gd name="T60" fmla="*/ 128 w 225"/>
                <a:gd name="T61" fmla="*/ 89 h 119"/>
                <a:gd name="T62" fmla="*/ 134 w 225"/>
                <a:gd name="T63" fmla="*/ 95 h 119"/>
                <a:gd name="T64" fmla="*/ 149 w 225"/>
                <a:gd name="T65" fmla="*/ 98 h 119"/>
                <a:gd name="T66" fmla="*/ 142 w 225"/>
                <a:gd name="T67" fmla="*/ 111 h 119"/>
                <a:gd name="T68" fmla="*/ 147 w 225"/>
                <a:gd name="T69" fmla="*/ 116 h 119"/>
                <a:gd name="T70" fmla="*/ 152 w 225"/>
                <a:gd name="T71" fmla="*/ 119 h 119"/>
                <a:gd name="T72" fmla="*/ 163 w 225"/>
                <a:gd name="T73" fmla="*/ 118 h 119"/>
                <a:gd name="T74" fmla="*/ 176 w 225"/>
                <a:gd name="T75" fmla="*/ 112 h 119"/>
                <a:gd name="T76" fmla="*/ 185 w 225"/>
                <a:gd name="T77" fmla="*/ 111 h 119"/>
                <a:gd name="T78" fmla="*/ 169 w 225"/>
                <a:gd name="T79" fmla="*/ 107 h 119"/>
                <a:gd name="T80" fmla="*/ 163 w 225"/>
                <a:gd name="T81" fmla="*/ 102 h 119"/>
                <a:gd name="T82" fmla="*/ 155 w 225"/>
                <a:gd name="T83" fmla="*/ 99 h 119"/>
                <a:gd name="T84" fmla="*/ 176 w 225"/>
                <a:gd name="T85" fmla="*/ 88 h 119"/>
                <a:gd name="T86" fmla="*/ 204 w 225"/>
                <a:gd name="T87" fmla="*/ 72 h 119"/>
                <a:gd name="T88" fmla="*/ 223 w 225"/>
                <a:gd name="T89" fmla="*/ 59 h 119"/>
                <a:gd name="T90" fmla="*/ 219 w 225"/>
                <a:gd name="T91" fmla="*/ 38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119">
                  <a:moveTo>
                    <a:pt x="219" y="38"/>
                  </a:moveTo>
                  <a:cubicBezTo>
                    <a:pt x="216" y="35"/>
                    <a:pt x="216" y="35"/>
                    <a:pt x="216" y="35"/>
                  </a:cubicBezTo>
                  <a:cubicBezTo>
                    <a:pt x="212" y="32"/>
                    <a:pt x="207" y="32"/>
                    <a:pt x="203" y="33"/>
                  </a:cubicBezTo>
                  <a:cubicBezTo>
                    <a:pt x="200" y="34"/>
                    <a:pt x="198" y="35"/>
                    <a:pt x="195" y="34"/>
                  </a:cubicBezTo>
                  <a:cubicBezTo>
                    <a:pt x="174" y="29"/>
                    <a:pt x="174" y="29"/>
                    <a:pt x="174" y="29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6" y="19"/>
                    <a:pt x="164" y="18"/>
                    <a:pt x="162" y="18"/>
                  </a:cubicBezTo>
                  <a:cubicBezTo>
                    <a:pt x="158" y="16"/>
                    <a:pt x="156" y="13"/>
                    <a:pt x="155" y="10"/>
                  </a:cubicBezTo>
                  <a:cubicBezTo>
                    <a:pt x="153" y="5"/>
                    <a:pt x="149" y="1"/>
                    <a:pt x="144" y="1"/>
                  </a:cubicBezTo>
                  <a:cubicBezTo>
                    <a:pt x="132" y="1"/>
                    <a:pt x="132" y="1"/>
                    <a:pt x="132" y="1"/>
                  </a:cubicBezTo>
                  <a:cubicBezTo>
                    <a:pt x="131" y="1"/>
                    <a:pt x="130" y="0"/>
                    <a:pt x="129" y="0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8" y="3"/>
                    <a:pt x="106" y="3"/>
                    <a:pt x="103" y="4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2" y="8"/>
                    <a:pt x="89" y="9"/>
                    <a:pt x="85" y="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2" y="9"/>
                    <a:pt x="69" y="8"/>
                    <a:pt x="65" y="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49" y="1"/>
                    <a:pt x="46" y="1"/>
                    <a:pt x="42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5" y="1"/>
                    <a:pt x="32" y="1"/>
                    <a:pt x="30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7"/>
                    <a:pt x="14" y="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9"/>
                    <a:pt x="14" y="20"/>
                    <a:pt x="13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9" y="21"/>
                    <a:pt x="8" y="22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38"/>
                    <a:pt x="5" y="40"/>
                    <a:pt x="3" y="42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5"/>
                    <a:pt x="0" y="45"/>
                    <a:pt x="0" y="45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5" y="50"/>
                    <a:pt x="6" y="52"/>
                    <a:pt x="6" y="55"/>
                  </a:cubicBezTo>
                  <a:cubicBezTo>
                    <a:pt x="50" y="53"/>
                    <a:pt x="50" y="53"/>
                    <a:pt x="50" y="53"/>
                  </a:cubicBezTo>
                  <a:cubicBezTo>
                    <a:pt x="50" y="50"/>
                    <a:pt x="50" y="50"/>
                    <a:pt x="50" y="50"/>
                  </a:cubicBezTo>
                  <a:cubicBezTo>
                    <a:pt x="50" y="47"/>
                    <a:pt x="52" y="45"/>
                    <a:pt x="55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4" y="45"/>
                    <a:pt x="76" y="46"/>
                    <a:pt x="77" y="48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2" y="61"/>
                    <a:pt x="83" y="62"/>
                    <a:pt x="85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9" y="62"/>
                    <a:pt x="91" y="63"/>
                    <a:pt x="91" y="66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92" y="76"/>
                    <a:pt x="91" y="78"/>
                    <a:pt x="89" y="79"/>
                  </a:cubicBezTo>
                  <a:cubicBezTo>
                    <a:pt x="87" y="79"/>
                    <a:pt x="87" y="79"/>
                    <a:pt x="87" y="79"/>
                  </a:cubicBezTo>
                  <a:cubicBezTo>
                    <a:pt x="85" y="80"/>
                    <a:pt x="83" y="83"/>
                    <a:pt x="84" y="85"/>
                  </a:cubicBezTo>
                  <a:cubicBezTo>
                    <a:pt x="85" y="87"/>
                    <a:pt x="84" y="90"/>
                    <a:pt x="81" y="90"/>
                  </a:cubicBezTo>
                  <a:cubicBezTo>
                    <a:pt x="78" y="91"/>
                    <a:pt x="78" y="91"/>
                    <a:pt x="78" y="91"/>
                  </a:cubicBezTo>
                  <a:cubicBezTo>
                    <a:pt x="78" y="95"/>
                    <a:pt x="78" y="95"/>
                    <a:pt x="78" y="95"/>
                  </a:cubicBezTo>
                  <a:cubicBezTo>
                    <a:pt x="78" y="97"/>
                    <a:pt x="79" y="98"/>
                    <a:pt x="80" y="99"/>
                  </a:cubicBezTo>
                  <a:cubicBezTo>
                    <a:pt x="81" y="101"/>
                    <a:pt x="83" y="101"/>
                    <a:pt x="85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3" y="100"/>
                    <a:pt x="104" y="99"/>
                    <a:pt x="105" y="98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4" y="95"/>
                    <a:pt x="115" y="93"/>
                    <a:pt x="115" y="90"/>
                  </a:cubicBezTo>
                  <a:cubicBezTo>
                    <a:pt x="115" y="87"/>
                    <a:pt x="118" y="84"/>
                    <a:pt x="121" y="85"/>
                  </a:cubicBezTo>
                  <a:cubicBezTo>
                    <a:pt x="124" y="85"/>
                    <a:pt x="124" y="85"/>
                    <a:pt x="124" y="85"/>
                  </a:cubicBezTo>
                  <a:cubicBezTo>
                    <a:pt x="126" y="86"/>
                    <a:pt x="128" y="87"/>
                    <a:pt x="128" y="89"/>
                  </a:cubicBezTo>
                  <a:cubicBezTo>
                    <a:pt x="129" y="91"/>
                    <a:pt x="129" y="91"/>
                    <a:pt x="129" y="91"/>
                  </a:cubicBezTo>
                  <a:cubicBezTo>
                    <a:pt x="130" y="94"/>
                    <a:pt x="132" y="95"/>
                    <a:pt x="134" y="95"/>
                  </a:cubicBezTo>
                  <a:cubicBezTo>
                    <a:pt x="149" y="95"/>
                    <a:pt x="149" y="95"/>
                    <a:pt x="149" y="95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2" y="103"/>
                    <a:pt x="142" y="103"/>
                    <a:pt x="142" y="103"/>
                  </a:cubicBezTo>
                  <a:cubicBezTo>
                    <a:pt x="140" y="105"/>
                    <a:pt x="140" y="109"/>
                    <a:pt x="142" y="111"/>
                  </a:cubicBezTo>
                  <a:cubicBezTo>
                    <a:pt x="146" y="114"/>
                    <a:pt x="146" y="114"/>
                    <a:pt x="146" y="114"/>
                  </a:cubicBezTo>
                  <a:cubicBezTo>
                    <a:pt x="146" y="115"/>
                    <a:pt x="146" y="115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48" y="118"/>
                    <a:pt x="150" y="119"/>
                    <a:pt x="152" y="119"/>
                  </a:cubicBezTo>
                  <a:cubicBezTo>
                    <a:pt x="161" y="119"/>
                    <a:pt x="161" y="119"/>
                    <a:pt x="161" y="119"/>
                  </a:cubicBezTo>
                  <a:cubicBezTo>
                    <a:pt x="162" y="119"/>
                    <a:pt x="163" y="119"/>
                    <a:pt x="163" y="118"/>
                  </a:cubicBezTo>
                  <a:cubicBezTo>
                    <a:pt x="173" y="112"/>
                    <a:pt x="173" y="112"/>
                    <a:pt x="173" y="112"/>
                  </a:cubicBezTo>
                  <a:cubicBezTo>
                    <a:pt x="174" y="112"/>
                    <a:pt x="175" y="112"/>
                    <a:pt x="176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80" y="115"/>
                    <a:pt x="186" y="115"/>
                    <a:pt x="185" y="111"/>
                  </a:cubicBezTo>
                  <a:cubicBezTo>
                    <a:pt x="185" y="107"/>
                    <a:pt x="182" y="104"/>
                    <a:pt x="178" y="105"/>
                  </a:cubicBezTo>
                  <a:cubicBezTo>
                    <a:pt x="169" y="107"/>
                    <a:pt x="169" y="107"/>
                    <a:pt x="169" y="107"/>
                  </a:cubicBezTo>
                  <a:cubicBezTo>
                    <a:pt x="167" y="107"/>
                    <a:pt x="165" y="106"/>
                    <a:pt x="164" y="104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2" y="100"/>
                    <a:pt x="161" y="99"/>
                    <a:pt x="159" y="99"/>
                  </a:cubicBezTo>
                  <a:cubicBezTo>
                    <a:pt x="155" y="99"/>
                    <a:pt x="155" y="99"/>
                    <a:pt x="155" y="99"/>
                  </a:cubicBezTo>
                  <a:cubicBezTo>
                    <a:pt x="154" y="95"/>
                    <a:pt x="154" y="95"/>
                    <a:pt x="154" y="95"/>
                  </a:cubicBezTo>
                  <a:cubicBezTo>
                    <a:pt x="176" y="88"/>
                    <a:pt x="176" y="88"/>
                    <a:pt x="176" y="88"/>
                  </a:cubicBezTo>
                  <a:cubicBezTo>
                    <a:pt x="196" y="81"/>
                    <a:pt x="196" y="81"/>
                    <a:pt x="196" y="81"/>
                  </a:cubicBezTo>
                  <a:cubicBezTo>
                    <a:pt x="200" y="79"/>
                    <a:pt x="203" y="76"/>
                    <a:pt x="204" y="72"/>
                  </a:cubicBezTo>
                  <a:cubicBezTo>
                    <a:pt x="214" y="69"/>
                    <a:pt x="214" y="69"/>
                    <a:pt x="214" y="69"/>
                  </a:cubicBezTo>
                  <a:cubicBezTo>
                    <a:pt x="219" y="68"/>
                    <a:pt x="222" y="64"/>
                    <a:pt x="223" y="59"/>
                  </a:cubicBezTo>
                  <a:cubicBezTo>
                    <a:pt x="224" y="50"/>
                    <a:pt x="224" y="50"/>
                    <a:pt x="224" y="50"/>
                  </a:cubicBezTo>
                  <a:cubicBezTo>
                    <a:pt x="225" y="45"/>
                    <a:pt x="223" y="41"/>
                    <a:pt x="219" y="3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30">
              <a:extLst>
                <a:ext uri="{FF2B5EF4-FFF2-40B4-BE49-F238E27FC236}">
                  <a16:creationId xmlns:a16="http://schemas.microsoft.com/office/drawing/2014/main" id="{5901C34A-4619-45B5-B55F-AAA3A7AB2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7175" y="3587751"/>
              <a:ext cx="350838" cy="211138"/>
            </a:xfrm>
            <a:custGeom>
              <a:avLst/>
              <a:gdLst>
                <a:gd name="T0" fmla="*/ 95 w 117"/>
                <a:gd name="T1" fmla="*/ 46 h 71"/>
                <a:gd name="T2" fmla="*/ 93 w 117"/>
                <a:gd name="T3" fmla="*/ 42 h 71"/>
                <a:gd name="T4" fmla="*/ 93 w 117"/>
                <a:gd name="T5" fmla="*/ 34 h 71"/>
                <a:gd name="T6" fmla="*/ 93 w 117"/>
                <a:gd name="T7" fmla="*/ 32 h 71"/>
                <a:gd name="T8" fmla="*/ 85 w 117"/>
                <a:gd name="T9" fmla="*/ 15 h 71"/>
                <a:gd name="T10" fmla="*/ 81 w 117"/>
                <a:gd name="T11" fmla="*/ 12 h 71"/>
                <a:gd name="T12" fmla="*/ 78 w 117"/>
                <a:gd name="T13" fmla="*/ 11 h 71"/>
                <a:gd name="T14" fmla="*/ 73 w 117"/>
                <a:gd name="T15" fmla="*/ 6 h 71"/>
                <a:gd name="T16" fmla="*/ 73 w 117"/>
                <a:gd name="T17" fmla="*/ 4 h 71"/>
                <a:gd name="T18" fmla="*/ 66 w 117"/>
                <a:gd name="T19" fmla="*/ 0 h 71"/>
                <a:gd name="T20" fmla="*/ 21 w 117"/>
                <a:gd name="T21" fmla="*/ 2 h 71"/>
                <a:gd name="T22" fmla="*/ 20 w 117"/>
                <a:gd name="T23" fmla="*/ 7 h 71"/>
                <a:gd name="T24" fmla="*/ 6 w 117"/>
                <a:gd name="T25" fmla="*/ 26 h 71"/>
                <a:gd name="T26" fmla="*/ 0 w 117"/>
                <a:gd name="T27" fmla="*/ 30 h 71"/>
                <a:gd name="T28" fmla="*/ 1 w 117"/>
                <a:gd name="T29" fmla="*/ 40 h 71"/>
                <a:gd name="T30" fmla="*/ 2 w 117"/>
                <a:gd name="T31" fmla="*/ 43 h 71"/>
                <a:gd name="T32" fmla="*/ 9 w 117"/>
                <a:gd name="T33" fmla="*/ 53 h 71"/>
                <a:gd name="T34" fmla="*/ 14 w 117"/>
                <a:gd name="T35" fmla="*/ 55 h 71"/>
                <a:gd name="T36" fmla="*/ 16 w 117"/>
                <a:gd name="T37" fmla="*/ 55 h 71"/>
                <a:gd name="T38" fmla="*/ 16 w 117"/>
                <a:gd name="T39" fmla="*/ 51 h 71"/>
                <a:gd name="T40" fmla="*/ 20 w 117"/>
                <a:gd name="T41" fmla="*/ 51 h 71"/>
                <a:gd name="T42" fmla="*/ 32 w 117"/>
                <a:gd name="T43" fmla="*/ 69 h 71"/>
                <a:gd name="T44" fmla="*/ 37 w 117"/>
                <a:gd name="T45" fmla="*/ 71 h 71"/>
                <a:gd name="T46" fmla="*/ 58 w 117"/>
                <a:gd name="T47" fmla="*/ 71 h 71"/>
                <a:gd name="T48" fmla="*/ 61 w 117"/>
                <a:gd name="T49" fmla="*/ 71 h 71"/>
                <a:gd name="T50" fmla="*/ 74 w 117"/>
                <a:gd name="T51" fmla="*/ 64 h 71"/>
                <a:gd name="T52" fmla="*/ 76 w 117"/>
                <a:gd name="T53" fmla="*/ 64 h 71"/>
                <a:gd name="T54" fmla="*/ 107 w 117"/>
                <a:gd name="T55" fmla="*/ 64 h 71"/>
                <a:gd name="T56" fmla="*/ 110 w 117"/>
                <a:gd name="T57" fmla="*/ 61 h 71"/>
                <a:gd name="T58" fmla="*/ 111 w 117"/>
                <a:gd name="T59" fmla="*/ 60 h 71"/>
                <a:gd name="T60" fmla="*/ 117 w 117"/>
                <a:gd name="T61" fmla="*/ 48 h 71"/>
                <a:gd name="T62" fmla="*/ 100 w 117"/>
                <a:gd name="T63" fmla="*/ 48 h 71"/>
                <a:gd name="T64" fmla="*/ 95 w 117"/>
                <a:gd name="T65" fmla="*/ 4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7" h="71">
                  <a:moveTo>
                    <a:pt x="95" y="46"/>
                  </a:moveTo>
                  <a:cubicBezTo>
                    <a:pt x="94" y="45"/>
                    <a:pt x="93" y="44"/>
                    <a:pt x="93" y="42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3"/>
                    <a:pt x="93" y="33"/>
                    <a:pt x="93" y="32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84" y="13"/>
                    <a:pt x="83" y="12"/>
                    <a:pt x="81" y="12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5" y="10"/>
                    <a:pt x="74" y="9"/>
                    <a:pt x="73" y="6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2" y="2"/>
                    <a:pt x="69" y="0"/>
                    <a:pt x="66" y="0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4"/>
                    <a:pt x="21" y="6"/>
                    <a:pt x="20" y="7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4" y="28"/>
                    <a:pt x="2" y="30"/>
                    <a:pt x="0" y="3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1"/>
                    <a:pt x="1" y="42"/>
                    <a:pt x="2" y="4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10" y="54"/>
                    <a:pt x="12" y="55"/>
                    <a:pt x="14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3" y="70"/>
                    <a:pt x="35" y="71"/>
                    <a:pt x="37" y="71"/>
                  </a:cubicBezTo>
                  <a:cubicBezTo>
                    <a:pt x="58" y="71"/>
                    <a:pt x="58" y="71"/>
                    <a:pt x="58" y="71"/>
                  </a:cubicBezTo>
                  <a:cubicBezTo>
                    <a:pt x="59" y="71"/>
                    <a:pt x="60" y="71"/>
                    <a:pt x="61" y="71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5" y="64"/>
                    <a:pt x="76" y="64"/>
                    <a:pt x="76" y="6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10" y="61"/>
                    <a:pt x="110" y="61"/>
                    <a:pt x="110" y="61"/>
                  </a:cubicBezTo>
                  <a:cubicBezTo>
                    <a:pt x="110" y="61"/>
                    <a:pt x="111" y="60"/>
                    <a:pt x="111" y="60"/>
                  </a:cubicBezTo>
                  <a:cubicBezTo>
                    <a:pt x="117" y="48"/>
                    <a:pt x="117" y="48"/>
                    <a:pt x="117" y="48"/>
                  </a:cubicBezTo>
                  <a:cubicBezTo>
                    <a:pt x="100" y="48"/>
                    <a:pt x="100" y="48"/>
                    <a:pt x="100" y="48"/>
                  </a:cubicBezTo>
                  <a:cubicBezTo>
                    <a:pt x="98" y="48"/>
                    <a:pt x="96" y="48"/>
                    <a:pt x="95" y="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31">
              <a:extLst>
                <a:ext uri="{FF2B5EF4-FFF2-40B4-BE49-F238E27FC236}">
                  <a16:creationId xmlns:a16="http://schemas.microsoft.com/office/drawing/2014/main" id="{53840FE3-3A4F-4B82-ACD0-F15D25FB31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988" y="3670301"/>
              <a:ext cx="198438" cy="203200"/>
            </a:xfrm>
            <a:custGeom>
              <a:avLst/>
              <a:gdLst>
                <a:gd name="T0" fmla="*/ 65 w 66"/>
                <a:gd name="T1" fmla="*/ 37 h 68"/>
                <a:gd name="T2" fmla="*/ 65 w 66"/>
                <a:gd name="T3" fmla="*/ 39 h 68"/>
                <a:gd name="T4" fmla="*/ 55 w 66"/>
                <a:gd name="T5" fmla="*/ 57 h 68"/>
                <a:gd name="T6" fmla="*/ 55 w 66"/>
                <a:gd name="T7" fmla="*/ 57 h 68"/>
                <a:gd name="T8" fmla="*/ 55 w 66"/>
                <a:gd name="T9" fmla="*/ 58 h 68"/>
                <a:gd name="T10" fmla="*/ 53 w 66"/>
                <a:gd name="T11" fmla="*/ 67 h 68"/>
                <a:gd name="T12" fmla="*/ 48 w 66"/>
                <a:gd name="T13" fmla="*/ 66 h 68"/>
                <a:gd name="T14" fmla="*/ 30 w 66"/>
                <a:gd name="T15" fmla="*/ 50 h 68"/>
                <a:gd name="T16" fmla="*/ 19 w 66"/>
                <a:gd name="T17" fmla="*/ 31 h 68"/>
                <a:gd name="T18" fmla="*/ 16 w 66"/>
                <a:gd name="T19" fmla="*/ 30 h 68"/>
                <a:gd name="T20" fmla="*/ 7 w 66"/>
                <a:gd name="T21" fmla="*/ 30 h 68"/>
                <a:gd name="T22" fmla="*/ 6 w 66"/>
                <a:gd name="T23" fmla="*/ 29 h 68"/>
                <a:gd name="T24" fmla="*/ 5 w 66"/>
                <a:gd name="T25" fmla="*/ 21 h 68"/>
                <a:gd name="T26" fmla="*/ 0 w 66"/>
                <a:gd name="T27" fmla="*/ 19 h 68"/>
                <a:gd name="T28" fmla="*/ 0 w 66"/>
                <a:gd name="T29" fmla="*/ 19 h 68"/>
                <a:gd name="T30" fmla="*/ 0 w 66"/>
                <a:gd name="T31" fmla="*/ 18 h 68"/>
                <a:gd name="T32" fmla="*/ 16 w 66"/>
                <a:gd name="T33" fmla="*/ 12 h 68"/>
                <a:gd name="T34" fmla="*/ 18 w 66"/>
                <a:gd name="T35" fmla="*/ 11 h 68"/>
                <a:gd name="T36" fmla="*/ 24 w 66"/>
                <a:gd name="T37" fmla="*/ 0 h 68"/>
                <a:gd name="T38" fmla="*/ 31 w 66"/>
                <a:gd name="T39" fmla="*/ 3 h 68"/>
                <a:gd name="T40" fmla="*/ 34 w 66"/>
                <a:gd name="T41" fmla="*/ 2 h 68"/>
                <a:gd name="T42" fmla="*/ 37 w 66"/>
                <a:gd name="T43" fmla="*/ 0 h 68"/>
                <a:gd name="T44" fmla="*/ 38 w 66"/>
                <a:gd name="T45" fmla="*/ 0 h 68"/>
                <a:gd name="T46" fmla="*/ 51 w 66"/>
                <a:gd name="T47" fmla="*/ 6 h 68"/>
                <a:gd name="T48" fmla="*/ 58 w 66"/>
                <a:gd name="T49" fmla="*/ 6 h 68"/>
                <a:gd name="T50" fmla="*/ 59 w 66"/>
                <a:gd name="T51" fmla="*/ 9 h 68"/>
                <a:gd name="T52" fmla="*/ 62 w 66"/>
                <a:gd name="T53" fmla="*/ 12 h 68"/>
                <a:gd name="T54" fmla="*/ 65 w 66"/>
                <a:gd name="T55" fmla="*/ 15 h 68"/>
                <a:gd name="T56" fmla="*/ 65 w 66"/>
                <a:gd name="T57" fmla="*/ 17 h 68"/>
                <a:gd name="T58" fmla="*/ 65 w 66"/>
                <a:gd name="T59" fmla="*/ 19 h 68"/>
                <a:gd name="T60" fmla="*/ 62 w 66"/>
                <a:gd name="T61" fmla="*/ 23 h 68"/>
                <a:gd name="T62" fmla="*/ 61 w 66"/>
                <a:gd name="T63" fmla="*/ 24 h 68"/>
                <a:gd name="T64" fmla="*/ 61 w 66"/>
                <a:gd name="T65" fmla="*/ 28 h 68"/>
                <a:gd name="T66" fmla="*/ 65 w 66"/>
                <a:gd name="T67" fmla="*/ 3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6" h="68">
                  <a:moveTo>
                    <a:pt x="65" y="37"/>
                  </a:moveTo>
                  <a:cubicBezTo>
                    <a:pt x="65" y="38"/>
                    <a:pt x="65" y="39"/>
                    <a:pt x="65" y="39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8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1" y="68"/>
                    <a:pt x="49" y="67"/>
                    <a:pt x="48" y="66"/>
                  </a:cubicBezTo>
                  <a:cubicBezTo>
                    <a:pt x="42" y="61"/>
                    <a:pt x="31" y="50"/>
                    <a:pt x="30" y="50"/>
                  </a:cubicBezTo>
                  <a:cubicBezTo>
                    <a:pt x="28" y="49"/>
                    <a:pt x="22" y="36"/>
                    <a:pt x="19" y="31"/>
                  </a:cubicBezTo>
                  <a:cubicBezTo>
                    <a:pt x="18" y="30"/>
                    <a:pt x="17" y="30"/>
                    <a:pt x="16" y="30"/>
                  </a:cubicBezTo>
                  <a:cubicBezTo>
                    <a:pt x="13" y="31"/>
                    <a:pt x="10" y="32"/>
                    <a:pt x="7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4" y="27"/>
                    <a:pt x="3" y="24"/>
                    <a:pt x="5" y="21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7" y="12"/>
                    <a:pt x="18" y="11"/>
                    <a:pt x="18" y="11"/>
                  </a:cubicBezTo>
                  <a:cubicBezTo>
                    <a:pt x="20" y="8"/>
                    <a:pt x="24" y="1"/>
                    <a:pt x="24" y="0"/>
                  </a:cubicBezTo>
                  <a:cubicBezTo>
                    <a:pt x="24" y="0"/>
                    <a:pt x="28" y="1"/>
                    <a:pt x="31" y="3"/>
                  </a:cubicBezTo>
                  <a:cubicBezTo>
                    <a:pt x="32" y="3"/>
                    <a:pt x="33" y="3"/>
                    <a:pt x="34" y="2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8" y="0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4" y="7"/>
                    <a:pt x="56" y="7"/>
                    <a:pt x="58" y="6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1"/>
                    <a:pt x="60" y="12"/>
                    <a:pt x="62" y="12"/>
                  </a:cubicBezTo>
                  <a:cubicBezTo>
                    <a:pt x="63" y="12"/>
                    <a:pt x="65" y="13"/>
                    <a:pt x="65" y="15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6" y="17"/>
                    <a:pt x="65" y="18"/>
                    <a:pt x="65" y="19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0" y="25"/>
                    <a:pt x="60" y="27"/>
                    <a:pt x="61" y="28"/>
                  </a:cubicBezTo>
                  <a:lnTo>
                    <a:pt x="65" y="3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32">
              <a:extLst>
                <a:ext uri="{FF2B5EF4-FFF2-40B4-BE49-F238E27FC236}">
                  <a16:creationId xmlns:a16="http://schemas.microsoft.com/office/drawing/2014/main" id="{CBDFB4AB-7D37-4AB6-B106-BF84BDB17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2863" y="3286126"/>
              <a:ext cx="314325" cy="244475"/>
            </a:xfrm>
            <a:custGeom>
              <a:avLst/>
              <a:gdLst>
                <a:gd name="T0" fmla="*/ 98 w 105"/>
                <a:gd name="T1" fmla="*/ 68 h 82"/>
                <a:gd name="T2" fmla="*/ 100 w 105"/>
                <a:gd name="T3" fmla="*/ 68 h 82"/>
                <a:gd name="T4" fmla="*/ 103 w 105"/>
                <a:gd name="T5" fmla="*/ 67 h 82"/>
                <a:gd name="T6" fmla="*/ 105 w 105"/>
                <a:gd name="T7" fmla="*/ 64 h 82"/>
                <a:gd name="T8" fmla="*/ 101 w 105"/>
                <a:gd name="T9" fmla="*/ 55 h 82"/>
                <a:gd name="T10" fmla="*/ 100 w 105"/>
                <a:gd name="T11" fmla="*/ 53 h 82"/>
                <a:gd name="T12" fmla="*/ 100 w 105"/>
                <a:gd name="T13" fmla="*/ 41 h 82"/>
                <a:gd name="T14" fmla="*/ 98 w 105"/>
                <a:gd name="T15" fmla="*/ 37 h 82"/>
                <a:gd name="T16" fmla="*/ 95 w 105"/>
                <a:gd name="T17" fmla="*/ 36 h 82"/>
                <a:gd name="T18" fmla="*/ 93 w 105"/>
                <a:gd name="T19" fmla="*/ 32 h 82"/>
                <a:gd name="T20" fmla="*/ 95 w 105"/>
                <a:gd name="T21" fmla="*/ 29 h 82"/>
                <a:gd name="T22" fmla="*/ 98 w 105"/>
                <a:gd name="T23" fmla="*/ 27 h 82"/>
                <a:gd name="T24" fmla="*/ 100 w 105"/>
                <a:gd name="T25" fmla="*/ 22 h 82"/>
                <a:gd name="T26" fmla="*/ 91 w 105"/>
                <a:gd name="T27" fmla="*/ 1 h 82"/>
                <a:gd name="T28" fmla="*/ 89 w 105"/>
                <a:gd name="T29" fmla="*/ 0 h 82"/>
                <a:gd name="T30" fmla="*/ 86 w 105"/>
                <a:gd name="T31" fmla="*/ 3 h 82"/>
                <a:gd name="T32" fmla="*/ 70 w 105"/>
                <a:gd name="T33" fmla="*/ 3 h 82"/>
                <a:gd name="T34" fmla="*/ 70 w 105"/>
                <a:gd name="T35" fmla="*/ 14 h 82"/>
                <a:gd name="T36" fmla="*/ 59 w 105"/>
                <a:gd name="T37" fmla="*/ 14 h 82"/>
                <a:gd name="T38" fmla="*/ 53 w 105"/>
                <a:gd name="T39" fmla="*/ 8 h 82"/>
                <a:gd name="T40" fmla="*/ 40 w 105"/>
                <a:gd name="T41" fmla="*/ 8 h 82"/>
                <a:gd name="T42" fmla="*/ 7 w 105"/>
                <a:gd name="T43" fmla="*/ 23 h 82"/>
                <a:gd name="T44" fmla="*/ 6 w 105"/>
                <a:gd name="T45" fmla="*/ 23 h 82"/>
                <a:gd name="T46" fmla="*/ 4 w 105"/>
                <a:gd name="T47" fmla="*/ 26 h 82"/>
                <a:gd name="T48" fmla="*/ 1 w 105"/>
                <a:gd name="T49" fmla="*/ 35 h 82"/>
                <a:gd name="T50" fmla="*/ 4 w 105"/>
                <a:gd name="T51" fmla="*/ 47 h 82"/>
                <a:gd name="T52" fmla="*/ 4 w 105"/>
                <a:gd name="T53" fmla="*/ 53 h 82"/>
                <a:gd name="T54" fmla="*/ 44 w 105"/>
                <a:gd name="T55" fmla="*/ 71 h 82"/>
                <a:gd name="T56" fmla="*/ 46 w 105"/>
                <a:gd name="T57" fmla="*/ 74 h 82"/>
                <a:gd name="T58" fmla="*/ 50 w 105"/>
                <a:gd name="T59" fmla="*/ 73 h 82"/>
                <a:gd name="T60" fmla="*/ 51 w 105"/>
                <a:gd name="T61" fmla="*/ 73 h 82"/>
                <a:gd name="T62" fmla="*/ 53 w 105"/>
                <a:gd name="T63" fmla="*/ 73 h 82"/>
                <a:gd name="T64" fmla="*/ 56 w 105"/>
                <a:gd name="T65" fmla="*/ 74 h 82"/>
                <a:gd name="T66" fmla="*/ 61 w 105"/>
                <a:gd name="T67" fmla="*/ 78 h 82"/>
                <a:gd name="T68" fmla="*/ 67 w 105"/>
                <a:gd name="T69" fmla="*/ 78 h 82"/>
                <a:gd name="T70" fmla="*/ 70 w 105"/>
                <a:gd name="T71" fmla="*/ 77 h 82"/>
                <a:gd name="T72" fmla="*/ 82 w 105"/>
                <a:gd name="T73" fmla="*/ 77 h 82"/>
                <a:gd name="T74" fmla="*/ 85 w 105"/>
                <a:gd name="T75" fmla="*/ 78 h 82"/>
                <a:gd name="T76" fmla="*/ 88 w 105"/>
                <a:gd name="T77" fmla="*/ 82 h 82"/>
                <a:gd name="T78" fmla="*/ 95 w 105"/>
                <a:gd name="T79" fmla="*/ 70 h 82"/>
                <a:gd name="T80" fmla="*/ 98 w 105"/>
                <a:gd name="T81" fmla="*/ 6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5" h="82">
                  <a:moveTo>
                    <a:pt x="98" y="68"/>
                  </a:moveTo>
                  <a:cubicBezTo>
                    <a:pt x="100" y="68"/>
                    <a:pt x="100" y="68"/>
                    <a:pt x="100" y="68"/>
                  </a:cubicBezTo>
                  <a:cubicBezTo>
                    <a:pt x="101" y="68"/>
                    <a:pt x="102" y="67"/>
                    <a:pt x="103" y="67"/>
                  </a:cubicBezTo>
                  <a:cubicBezTo>
                    <a:pt x="105" y="64"/>
                    <a:pt x="105" y="64"/>
                    <a:pt x="105" y="64"/>
                  </a:cubicBezTo>
                  <a:cubicBezTo>
                    <a:pt x="101" y="55"/>
                    <a:pt x="101" y="55"/>
                    <a:pt x="101" y="55"/>
                  </a:cubicBezTo>
                  <a:cubicBezTo>
                    <a:pt x="100" y="55"/>
                    <a:pt x="100" y="54"/>
                    <a:pt x="100" y="53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39"/>
                    <a:pt x="99" y="38"/>
                    <a:pt x="98" y="37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4" y="35"/>
                    <a:pt x="93" y="34"/>
                    <a:pt x="93" y="32"/>
                  </a:cubicBezTo>
                  <a:cubicBezTo>
                    <a:pt x="93" y="31"/>
                    <a:pt x="94" y="29"/>
                    <a:pt x="95" y="2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0" y="26"/>
                    <a:pt x="101" y="24"/>
                    <a:pt x="100" y="22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0" y="1"/>
                    <a:pt x="90" y="0"/>
                    <a:pt x="89" y="0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4"/>
                    <a:pt x="5" y="25"/>
                    <a:pt x="4" y="26"/>
                  </a:cubicBezTo>
                  <a:cubicBezTo>
                    <a:pt x="1" y="28"/>
                    <a:pt x="0" y="32"/>
                    <a:pt x="1" y="35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5" y="49"/>
                    <a:pt x="4" y="52"/>
                    <a:pt x="4" y="53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2"/>
                    <a:pt x="46" y="73"/>
                    <a:pt x="46" y="74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1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4" y="73"/>
                    <a:pt x="55" y="73"/>
                    <a:pt x="56" y="74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2" y="80"/>
                    <a:pt x="65" y="80"/>
                    <a:pt x="67" y="78"/>
                  </a:cubicBezTo>
                  <a:cubicBezTo>
                    <a:pt x="68" y="77"/>
                    <a:pt x="69" y="77"/>
                    <a:pt x="70" y="77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83" y="77"/>
                    <a:pt x="84" y="77"/>
                    <a:pt x="85" y="78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6" y="69"/>
                    <a:pt x="97" y="68"/>
                    <a:pt x="98" y="6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33">
              <a:extLst>
                <a:ext uri="{FF2B5EF4-FFF2-40B4-BE49-F238E27FC236}">
                  <a16:creationId xmlns:a16="http://schemas.microsoft.com/office/drawing/2014/main" id="{F2562559-7722-4680-A207-5DB29DB629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950" y="3563938"/>
              <a:ext cx="215900" cy="128588"/>
            </a:xfrm>
            <a:custGeom>
              <a:avLst/>
              <a:gdLst>
                <a:gd name="T0" fmla="*/ 7 w 72"/>
                <a:gd name="T1" fmla="*/ 33 h 43"/>
                <a:gd name="T2" fmla="*/ 11 w 72"/>
                <a:gd name="T3" fmla="*/ 36 h 43"/>
                <a:gd name="T4" fmla="*/ 24 w 72"/>
                <a:gd name="T5" fmla="*/ 42 h 43"/>
                <a:gd name="T6" fmla="*/ 32 w 72"/>
                <a:gd name="T7" fmla="*/ 42 h 43"/>
                <a:gd name="T8" fmla="*/ 39 w 72"/>
                <a:gd name="T9" fmla="*/ 38 h 43"/>
                <a:gd name="T10" fmla="*/ 46 w 72"/>
                <a:gd name="T11" fmla="*/ 38 h 43"/>
                <a:gd name="T12" fmla="*/ 56 w 72"/>
                <a:gd name="T13" fmla="*/ 34 h 43"/>
                <a:gd name="T14" fmla="*/ 70 w 72"/>
                <a:gd name="T15" fmla="*/ 15 h 43"/>
                <a:gd name="T16" fmla="*/ 68 w 72"/>
                <a:gd name="T17" fmla="*/ 3 h 43"/>
                <a:gd name="T18" fmla="*/ 65 w 72"/>
                <a:gd name="T19" fmla="*/ 0 h 43"/>
                <a:gd name="T20" fmla="*/ 63 w 72"/>
                <a:gd name="T21" fmla="*/ 1 h 43"/>
                <a:gd name="T22" fmla="*/ 49 w 72"/>
                <a:gd name="T23" fmla="*/ 1 h 43"/>
                <a:gd name="T24" fmla="*/ 47 w 72"/>
                <a:gd name="T25" fmla="*/ 1 h 43"/>
                <a:gd name="T26" fmla="*/ 31 w 72"/>
                <a:gd name="T27" fmla="*/ 10 h 43"/>
                <a:gd name="T28" fmla="*/ 29 w 72"/>
                <a:gd name="T29" fmla="*/ 11 h 43"/>
                <a:gd name="T30" fmla="*/ 7 w 72"/>
                <a:gd name="T31" fmla="*/ 11 h 43"/>
                <a:gd name="T32" fmla="*/ 6 w 72"/>
                <a:gd name="T33" fmla="*/ 14 h 43"/>
                <a:gd name="T34" fmla="*/ 1 w 72"/>
                <a:gd name="T35" fmla="*/ 22 h 43"/>
                <a:gd name="T36" fmla="*/ 0 w 72"/>
                <a:gd name="T37" fmla="*/ 25 h 43"/>
                <a:gd name="T38" fmla="*/ 7 w 72"/>
                <a:gd name="T39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43">
                  <a:moveTo>
                    <a:pt x="7" y="33"/>
                  </a:moveTo>
                  <a:cubicBezTo>
                    <a:pt x="8" y="34"/>
                    <a:pt x="9" y="35"/>
                    <a:pt x="11" y="36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7" y="43"/>
                    <a:pt x="30" y="43"/>
                    <a:pt x="32" y="42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41" y="37"/>
                    <a:pt x="44" y="37"/>
                    <a:pt x="46" y="38"/>
                  </a:cubicBezTo>
                  <a:cubicBezTo>
                    <a:pt x="49" y="39"/>
                    <a:pt x="53" y="37"/>
                    <a:pt x="56" y="34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2" y="12"/>
                    <a:pt x="72" y="6"/>
                    <a:pt x="68" y="3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4" y="1"/>
                    <a:pt x="64" y="1"/>
                    <a:pt x="63" y="1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1"/>
                    <a:pt x="48" y="1"/>
                    <a:pt x="47" y="1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0" y="11"/>
                    <a:pt x="29" y="11"/>
                    <a:pt x="29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2"/>
                    <a:pt x="6" y="13"/>
                    <a:pt x="6" y="14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0" y="24"/>
                    <a:pt x="0" y="25"/>
                  </a:cubicBezTo>
                  <a:lnTo>
                    <a:pt x="7" y="3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34">
              <a:extLst>
                <a:ext uri="{FF2B5EF4-FFF2-40B4-BE49-F238E27FC236}">
                  <a16:creationId xmlns:a16="http://schemas.microsoft.com/office/drawing/2014/main" id="{258E59F5-169B-446F-AF1C-CABB57E7F6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600" y="3503613"/>
              <a:ext cx="215900" cy="92075"/>
            </a:xfrm>
            <a:custGeom>
              <a:avLst/>
              <a:gdLst>
                <a:gd name="T0" fmla="*/ 33 w 72"/>
                <a:gd name="T1" fmla="*/ 30 h 31"/>
                <a:gd name="T2" fmla="*/ 49 w 72"/>
                <a:gd name="T3" fmla="*/ 21 h 31"/>
                <a:gd name="T4" fmla="*/ 51 w 72"/>
                <a:gd name="T5" fmla="*/ 21 h 31"/>
                <a:gd name="T6" fmla="*/ 65 w 72"/>
                <a:gd name="T7" fmla="*/ 21 h 31"/>
                <a:gd name="T8" fmla="*/ 68 w 72"/>
                <a:gd name="T9" fmla="*/ 19 h 31"/>
                <a:gd name="T10" fmla="*/ 70 w 72"/>
                <a:gd name="T11" fmla="*/ 17 h 31"/>
                <a:gd name="T12" fmla="*/ 70 w 72"/>
                <a:gd name="T13" fmla="*/ 11 h 31"/>
                <a:gd name="T14" fmla="*/ 65 w 72"/>
                <a:gd name="T15" fmla="*/ 5 h 31"/>
                <a:gd name="T16" fmla="*/ 62 w 72"/>
                <a:gd name="T17" fmla="*/ 4 h 31"/>
                <a:gd name="T18" fmla="*/ 50 w 72"/>
                <a:gd name="T19" fmla="*/ 4 h 31"/>
                <a:gd name="T20" fmla="*/ 47 w 72"/>
                <a:gd name="T21" fmla="*/ 5 h 31"/>
                <a:gd name="T22" fmla="*/ 41 w 72"/>
                <a:gd name="T23" fmla="*/ 5 h 31"/>
                <a:gd name="T24" fmla="*/ 36 w 72"/>
                <a:gd name="T25" fmla="*/ 1 h 31"/>
                <a:gd name="T26" fmla="*/ 33 w 72"/>
                <a:gd name="T27" fmla="*/ 0 h 31"/>
                <a:gd name="T28" fmla="*/ 31 w 72"/>
                <a:gd name="T29" fmla="*/ 0 h 31"/>
                <a:gd name="T30" fmla="*/ 30 w 72"/>
                <a:gd name="T31" fmla="*/ 0 h 31"/>
                <a:gd name="T32" fmla="*/ 26 w 72"/>
                <a:gd name="T33" fmla="*/ 1 h 31"/>
                <a:gd name="T34" fmla="*/ 27 w 72"/>
                <a:gd name="T35" fmla="*/ 2 h 31"/>
                <a:gd name="T36" fmla="*/ 27 w 72"/>
                <a:gd name="T37" fmla="*/ 2 h 31"/>
                <a:gd name="T38" fmla="*/ 27 w 72"/>
                <a:gd name="T39" fmla="*/ 3 h 31"/>
                <a:gd name="T40" fmla="*/ 27 w 72"/>
                <a:gd name="T41" fmla="*/ 4 h 31"/>
                <a:gd name="T42" fmla="*/ 26 w 72"/>
                <a:gd name="T43" fmla="*/ 4 h 31"/>
                <a:gd name="T44" fmla="*/ 26 w 72"/>
                <a:gd name="T45" fmla="*/ 5 h 31"/>
                <a:gd name="T46" fmla="*/ 25 w 72"/>
                <a:gd name="T47" fmla="*/ 6 h 31"/>
                <a:gd name="T48" fmla="*/ 18 w 72"/>
                <a:gd name="T49" fmla="*/ 13 h 31"/>
                <a:gd name="T50" fmla="*/ 15 w 72"/>
                <a:gd name="T51" fmla="*/ 14 h 31"/>
                <a:gd name="T52" fmla="*/ 1 w 72"/>
                <a:gd name="T53" fmla="*/ 14 h 31"/>
                <a:gd name="T54" fmla="*/ 0 w 72"/>
                <a:gd name="T55" fmla="*/ 15 h 31"/>
                <a:gd name="T56" fmla="*/ 0 w 72"/>
                <a:gd name="T57" fmla="*/ 15 h 31"/>
                <a:gd name="T58" fmla="*/ 6 w 72"/>
                <a:gd name="T59" fmla="*/ 20 h 31"/>
                <a:gd name="T60" fmla="*/ 8 w 72"/>
                <a:gd name="T61" fmla="*/ 28 h 31"/>
                <a:gd name="T62" fmla="*/ 9 w 72"/>
                <a:gd name="T63" fmla="*/ 31 h 31"/>
                <a:gd name="T64" fmla="*/ 31 w 72"/>
                <a:gd name="T65" fmla="*/ 31 h 31"/>
                <a:gd name="T66" fmla="*/ 33 w 72"/>
                <a:gd name="T67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2" h="31">
                  <a:moveTo>
                    <a:pt x="33" y="30"/>
                  </a:move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1" y="21"/>
                    <a:pt x="51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6" y="21"/>
                    <a:pt x="67" y="20"/>
                    <a:pt x="68" y="19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2" y="15"/>
                    <a:pt x="72" y="13"/>
                    <a:pt x="70" y="11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4" y="4"/>
                    <a:pt x="63" y="4"/>
                    <a:pt x="62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9" y="4"/>
                    <a:pt x="48" y="4"/>
                    <a:pt x="47" y="5"/>
                  </a:cubicBezTo>
                  <a:cubicBezTo>
                    <a:pt x="45" y="7"/>
                    <a:pt x="42" y="7"/>
                    <a:pt x="41" y="5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5" y="0"/>
                    <a:pt x="34" y="0"/>
                    <a:pt x="3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1"/>
                    <a:pt x="27" y="1"/>
                    <a:pt x="27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2"/>
                    <a:pt x="27" y="3"/>
                    <a:pt x="27" y="3"/>
                  </a:cubicBezTo>
                  <a:cubicBezTo>
                    <a:pt x="27" y="3"/>
                    <a:pt x="27" y="3"/>
                    <a:pt x="27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6" y="6"/>
                    <a:pt x="25" y="6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7" y="14"/>
                    <a:pt x="16" y="14"/>
                    <a:pt x="15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0" y="14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3" y="15"/>
                    <a:pt x="5" y="18"/>
                    <a:pt x="6" y="20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9" y="29"/>
                    <a:pt x="9" y="30"/>
                    <a:pt x="9" y="31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1" y="31"/>
                    <a:pt x="32" y="31"/>
                    <a:pt x="33" y="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35">
              <a:extLst>
                <a:ext uri="{FF2B5EF4-FFF2-40B4-BE49-F238E27FC236}">
                  <a16:creationId xmlns:a16="http://schemas.microsoft.com/office/drawing/2014/main" id="{7D5875C5-6683-4EFE-B01A-E0D2F541CE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6163" y="3595688"/>
              <a:ext cx="161925" cy="128588"/>
            </a:xfrm>
            <a:custGeom>
              <a:avLst/>
              <a:gdLst>
                <a:gd name="T0" fmla="*/ 47 w 54"/>
                <a:gd name="T1" fmla="*/ 24 h 43"/>
                <a:gd name="T2" fmla="*/ 52 w 54"/>
                <a:gd name="T3" fmla="*/ 21 h 43"/>
                <a:gd name="T4" fmla="*/ 54 w 54"/>
                <a:gd name="T5" fmla="*/ 17 h 43"/>
                <a:gd name="T6" fmla="*/ 51 w 54"/>
                <a:gd name="T7" fmla="*/ 13 h 43"/>
                <a:gd name="T8" fmla="*/ 49 w 54"/>
                <a:gd name="T9" fmla="*/ 13 h 43"/>
                <a:gd name="T10" fmla="*/ 45 w 54"/>
                <a:gd name="T11" fmla="*/ 8 h 43"/>
                <a:gd name="T12" fmla="*/ 45 w 54"/>
                <a:gd name="T13" fmla="*/ 7 h 43"/>
                <a:gd name="T14" fmla="*/ 45 w 54"/>
                <a:gd name="T15" fmla="*/ 7 h 43"/>
                <a:gd name="T16" fmla="*/ 41 w 54"/>
                <a:gd name="T17" fmla="*/ 6 h 43"/>
                <a:gd name="T18" fmla="*/ 31 w 54"/>
                <a:gd name="T19" fmla="*/ 1 h 43"/>
                <a:gd name="T20" fmla="*/ 27 w 54"/>
                <a:gd name="T21" fmla="*/ 0 h 43"/>
                <a:gd name="T22" fmla="*/ 19 w 54"/>
                <a:gd name="T23" fmla="*/ 0 h 43"/>
                <a:gd name="T24" fmla="*/ 1 w 54"/>
                <a:gd name="T25" fmla="*/ 29 h 43"/>
                <a:gd name="T26" fmla="*/ 4 w 54"/>
                <a:gd name="T27" fmla="*/ 34 h 43"/>
                <a:gd name="T28" fmla="*/ 5 w 54"/>
                <a:gd name="T29" fmla="*/ 34 h 43"/>
                <a:gd name="T30" fmla="*/ 8 w 54"/>
                <a:gd name="T31" fmla="*/ 37 h 43"/>
                <a:gd name="T32" fmla="*/ 8 w 54"/>
                <a:gd name="T33" fmla="*/ 43 h 43"/>
                <a:gd name="T34" fmla="*/ 9 w 54"/>
                <a:gd name="T35" fmla="*/ 43 h 43"/>
                <a:gd name="T36" fmla="*/ 15 w 54"/>
                <a:gd name="T37" fmla="*/ 43 h 43"/>
                <a:gd name="T38" fmla="*/ 19 w 54"/>
                <a:gd name="T39" fmla="*/ 39 h 43"/>
                <a:gd name="T40" fmla="*/ 23 w 54"/>
                <a:gd name="T41" fmla="*/ 35 h 43"/>
                <a:gd name="T42" fmla="*/ 37 w 54"/>
                <a:gd name="T43" fmla="*/ 35 h 43"/>
                <a:gd name="T44" fmla="*/ 44 w 54"/>
                <a:gd name="T45" fmla="*/ 32 h 43"/>
                <a:gd name="T46" fmla="*/ 44 w 54"/>
                <a:gd name="T47" fmla="*/ 32 h 43"/>
                <a:gd name="T48" fmla="*/ 44 w 54"/>
                <a:gd name="T49" fmla="*/ 29 h 43"/>
                <a:gd name="T50" fmla="*/ 47 w 54"/>
                <a:gd name="T51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43">
                  <a:moveTo>
                    <a:pt x="47" y="24"/>
                  </a:moveTo>
                  <a:cubicBezTo>
                    <a:pt x="52" y="21"/>
                    <a:pt x="52" y="21"/>
                    <a:pt x="52" y="21"/>
                  </a:cubicBezTo>
                  <a:cubicBezTo>
                    <a:pt x="54" y="20"/>
                    <a:pt x="54" y="18"/>
                    <a:pt x="54" y="17"/>
                  </a:cubicBezTo>
                  <a:cubicBezTo>
                    <a:pt x="54" y="15"/>
                    <a:pt x="53" y="13"/>
                    <a:pt x="51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7" y="13"/>
                    <a:pt x="45" y="11"/>
                    <a:pt x="45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3" y="7"/>
                    <a:pt x="42" y="6"/>
                    <a:pt x="41" y="6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0" y="0"/>
                    <a:pt x="28" y="0"/>
                    <a:pt x="27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0" y="31"/>
                    <a:pt x="1" y="34"/>
                    <a:pt x="4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7" y="34"/>
                    <a:pt x="8" y="36"/>
                    <a:pt x="8" y="37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7" y="43"/>
                    <a:pt x="19" y="41"/>
                    <a:pt x="19" y="39"/>
                  </a:cubicBezTo>
                  <a:cubicBezTo>
                    <a:pt x="19" y="37"/>
                    <a:pt x="21" y="35"/>
                    <a:pt x="23" y="35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40" y="35"/>
                    <a:pt x="42" y="34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7"/>
                    <a:pt x="45" y="25"/>
                    <a:pt x="47" y="2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36">
              <a:extLst>
                <a:ext uri="{FF2B5EF4-FFF2-40B4-BE49-F238E27FC236}">
                  <a16:creationId xmlns:a16="http://schemas.microsoft.com/office/drawing/2014/main" id="{95DCF233-F818-4EDF-BF39-189F759EA4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0" y="3365501"/>
              <a:ext cx="119063" cy="114300"/>
            </a:xfrm>
            <a:custGeom>
              <a:avLst/>
              <a:gdLst>
                <a:gd name="T0" fmla="*/ 24 w 40"/>
                <a:gd name="T1" fmla="*/ 31 h 38"/>
                <a:gd name="T2" fmla="*/ 32 w 40"/>
                <a:gd name="T3" fmla="*/ 17 h 38"/>
                <a:gd name="T4" fmla="*/ 40 w 40"/>
                <a:gd name="T5" fmla="*/ 4 h 38"/>
                <a:gd name="T6" fmla="*/ 40 w 40"/>
                <a:gd name="T7" fmla="*/ 2 h 38"/>
                <a:gd name="T8" fmla="*/ 39 w 40"/>
                <a:gd name="T9" fmla="*/ 0 h 38"/>
                <a:gd name="T10" fmla="*/ 24 w 40"/>
                <a:gd name="T11" fmla="*/ 1 h 38"/>
                <a:gd name="T12" fmla="*/ 22 w 40"/>
                <a:gd name="T13" fmla="*/ 1 h 38"/>
                <a:gd name="T14" fmla="*/ 17 w 40"/>
                <a:gd name="T15" fmla="*/ 5 h 38"/>
                <a:gd name="T16" fmla="*/ 16 w 40"/>
                <a:gd name="T17" fmla="*/ 9 h 38"/>
                <a:gd name="T18" fmla="*/ 18 w 40"/>
                <a:gd name="T19" fmla="*/ 13 h 38"/>
                <a:gd name="T20" fmla="*/ 16 w 40"/>
                <a:gd name="T21" fmla="*/ 17 h 38"/>
                <a:gd name="T22" fmla="*/ 11 w 40"/>
                <a:gd name="T23" fmla="*/ 15 h 38"/>
                <a:gd name="T24" fmla="*/ 11 w 40"/>
                <a:gd name="T25" fmla="*/ 15 h 38"/>
                <a:gd name="T26" fmla="*/ 6 w 40"/>
                <a:gd name="T27" fmla="*/ 13 h 38"/>
                <a:gd name="T28" fmla="*/ 4 w 40"/>
                <a:gd name="T29" fmla="*/ 15 h 38"/>
                <a:gd name="T30" fmla="*/ 2 w 40"/>
                <a:gd name="T31" fmla="*/ 17 h 38"/>
                <a:gd name="T32" fmla="*/ 0 w 40"/>
                <a:gd name="T33" fmla="*/ 26 h 38"/>
                <a:gd name="T34" fmla="*/ 9 w 40"/>
                <a:gd name="T35" fmla="*/ 26 h 38"/>
                <a:gd name="T36" fmla="*/ 23 w 40"/>
                <a:gd name="T37" fmla="*/ 36 h 38"/>
                <a:gd name="T38" fmla="*/ 24 w 40"/>
                <a:gd name="T39" fmla="*/ 37 h 38"/>
                <a:gd name="T40" fmla="*/ 24 w 40"/>
                <a:gd name="T41" fmla="*/ 38 h 38"/>
                <a:gd name="T42" fmla="*/ 24 w 40"/>
                <a:gd name="T43" fmla="*/ 38 h 38"/>
                <a:gd name="T44" fmla="*/ 24 w 40"/>
                <a:gd name="T45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38">
                  <a:moveTo>
                    <a:pt x="24" y="31"/>
                  </a:moveTo>
                  <a:cubicBezTo>
                    <a:pt x="24" y="25"/>
                    <a:pt x="27" y="20"/>
                    <a:pt x="32" y="17"/>
                  </a:cubicBezTo>
                  <a:cubicBezTo>
                    <a:pt x="37" y="14"/>
                    <a:pt x="40" y="9"/>
                    <a:pt x="40" y="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2"/>
                    <a:pt x="40" y="1"/>
                    <a:pt x="39" y="0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4" y="1"/>
                    <a:pt x="23" y="1"/>
                    <a:pt x="22" y="1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6"/>
                    <a:pt x="16" y="8"/>
                    <a:pt x="16" y="9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5"/>
                    <a:pt x="18" y="16"/>
                    <a:pt x="16" y="17"/>
                  </a:cubicBezTo>
                  <a:cubicBezTo>
                    <a:pt x="15" y="19"/>
                    <a:pt x="12" y="18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3"/>
                    <a:pt x="8" y="12"/>
                    <a:pt x="6" y="13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3" y="16"/>
                    <a:pt x="2" y="1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15" y="26"/>
                    <a:pt x="21" y="30"/>
                    <a:pt x="23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8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lnTo>
                    <a:pt x="24" y="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37">
              <a:extLst>
                <a:ext uri="{FF2B5EF4-FFF2-40B4-BE49-F238E27FC236}">
                  <a16:creationId xmlns:a16="http://schemas.microsoft.com/office/drawing/2014/main" id="{ED62CA2E-6C34-470D-92C5-6D853F73FF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7575" y="3443288"/>
              <a:ext cx="128588" cy="107950"/>
            </a:xfrm>
            <a:custGeom>
              <a:avLst/>
              <a:gdLst>
                <a:gd name="T0" fmla="*/ 39 w 43"/>
                <a:gd name="T1" fmla="*/ 28 h 36"/>
                <a:gd name="T2" fmla="*/ 42 w 43"/>
                <a:gd name="T3" fmla="*/ 22 h 36"/>
                <a:gd name="T4" fmla="*/ 42 w 43"/>
                <a:gd name="T5" fmla="*/ 11 h 36"/>
                <a:gd name="T6" fmla="*/ 41 w 43"/>
                <a:gd name="T7" fmla="*/ 10 h 36"/>
                <a:gd name="T8" fmla="*/ 27 w 43"/>
                <a:gd name="T9" fmla="*/ 0 h 36"/>
                <a:gd name="T10" fmla="*/ 18 w 43"/>
                <a:gd name="T11" fmla="*/ 0 h 36"/>
                <a:gd name="T12" fmla="*/ 18 w 43"/>
                <a:gd name="T13" fmla="*/ 1 h 36"/>
                <a:gd name="T14" fmla="*/ 17 w 43"/>
                <a:gd name="T15" fmla="*/ 3 h 36"/>
                <a:gd name="T16" fmla="*/ 4 w 43"/>
                <a:gd name="T17" fmla="*/ 14 h 36"/>
                <a:gd name="T18" fmla="*/ 0 w 43"/>
                <a:gd name="T19" fmla="*/ 15 h 36"/>
                <a:gd name="T20" fmla="*/ 26 w 43"/>
                <a:gd name="T21" fmla="*/ 35 h 36"/>
                <a:gd name="T22" fmla="*/ 28 w 43"/>
                <a:gd name="T23" fmla="*/ 36 h 36"/>
                <a:gd name="T24" fmla="*/ 32 w 43"/>
                <a:gd name="T25" fmla="*/ 36 h 36"/>
                <a:gd name="T26" fmla="*/ 39 w 43"/>
                <a:gd name="T2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" h="36">
                  <a:moveTo>
                    <a:pt x="39" y="28"/>
                  </a:moveTo>
                  <a:cubicBezTo>
                    <a:pt x="42" y="22"/>
                    <a:pt x="42" y="22"/>
                    <a:pt x="42" y="22"/>
                  </a:cubicBezTo>
                  <a:cubicBezTo>
                    <a:pt x="43" y="19"/>
                    <a:pt x="43" y="14"/>
                    <a:pt x="42" y="11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9" y="4"/>
                    <a:pt x="33" y="0"/>
                    <a:pt x="2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6"/>
                    <a:pt x="27" y="36"/>
                    <a:pt x="28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5" y="34"/>
                    <a:pt x="38" y="31"/>
                    <a:pt x="39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38">
              <a:extLst>
                <a:ext uri="{FF2B5EF4-FFF2-40B4-BE49-F238E27FC236}">
                  <a16:creationId xmlns:a16="http://schemas.microsoft.com/office/drawing/2014/main" id="{5E520E2C-CE27-44C9-98B5-48986BD9E9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5" y="3662363"/>
              <a:ext cx="409575" cy="396875"/>
            </a:xfrm>
            <a:custGeom>
              <a:avLst/>
              <a:gdLst>
                <a:gd name="T0" fmla="*/ 70 w 137"/>
                <a:gd name="T1" fmla="*/ 9 h 133"/>
                <a:gd name="T2" fmla="*/ 64 w 137"/>
                <a:gd name="T3" fmla="*/ 5 h 133"/>
                <a:gd name="T4" fmla="*/ 51 w 137"/>
                <a:gd name="T5" fmla="*/ 2 h 133"/>
                <a:gd name="T6" fmla="*/ 44 w 137"/>
                <a:gd name="T7" fmla="*/ 6 h 133"/>
                <a:gd name="T8" fmla="*/ 36 w 137"/>
                <a:gd name="T9" fmla="*/ 10 h 133"/>
                <a:gd name="T10" fmla="*/ 15 w 137"/>
                <a:gd name="T11" fmla="*/ 13 h 133"/>
                <a:gd name="T12" fmla="*/ 7 w 137"/>
                <a:gd name="T13" fmla="*/ 21 h 133"/>
                <a:gd name="T14" fmla="*/ 0 w 137"/>
                <a:gd name="T15" fmla="*/ 21 h 133"/>
                <a:gd name="T16" fmla="*/ 4 w 137"/>
                <a:gd name="T17" fmla="*/ 41 h 133"/>
                <a:gd name="T18" fmla="*/ 7 w 137"/>
                <a:gd name="T19" fmla="*/ 51 h 133"/>
                <a:gd name="T20" fmla="*/ 26 w 137"/>
                <a:gd name="T21" fmla="*/ 43 h 133"/>
                <a:gd name="T22" fmla="*/ 40 w 137"/>
                <a:gd name="T23" fmla="*/ 55 h 133"/>
                <a:gd name="T24" fmla="*/ 50 w 137"/>
                <a:gd name="T25" fmla="*/ 68 h 133"/>
                <a:gd name="T26" fmla="*/ 64 w 137"/>
                <a:gd name="T27" fmla="*/ 79 h 133"/>
                <a:gd name="T28" fmla="*/ 81 w 137"/>
                <a:gd name="T29" fmla="*/ 87 h 133"/>
                <a:gd name="T30" fmla="*/ 94 w 137"/>
                <a:gd name="T31" fmla="*/ 99 h 133"/>
                <a:gd name="T32" fmla="*/ 108 w 137"/>
                <a:gd name="T33" fmla="*/ 111 h 133"/>
                <a:gd name="T34" fmla="*/ 109 w 137"/>
                <a:gd name="T35" fmla="*/ 114 h 133"/>
                <a:gd name="T36" fmla="*/ 108 w 137"/>
                <a:gd name="T37" fmla="*/ 133 h 133"/>
                <a:gd name="T38" fmla="*/ 117 w 137"/>
                <a:gd name="T39" fmla="*/ 123 h 133"/>
                <a:gd name="T40" fmla="*/ 121 w 137"/>
                <a:gd name="T41" fmla="*/ 115 h 133"/>
                <a:gd name="T42" fmla="*/ 116 w 137"/>
                <a:gd name="T43" fmla="*/ 105 h 133"/>
                <a:gd name="T44" fmla="*/ 120 w 137"/>
                <a:gd name="T45" fmla="*/ 100 h 133"/>
                <a:gd name="T46" fmla="*/ 130 w 137"/>
                <a:gd name="T47" fmla="*/ 106 h 133"/>
                <a:gd name="T48" fmla="*/ 137 w 137"/>
                <a:gd name="T49" fmla="*/ 106 h 133"/>
                <a:gd name="T50" fmla="*/ 133 w 137"/>
                <a:gd name="T51" fmla="*/ 97 h 133"/>
                <a:gd name="T52" fmla="*/ 117 w 137"/>
                <a:gd name="T53" fmla="*/ 88 h 133"/>
                <a:gd name="T54" fmla="*/ 109 w 137"/>
                <a:gd name="T55" fmla="*/ 84 h 133"/>
                <a:gd name="T56" fmla="*/ 102 w 137"/>
                <a:gd name="T57" fmla="*/ 78 h 133"/>
                <a:gd name="T58" fmla="*/ 91 w 137"/>
                <a:gd name="T59" fmla="*/ 74 h 133"/>
                <a:gd name="T60" fmla="*/ 82 w 137"/>
                <a:gd name="T61" fmla="*/ 56 h 133"/>
                <a:gd name="T62" fmla="*/ 63 w 137"/>
                <a:gd name="T63" fmla="*/ 41 h 133"/>
                <a:gd name="T64" fmla="*/ 68 w 137"/>
                <a:gd name="T65" fmla="*/ 22 h 133"/>
                <a:gd name="T66" fmla="*/ 76 w 137"/>
                <a:gd name="T67" fmla="*/ 22 h 133"/>
                <a:gd name="T68" fmla="*/ 76 w 137"/>
                <a:gd name="T69" fmla="*/ 2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" h="133">
                  <a:moveTo>
                    <a:pt x="76" y="20"/>
                  </a:moveTo>
                  <a:cubicBezTo>
                    <a:pt x="78" y="15"/>
                    <a:pt x="75" y="10"/>
                    <a:pt x="70" y="9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5" y="7"/>
                    <a:pt x="64" y="6"/>
                    <a:pt x="64" y="5"/>
                  </a:cubicBezTo>
                  <a:cubicBezTo>
                    <a:pt x="63" y="3"/>
                    <a:pt x="61" y="2"/>
                    <a:pt x="59" y="2"/>
                  </a:cubicBezTo>
                  <a:cubicBezTo>
                    <a:pt x="59" y="2"/>
                    <a:pt x="52" y="0"/>
                    <a:pt x="51" y="2"/>
                  </a:cubicBezTo>
                  <a:cubicBezTo>
                    <a:pt x="50" y="3"/>
                    <a:pt x="50" y="6"/>
                    <a:pt x="50" y="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2" y="6"/>
                    <a:pt x="39" y="7"/>
                    <a:pt x="38" y="8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4" y="12"/>
                    <a:pt x="32" y="13"/>
                    <a:pt x="29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3" y="13"/>
                    <a:pt x="11" y="15"/>
                    <a:pt x="11" y="17"/>
                  </a:cubicBezTo>
                  <a:cubicBezTo>
                    <a:pt x="11" y="19"/>
                    <a:pt x="9" y="21"/>
                    <a:pt x="7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0" y="21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0"/>
                    <a:pt x="2" y="41"/>
                    <a:pt x="4" y="41"/>
                  </a:cubicBezTo>
                  <a:cubicBezTo>
                    <a:pt x="5" y="41"/>
                    <a:pt x="7" y="42"/>
                    <a:pt x="7" y="44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7" y="44"/>
                    <a:pt x="22" y="42"/>
                    <a:pt x="26" y="43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35" y="46"/>
                    <a:pt x="39" y="50"/>
                    <a:pt x="40" y="55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3" y="62"/>
                    <a:pt x="46" y="66"/>
                    <a:pt x="50" y="68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7" y="83"/>
                    <a:pt x="72" y="86"/>
                    <a:pt x="77" y="87"/>
                  </a:cubicBezTo>
                  <a:cubicBezTo>
                    <a:pt x="79" y="87"/>
                    <a:pt x="81" y="87"/>
                    <a:pt x="81" y="87"/>
                  </a:cubicBezTo>
                  <a:cubicBezTo>
                    <a:pt x="82" y="87"/>
                    <a:pt x="85" y="92"/>
                    <a:pt x="88" y="95"/>
                  </a:cubicBezTo>
                  <a:cubicBezTo>
                    <a:pt x="89" y="97"/>
                    <a:pt x="92" y="98"/>
                    <a:pt x="94" y="99"/>
                  </a:cubicBezTo>
                  <a:cubicBezTo>
                    <a:pt x="97" y="100"/>
                    <a:pt x="97" y="100"/>
                    <a:pt x="97" y="100"/>
                  </a:cubicBezTo>
                  <a:cubicBezTo>
                    <a:pt x="102" y="102"/>
                    <a:pt x="106" y="106"/>
                    <a:pt x="108" y="111"/>
                  </a:cubicBezTo>
                  <a:cubicBezTo>
                    <a:pt x="108" y="111"/>
                    <a:pt x="108" y="111"/>
                    <a:pt x="108" y="111"/>
                  </a:cubicBezTo>
                  <a:cubicBezTo>
                    <a:pt x="109" y="112"/>
                    <a:pt x="109" y="113"/>
                    <a:pt x="109" y="114"/>
                  </a:cubicBezTo>
                  <a:cubicBezTo>
                    <a:pt x="109" y="114"/>
                    <a:pt x="105" y="127"/>
                    <a:pt x="106" y="131"/>
                  </a:cubicBezTo>
                  <a:cubicBezTo>
                    <a:pt x="106" y="132"/>
                    <a:pt x="107" y="133"/>
                    <a:pt x="108" y="133"/>
                  </a:cubicBezTo>
                  <a:cubicBezTo>
                    <a:pt x="111" y="133"/>
                    <a:pt x="116" y="124"/>
                    <a:pt x="116" y="124"/>
                  </a:cubicBezTo>
                  <a:cubicBezTo>
                    <a:pt x="116" y="124"/>
                    <a:pt x="117" y="124"/>
                    <a:pt x="117" y="123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22" y="120"/>
                    <a:pt x="122" y="117"/>
                    <a:pt x="121" y="115"/>
                  </a:cubicBezTo>
                  <a:cubicBezTo>
                    <a:pt x="117" y="110"/>
                    <a:pt x="117" y="110"/>
                    <a:pt x="117" y="110"/>
                  </a:cubicBezTo>
                  <a:cubicBezTo>
                    <a:pt x="116" y="109"/>
                    <a:pt x="116" y="107"/>
                    <a:pt x="116" y="105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17" y="102"/>
                    <a:pt x="119" y="100"/>
                    <a:pt x="120" y="100"/>
                  </a:cubicBezTo>
                  <a:cubicBezTo>
                    <a:pt x="122" y="100"/>
                    <a:pt x="124" y="100"/>
                    <a:pt x="125" y="101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31" y="107"/>
                    <a:pt x="133" y="108"/>
                    <a:pt x="135" y="107"/>
                  </a:cubicBezTo>
                  <a:cubicBezTo>
                    <a:pt x="137" y="106"/>
                    <a:pt x="137" y="106"/>
                    <a:pt x="137" y="106"/>
                  </a:cubicBezTo>
                  <a:cubicBezTo>
                    <a:pt x="135" y="100"/>
                    <a:pt x="135" y="100"/>
                    <a:pt x="135" y="100"/>
                  </a:cubicBezTo>
                  <a:cubicBezTo>
                    <a:pt x="135" y="98"/>
                    <a:pt x="134" y="97"/>
                    <a:pt x="133" y="97"/>
                  </a:cubicBezTo>
                  <a:cubicBezTo>
                    <a:pt x="118" y="88"/>
                    <a:pt x="118" y="88"/>
                    <a:pt x="118" y="8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14" y="88"/>
                    <a:pt x="112" y="87"/>
                    <a:pt x="110" y="85"/>
                  </a:cubicBezTo>
                  <a:cubicBezTo>
                    <a:pt x="109" y="84"/>
                    <a:pt x="109" y="84"/>
                    <a:pt x="109" y="84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09" y="79"/>
                    <a:pt x="105" y="78"/>
                    <a:pt x="102" y="78"/>
                  </a:cubicBezTo>
                  <a:cubicBezTo>
                    <a:pt x="102" y="78"/>
                    <a:pt x="102" y="78"/>
                    <a:pt x="102" y="78"/>
                  </a:cubicBezTo>
                  <a:cubicBezTo>
                    <a:pt x="98" y="78"/>
                    <a:pt x="94" y="77"/>
                    <a:pt x="91" y="74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5" y="45"/>
                    <a:pt x="64" y="43"/>
                    <a:pt x="63" y="41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0" y="29"/>
                    <a:pt x="63" y="23"/>
                    <a:pt x="68" y="2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6" y="22"/>
                    <a:pt x="76" y="22"/>
                  </a:cubicBezTo>
                  <a:lnTo>
                    <a:pt x="76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39">
              <a:extLst>
                <a:ext uri="{FF2B5EF4-FFF2-40B4-BE49-F238E27FC236}">
                  <a16:creationId xmlns:a16="http://schemas.microsoft.com/office/drawing/2014/main" id="{3BC4A49A-CC4E-4574-975C-455A1E5A45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3489326"/>
              <a:ext cx="466725" cy="384175"/>
            </a:xfrm>
            <a:custGeom>
              <a:avLst/>
              <a:gdLst>
                <a:gd name="T0" fmla="*/ 147 w 156"/>
                <a:gd name="T1" fmla="*/ 99 h 129"/>
                <a:gd name="T2" fmla="*/ 143 w 156"/>
                <a:gd name="T3" fmla="*/ 96 h 129"/>
                <a:gd name="T4" fmla="*/ 143 w 156"/>
                <a:gd name="T5" fmla="*/ 73 h 129"/>
                <a:gd name="T6" fmla="*/ 140 w 156"/>
                <a:gd name="T7" fmla="*/ 70 h 129"/>
                <a:gd name="T8" fmla="*/ 139 w 156"/>
                <a:gd name="T9" fmla="*/ 70 h 129"/>
                <a:gd name="T10" fmla="*/ 136 w 156"/>
                <a:gd name="T11" fmla="*/ 65 h 129"/>
                <a:gd name="T12" fmla="*/ 155 w 156"/>
                <a:gd name="T13" fmla="*/ 35 h 129"/>
                <a:gd name="T14" fmla="*/ 156 w 156"/>
                <a:gd name="T15" fmla="*/ 33 h 129"/>
                <a:gd name="T16" fmla="*/ 156 w 156"/>
                <a:gd name="T17" fmla="*/ 30 h 129"/>
                <a:gd name="T18" fmla="*/ 152 w 156"/>
                <a:gd name="T19" fmla="*/ 27 h 129"/>
                <a:gd name="T20" fmla="*/ 143 w 156"/>
                <a:gd name="T21" fmla="*/ 27 h 129"/>
                <a:gd name="T22" fmla="*/ 140 w 156"/>
                <a:gd name="T23" fmla="*/ 26 h 129"/>
                <a:gd name="T24" fmla="*/ 136 w 156"/>
                <a:gd name="T25" fmla="*/ 22 h 129"/>
                <a:gd name="T26" fmla="*/ 134 w 156"/>
                <a:gd name="T27" fmla="*/ 21 h 129"/>
                <a:gd name="T28" fmla="*/ 120 w 156"/>
                <a:gd name="T29" fmla="*/ 21 h 129"/>
                <a:gd name="T30" fmla="*/ 118 w 156"/>
                <a:gd name="T31" fmla="*/ 20 h 129"/>
                <a:gd name="T32" fmla="*/ 92 w 156"/>
                <a:gd name="T33" fmla="*/ 0 h 129"/>
                <a:gd name="T34" fmla="*/ 83 w 156"/>
                <a:gd name="T35" fmla="*/ 4 h 129"/>
                <a:gd name="T36" fmla="*/ 82 w 156"/>
                <a:gd name="T37" fmla="*/ 13 h 129"/>
                <a:gd name="T38" fmla="*/ 61 w 156"/>
                <a:gd name="T39" fmla="*/ 25 h 129"/>
                <a:gd name="T40" fmla="*/ 57 w 156"/>
                <a:gd name="T41" fmla="*/ 26 h 129"/>
                <a:gd name="T42" fmla="*/ 44 w 156"/>
                <a:gd name="T43" fmla="*/ 21 h 129"/>
                <a:gd name="T44" fmla="*/ 39 w 156"/>
                <a:gd name="T45" fmla="*/ 22 h 129"/>
                <a:gd name="T46" fmla="*/ 42 w 156"/>
                <a:gd name="T47" fmla="*/ 28 h 129"/>
                <a:gd name="T48" fmla="*/ 40 w 156"/>
                <a:gd name="T49" fmla="*/ 34 h 129"/>
                <a:gd name="T50" fmla="*/ 35 w 156"/>
                <a:gd name="T51" fmla="*/ 36 h 129"/>
                <a:gd name="T52" fmla="*/ 33 w 156"/>
                <a:gd name="T53" fmla="*/ 37 h 129"/>
                <a:gd name="T54" fmla="*/ 33 w 156"/>
                <a:gd name="T55" fmla="*/ 37 h 129"/>
                <a:gd name="T56" fmla="*/ 26 w 156"/>
                <a:gd name="T57" fmla="*/ 38 h 129"/>
                <a:gd name="T58" fmla="*/ 26 w 156"/>
                <a:gd name="T59" fmla="*/ 37 h 129"/>
                <a:gd name="T60" fmla="*/ 23 w 156"/>
                <a:gd name="T61" fmla="*/ 36 h 129"/>
                <a:gd name="T62" fmla="*/ 6 w 156"/>
                <a:gd name="T63" fmla="*/ 36 h 129"/>
                <a:gd name="T64" fmla="*/ 3 w 156"/>
                <a:gd name="T65" fmla="*/ 37 h 129"/>
                <a:gd name="T66" fmla="*/ 1 w 156"/>
                <a:gd name="T67" fmla="*/ 39 h 129"/>
                <a:gd name="T68" fmla="*/ 1 w 156"/>
                <a:gd name="T69" fmla="*/ 44 h 129"/>
                <a:gd name="T70" fmla="*/ 3 w 156"/>
                <a:gd name="T71" fmla="*/ 48 h 129"/>
                <a:gd name="T72" fmla="*/ 6 w 156"/>
                <a:gd name="T73" fmla="*/ 50 h 129"/>
                <a:gd name="T74" fmla="*/ 22 w 156"/>
                <a:gd name="T75" fmla="*/ 50 h 129"/>
                <a:gd name="T76" fmla="*/ 25 w 156"/>
                <a:gd name="T77" fmla="*/ 51 h 129"/>
                <a:gd name="T78" fmla="*/ 41 w 156"/>
                <a:gd name="T79" fmla="*/ 71 h 129"/>
                <a:gd name="T80" fmla="*/ 41 w 156"/>
                <a:gd name="T81" fmla="*/ 71 h 129"/>
                <a:gd name="T82" fmla="*/ 47 w 156"/>
                <a:gd name="T83" fmla="*/ 80 h 129"/>
                <a:gd name="T84" fmla="*/ 45 w 156"/>
                <a:gd name="T85" fmla="*/ 86 h 129"/>
                <a:gd name="T86" fmla="*/ 42 w 156"/>
                <a:gd name="T87" fmla="*/ 90 h 129"/>
                <a:gd name="T88" fmla="*/ 42 w 156"/>
                <a:gd name="T89" fmla="*/ 110 h 129"/>
                <a:gd name="T90" fmla="*/ 39 w 156"/>
                <a:gd name="T91" fmla="*/ 114 h 129"/>
                <a:gd name="T92" fmla="*/ 64 w 156"/>
                <a:gd name="T93" fmla="*/ 123 h 129"/>
                <a:gd name="T94" fmla="*/ 71 w 156"/>
                <a:gd name="T95" fmla="*/ 122 h 129"/>
                <a:gd name="T96" fmla="*/ 78 w 156"/>
                <a:gd name="T97" fmla="*/ 120 h 129"/>
                <a:gd name="T98" fmla="*/ 99 w 156"/>
                <a:gd name="T99" fmla="*/ 129 h 129"/>
                <a:gd name="T100" fmla="*/ 100 w 156"/>
                <a:gd name="T101" fmla="*/ 128 h 129"/>
                <a:gd name="T102" fmla="*/ 99 w 156"/>
                <a:gd name="T103" fmla="*/ 124 h 129"/>
                <a:gd name="T104" fmla="*/ 103 w 156"/>
                <a:gd name="T105" fmla="*/ 115 h 129"/>
                <a:gd name="T106" fmla="*/ 104 w 156"/>
                <a:gd name="T107" fmla="*/ 114 h 129"/>
                <a:gd name="T108" fmla="*/ 109 w 156"/>
                <a:gd name="T109" fmla="*/ 113 h 129"/>
                <a:gd name="T110" fmla="*/ 128 w 156"/>
                <a:gd name="T111" fmla="*/ 117 h 129"/>
                <a:gd name="T112" fmla="*/ 128 w 156"/>
                <a:gd name="T113" fmla="*/ 117 h 129"/>
                <a:gd name="T114" fmla="*/ 133 w 156"/>
                <a:gd name="T115" fmla="*/ 118 h 129"/>
                <a:gd name="T116" fmla="*/ 139 w 156"/>
                <a:gd name="T117" fmla="*/ 116 h 129"/>
                <a:gd name="T118" fmla="*/ 145 w 156"/>
                <a:gd name="T119" fmla="*/ 110 h 129"/>
                <a:gd name="T120" fmla="*/ 150 w 156"/>
                <a:gd name="T121" fmla="*/ 109 h 129"/>
                <a:gd name="T122" fmla="*/ 150 w 156"/>
                <a:gd name="T123" fmla="*/ 102 h 129"/>
                <a:gd name="T124" fmla="*/ 147 w 156"/>
                <a:gd name="T125" fmla="*/ 9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6" h="129">
                  <a:moveTo>
                    <a:pt x="147" y="99"/>
                  </a:moveTo>
                  <a:cubicBezTo>
                    <a:pt x="145" y="99"/>
                    <a:pt x="143" y="98"/>
                    <a:pt x="143" y="96"/>
                  </a:cubicBezTo>
                  <a:cubicBezTo>
                    <a:pt x="143" y="73"/>
                    <a:pt x="143" y="73"/>
                    <a:pt x="143" y="73"/>
                  </a:cubicBezTo>
                  <a:cubicBezTo>
                    <a:pt x="143" y="72"/>
                    <a:pt x="142" y="70"/>
                    <a:pt x="140" y="7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6" y="70"/>
                    <a:pt x="135" y="67"/>
                    <a:pt x="136" y="65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5" y="34"/>
                    <a:pt x="156" y="34"/>
                    <a:pt x="156" y="33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28"/>
                    <a:pt x="154" y="27"/>
                    <a:pt x="152" y="27"/>
                  </a:cubicBezTo>
                  <a:cubicBezTo>
                    <a:pt x="143" y="27"/>
                    <a:pt x="143" y="27"/>
                    <a:pt x="143" y="27"/>
                  </a:cubicBezTo>
                  <a:cubicBezTo>
                    <a:pt x="142" y="27"/>
                    <a:pt x="141" y="27"/>
                    <a:pt x="140" y="26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5" y="21"/>
                    <a:pt x="135" y="21"/>
                    <a:pt x="134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19" y="21"/>
                    <a:pt x="118" y="21"/>
                    <a:pt x="118" y="2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0" y="26"/>
                    <a:pt x="58" y="26"/>
                    <a:pt x="57" y="26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3" y="31"/>
                    <a:pt x="42" y="34"/>
                    <a:pt x="40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4" y="36"/>
                    <a:pt x="34" y="36"/>
                    <a:pt x="33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1" y="40"/>
                    <a:pt x="28" y="40"/>
                    <a:pt x="26" y="38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5" y="36"/>
                    <a:pt x="24" y="36"/>
                    <a:pt x="23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5" y="36"/>
                    <a:pt x="4" y="36"/>
                    <a:pt x="3" y="37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41"/>
                    <a:pt x="0" y="43"/>
                    <a:pt x="1" y="44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4" y="49"/>
                    <a:pt x="5" y="50"/>
                    <a:pt x="6" y="50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3" y="50"/>
                    <a:pt x="24" y="50"/>
                    <a:pt x="25" y="5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8" y="82"/>
                    <a:pt x="47" y="85"/>
                    <a:pt x="45" y="86"/>
                  </a:cubicBezTo>
                  <a:cubicBezTo>
                    <a:pt x="43" y="86"/>
                    <a:pt x="42" y="88"/>
                    <a:pt x="42" y="90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2"/>
                    <a:pt x="40" y="113"/>
                    <a:pt x="39" y="114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6" y="124"/>
                    <a:pt x="69" y="124"/>
                    <a:pt x="71" y="122"/>
                  </a:cubicBezTo>
                  <a:cubicBezTo>
                    <a:pt x="72" y="120"/>
                    <a:pt x="75" y="119"/>
                    <a:pt x="78" y="120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0" y="126"/>
                    <a:pt x="100" y="125"/>
                    <a:pt x="99" y="124"/>
                  </a:cubicBezTo>
                  <a:cubicBezTo>
                    <a:pt x="98" y="120"/>
                    <a:pt x="100" y="116"/>
                    <a:pt x="103" y="115"/>
                  </a:cubicBezTo>
                  <a:cubicBezTo>
                    <a:pt x="104" y="114"/>
                    <a:pt x="104" y="114"/>
                    <a:pt x="104" y="114"/>
                  </a:cubicBezTo>
                  <a:cubicBezTo>
                    <a:pt x="106" y="113"/>
                    <a:pt x="107" y="113"/>
                    <a:pt x="109" y="113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35" y="118"/>
                    <a:pt x="137" y="117"/>
                    <a:pt x="139" y="116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50" y="109"/>
                    <a:pt x="150" y="109"/>
                    <a:pt x="150" y="109"/>
                  </a:cubicBezTo>
                  <a:cubicBezTo>
                    <a:pt x="150" y="102"/>
                    <a:pt x="150" y="102"/>
                    <a:pt x="150" y="102"/>
                  </a:cubicBezTo>
                  <a:cubicBezTo>
                    <a:pt x="150" y="100"/>
                    <a:pt x="148" y="99"/>
                    <a:pt x="147" y="9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40">
              <a:extLst>
                <a:ext uri="{FF2B5EF4-FFF2-40B4-BE49-F238E27FC236}">
                  <a16:creationId xmlns:a16="http://schemas.microsoft.com/office/drawing/2014/main" id="{A7813AB5-500B-4C68-903F-489F757B9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5775" y="3892551"/>
              <a:ext cx="117475" cy="193675"/>
            </a:xfrm>
            <a:custGeom>
              <a:avLst/>
              <a:gdLst>
                <a:gd name="T0" fmla="*/ 27 w 39"/>
                <a:gd name="T1" fmla="*/ 44 h 65"/>
                <a:gd name="T2" fmla="*/ 25 w 39"/>
                <a:gd name="T3" fmla="*/ 41 h 65"/>
                <a:gd name="T4" fmla="*/ 27 w 39"/>
                <a:gd name="T5" fmla="*/ 39 h 65"/>
                <a:gd name="T6" fmla="*/ 28 w 39"/>
                <a:gd name="T7" fmla="*/ 36 h 65"/>
                <a:gd name="T8" fmla="*/ 31 w 39"/>
                <a:gd name="T9" fmla="*/ 17 h 65"/>
                <a:gd name="T10" fmla="*/ 34 w 39"/>
                <a:gd name="T11" fmla="*/ 12 h 65"/>
                <a:gd name="T12" fmla="*/ 35 w 39"/>
                <a:gd name="T13" fmla="*/ 12 h 65"/>
                <a:gd name="T14" fmla="*/ 37 w 39"/>
                <a:gd name="T15" fmla="*/ 10 h 65"/>
                <a:gd name="T16" fmla="*/ 38 w 39"/>
                <a:gd name="T17" fmla="*/ 9 h 65"/>
                <a:gd name="T18" fmla="*/ 37 w 39"/>
                <a:gd name="T19" fmla="*/ 2 h 65"/>
                <a:gd name="T20" fmla="*/ 32 w 39"/>
                <a:gd name="T21" fmla="*/ 0 h 65"/>
                <a:gd name="T22" fmla="*/ 16 w 39"/>
                <a:gd name="T23" fmla="*/ 3 h 65"/>
                <a:gd name="T24" fmla="*/ 9 w 39"/>
                <a:gd name="T25" fmla="*/ 1 h 65"/>
                <a:gd name="T26" fmla="*/ 9 w 39"/>
                <a:gd name="T27" fmla="*/ 2 h 65"/>
                <a:gd name="T28" fmla="*/ 9 w 39"/>
                <a:gd name="T29" fmla="*/ 22 h 65"/>
                <a:gd name="T30" fmla="*/ 8 w 39"/>
                <a:gd name="T31" fmla="*/ 24 h 65"/>
                <a:gd name="T32" fmla="*/ 4 w 39"/>
                <a:gd name="T33" fmla="*/ 32 h 65"/>
                <a:gd name="T34" fmla="*/ 4 w 39"/>
                <a:gd name="T35" fmla="*/ 32 h 65"/>
                <a:gd name="T36" fmla="*/ 1 w 39"/>
                <a:gd name="T37" fmla="*/ 37 h 65"/>
                <a:gd name="T38" fmla="*/ 2 w 39"/>
                <a:gd name="T39" fmla="*/ 43 h 65"/>
                <a:gd name="T40" fmla="*/ 4 w 39"/>
                <a:gd name="T41" fmla="*/ 46 h 65"/>
                <a:gd name="T42" fmla="*/ 5 w 39"/>
                <a:gd name="T43" fmla="*/ 49 h 65"/>
                <a:gd name="T44" fmla="*/ 6 w 39"/>
                <a:gd name="T45" fmla="*/ 60 h 65"/>
                <a:gd name="T46" fmla="*/ 11 w 39"/>
                <a:gd name="T47" fmla="*/ 65 h 65"/>
                <a:gd name="T48" fmla="*/ 14 w 39"/>
                <a:gd name="T49" fmla="*/ 65 h 65"/>
                <a:gd name="T50" fmla="*/ 15 w 39"/>
                <a:gd name="T51" fmla="*/ 65 h 65"/>
                <a:gd name="T52" fmla="*/ 26 w 39"/>
                <a:gd name="T53" fmla="*/ 65 h 65"/>
                <a:gd name="T54" fmla="*/ 26 w 39"/>
                <a:gd name="T55" fmla="*/ 65 h 65"/>
                <a:gd name="T56" fmla="*/ 28 w 39"/>
                <a:gd name="T57" fmla="*/ 47 h 65"/>
                <a:gd name="T58" fmla="*/ 27 w 39"/>
                <a:gd name="T59" fmla="*/ 4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9" h="65">
                  <a:moveTo>
                    <a:pt x="27" y="44"/>
                  </a:moveTo>
                  <a:cubicBezTo>
                    <a:pt x="25" y="41"/>
                    <a:pt x="25" y="41"/>
                    <a:pt x="25" y="41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8" y="38"/>
                    <a:pt x="28" y="37"/>
                    <a:pt x="28" y="36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5"/>
                    <a:pt x="32" y="13"/>
                    <a:pt x="34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6" y="12"/>
                    <a:pt x="36" y="11"/>
                    <a:pt x="37" y="10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9" y="7"/>
                    <a:pt x="39" y="4"/>
                    <a:pt x="37" y="2"/>
                  </a:cubicBezTo>
                  <a:cubicBezTo>
                    <a:pt x="36" y="1"/>
                    <a:pt x="34" y="0"/>
                    <a:pt x="32" y="0"/>
                  </a:cubicBezTo>
                  <a:cubicBezTo>
                    <a:pt x="26" y="1"/>
                    <a:pt x="17" y="3"/>
                    <a:pt x="16" y="3"/>
                  </a:cubicBezTo>
                  <a:cubicBezTo>
                    <a:pt x="15" y="3"/>
                    <a:pt x="12" y="2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3"/>
                    <a:pt x="8" y="24"/>
                    <a:pt x="8" y="24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0" y="38"/>
                    <a:pt x="0" y="41"/>
                    <a:pt x="2" y="43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8"/>
                    <a:pt x="5" y="49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2"/>
                    <a:pt x="8" y="64"/>
                    <a:pt x="11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5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5"/>
                    <a:pt x="27" y="4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41">
              <a:extLst>
                <a:ext uri="{FF2B5EF4-FFF2-40B4-BE49-F238E27FC236}">
                  <a16:creationId xmlns:a16="http://schemas.microsoft.com/office/drawing/2014/main" id="{DF3C2615-FBE2-4EF0-AA3A-83D8522542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1263" y="3267076"/>
              <a:ext cx="41275" cy="47625"/>
            </a:xfrm>
            <a:custGeom>
              <a:avLst/>
              <a:gdLst>
                <a:gd name="T0" fmla="*/ 2 w 14"/>
                <a:gd name="T1" fmla="*/ 10 h 16"/>
                <a:gd name="T2" fmla="*/ 6 w 14"/>
                <a:gd name="T3" fmla="*/ 14 h 16"/>
                <a:gd name="T4" fmla="*/ 11 w 14"/>
                <a:gd name="T5" fmla="*/ 15 h 16"/>
                <a:gd name="T6" fmla="*/ 11 w 14"/>
                <a:gd name="T7" fmla="*/ 6 h 16"/>
                <a:gd name="T8" fmla="*/ 14 w 14"/>
                <a:gd name="T9" fmla="*/ 5 h 16"/>
                <a:gd name="T10" fmla="*/ 14 w 14"/>
                <a:gd name="T11" fmla="*/ 0 h 16"/>
                <a:gd name="T12" fmla="*/ 11 w 14"/>
                <a:gd name="T13" fmla="*/ 1 h 16"/>
                <a:gd name="T14" fmla="*/ 8 w 14"/>
                <a:gd name="T15" fmla="*/ 2 h 16"/>
                <a:gd name="T16" fmla="*/ 4 w 14"/>
                <a:gd name="T17" fmla="*/ 0 h 16"/>
                <a:gd name="T18" fmla="*/ 0 w 14"/>
                <a:gd name="T19" fmla="*/ 2 h 16"/>
                <a:gd name="T20" fmla="*/ 1 w 14"/>
                <a:gd name="T21" fmla="*/ 6 h 16"/>
                <a:gd name="T22" fmla="*/ 2 w 14"/>
                <a:gd name="T23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6">
                  <a:moveTo>
                    <a:pt x="2" y="10"/>
                  </a:moveTo>
                  <a:cubicBezTo>
                    <a:pt x="3" y="11"/>
                    <a:pt x="5" y="14"/>
                    <a:pt x="6" y="14"/>
                  </a:cubicBezTo>
                  <a:cubicBezTo>
                    <a:pt x="6" y="15"/>
                    <a:pt x="10" y="16"/>
                    <a:pt x="11" y="15"/>
                  </a:cubicBezTo>
                  <a:cubicBezTo>
                    <a:pt x="12" y="13"/>
                    <a:pt x="11" y="6"/>
                    <a:pt x="11" y="6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9"/>
                    <a:pt x="2" y="1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42">
              <a:extLst>
                <a:ext uri="{FF2B5EF4-FFF2-40B4-BE49-F238E27FC236}">
                  <a16:creationId xmlns:a16="http://schemas.microsoft.com/office/drawing/2014/main" id="{E8729544-1EB7-4144-B201-4B246B47AC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5" y="3279776"/>
              <a:ext cx="26988" cy="26988"/>
            </a:xfrm>
            <a:custGeom>
              <a:avLst/>
              <a:gdLst>
                <a:gd name="T0" fmla="*/ 6 w 9"/>
                <a:gd name="T1" fmla="*/ 9 h 9"/>
                <a:gd name="T2" fmla="*/ 9 w 9"/>
                <a:gd name="T3" fmla="*/ 4 h 9"/>
                <a:gd name="T4" fmla="*/ 5 w 9"/>
                <a:gd name="T5" fmla="*/ 0 h 9"/>
                <a:gd name="T6" fmla="*/ 1 w 9"/>
                <a:gd name="T7" fmla="*/ 2 h 9"/>
                <a:gd name="T8" fmla="*/ 1 w 9"/>
                <a:gd name="T9" fmla="*/ 2 h 9"/>
                <a:gd name="T10" fmla="*/ 1 w 9"/>
                <a:gd name="T11" fmla="*/ 6 h 9"/>
                <a:gd name="T12" fmla="*/ 1 w 9"/>
                <a:gd name="T13" fmla="*/ 7 h 9"/>
                <a:gd name="T14" fmla="*/ 4 w 9"/>
                <a:gd name="T15" fmla="*/ 9 h 9"/>
                <a:gd name="T16" fmla="*/ 6 w 9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6" y="9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8" y="2"/>
                    <a:pt x="7" y="1"/>
                    <a:pt x="5" y="0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5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8"/>
                    <a:pt x="3" y="9"/>
                    <a:pt x="4" y="9"/>
                  </a:cubicBezTo>
                  <a:lnTo>
                    <a:pt x="6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43">
              <a:extLst>
                <a:ext uri="{FF2B5EF4-FFF2-40B4-BE49-F238E27FC236}">
                  <a16:creationId xmlns:a16="http://schemas.microsoft.com/office/drawing/2014/main" id="{3DF3F155-37D4-48C2-A103-90AF7935D8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1188" y="3108326"/>
              <a:ext cx="269875" cy="431800"/>
            </a:xfrm>
            <a:custGeom>
              <a:avLst/>
              <a:gdLst>
                <a:gd name="T0" fmla="*/ 84 w 90"/>
                <a:gd name="T1" fmla="*/ 98 h 144"/>
                <a:gd name="T2" fmla="*/ 78 w 90"/>
                <a:gd name="T3" fmla="*/ 99 h 144"/>
                <a:gd name="T4" fmla="*/ 72 w 90"/>
                <a:gd name="T5" fmla="*/ 95 h 144"/>
                <a:gd name="T6" fmla="*/ 67 w 90"/>
                <a:gd name="T7" fmla="*/ 80 h 144"/>
                <a:gd name="T8" fmla="*/ 53 w 90"/>
                <a:gd name="T9" fmla="*/ 66 h 144"/>
                <a:gd name="T10" fmla="*/ 50 w 90"/>
                <a:gd name="T11" fmla="*/ 55 h 144"/>
                <a:gd name="T12" fmla="*/ 41 w 90"/>
                <a:gd name="T13" fmla="*/ 50 h 144"/>
                <a:gd name="T14" fmla="*/ 28 w 90"/>
                <a:gd name="T15" fmla="*/ 50 h 144"/>
                <a:gd name="T16" fmla="*/ 31 w 90"/>
                <a:gd name="T17" fmla="*/ 42 h 144"/>
                <a:gd name="T18" fmla="*/ 43 w 90"/>
                <a:gd name="T19" fmla="*/ 29 h 144"/>
                <a:gd name="T20" fmla="*/ 28 w 90"/>
                <a:gd name="T21" fmla="*/ 20 h 144"/>
                <a:gd name="T22" fmla="*/ 30 w 90"/>
                <a:gd name="T23" fmla="*/ 6 h 144"/>
                <a:gd name="T24" fmla="*/ 15 w 90"/>
                <a:gd name="T25" fmla="*/ 0 h 144"/>
                <a:gd name="T26" fmla="*/ 9 w 90"/>
                <a:gd name="T27" fmla="*/ 12 h 144"/>
                <a:gd name="T28" fmla="*/ 4 w 90"/>
                <a:gd name="T29" fmla="*/ 15 h 144"/>
                <a:gd name="T30" fmla="*/ 0 w 90"/>
                <a:gd name="T31" fmla="*/ 27 h 144"/>
                <a:gd name="T32" fmla="*/ 5 w 90"/>
                <a:gd name="T33" fmla="*/ 34 h 144"/>
                <a:gd name="T34" fmla="*/ 5 w 90"/>
                <a:gd name="T35" fmla="*/ 38 h 144"/>
                <a:gd name="T36" fmla="*/ 6 w 90"/>
                <a:gd name="T37" fmla="*/ 47 h 144"/>
                <a:gd name="T38" fmla="*/ 12 w 90"/>
                <a:gd name="T39" fmla="*/ 49 h 144"/>
                <a:gd name="T40" fmla="*/ 13 w 90"/>
                <a:gd name="T41" fmla="*/ 58 h 144"/>
                <a:gd name="T42" fmla="*/ 12 w 90"/>
                <a:gd name="T43" fmla="*/ 64 h 144"/>
                <a:gd name="T44" fmla="*/ 18 w 90"/>
                <a:gd name="T45" fmla="*/ 68 h 144"/>
                <a:gd name="T46" fmla="*/ 25 w 90"/>
                <a:gd name="T47" fmla="*/ 67 h 144"/>
                <a:gd name="T48" fmla="*/ 32 w 90"/>
                <a:gd name="T49" fmla="*/ 66 h 144"/>
                <a:gd name="T50" fmla="*/ 31 w 90"/>
                <a:gd name="T51" fmla="*/ 72 h 144"/>
                <a:gd name="T52" fmla="*/ 36 w 90"/>
                <a:gd name="T53" fmla="*/ 80 h 144"/>
                <a:gd name="T54" fmla="*/ 34 w 90"/>
                <a:gd name="T55" fmla="*/ 85 h 144"/>
                <a:gd name="T56" fmla="*/ 30 w 90"/>
                <a:gd name="T57" fmla="*/ 90 h 144"/>
                <a:gd name="T58" fmla="*/ 18 w 90"/>
                <a:gd name="T59" fmla="*/ 93 h 144"/>
                <a:gd name="T60" fmla="*/ 21 w 90"/>
                <a:gd name="T61" fmla="*/ 96 h 144"/>
                <a:gd name="T62" fmla="*/ 23 w 90"/>
                <a:gd name="T63" fmla="*/ 102 h 144"/>
                <a:gd name="T64" fmla="*/ 13 w 90"/>
                <a:gd name="T65" fmla="*/ 108 h 144"/>
                <a:gd name="T66" fmla="*/ 13 w 90"/>
                <a:gd name="T67" fmla="*/ 117 h 144"/>
                <a:gd name="T68" fmla="*/ 21 w 90"/>
                <a:gd name="T69" fmla="*/ 116 h 144"/>
                <a:gd name="T70" fmla="*/ 25 w 90"/>
                <a:gd name="T71" fmla="*/ 118 h 144"/>
                <a:gd name="T72" fmla="*/ 38 w 90"/>
                <a:gd name="T73" fmla="*/ 118 h 144"/>
                <a:gd name="T74" fmla="*/ 44 w 90"/>
                <a:gd name="T75" fmla="*/ 116 h 144"/>
                <a:gd name="T76" fmla="*/ 38 w 90"/>
                <a:gd name="T77" fmla="*/ 121 h 144"/>
                <a:gd name="T78" fmla="*/ 26 w 90"/>
                <a:gd name="T79" fmla="*/ 123 h 144"/>
                <a:gd name="T80" fmla="*/ 6 w 90"/>
                <a:gd name="T81" fmla="*/ 139 h 144"/>
                <a:gd name="T82" fmla="*/ 16 w 90"/>
                <a:gd name="T83" fmla="*/ 138 h 144"/>
                <a:gd name="T84" fmla="*/ 23 w 90"/>
                <a:gd name="T85" fmla="*/ 138 h 144"/>
                <a:gd name="T86" fmla="*/ 28 w 90"/>
                <a:gd name="T87" fmla="*/ 132 h 144"/>
                <a:gd name="T88" fmla="*/ 73 w 90"/>
                <a:gd name="T89" fmla="*/ 131 h 144"/>
                <a:gd name="T90" fmla="*/ 82 w 90"/>
                <a:gd name="T91" fmla="*/ 123 h 144"/>
                <a:gd name="T92" fmla="*/ 86 w 90"/>
                <a:gd name="T93" fmla="*/ 113 h 144"/>
                <a:gd name="T94" fmla="*/ 90 w 90"/>
                <a:gd name="T95" fmla="*/ 104 h 144"/>
                <a:gd name="T96" fmla="*/ 87 w 90"/>
                <a:gd name="T97" fmla="*/ 9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0" h="144">
                  <a:moveTo>
                    <a:pt x="87" y="99"/>
                  </a:moveTo>
                  <a:cubicBezTo>
                    <a:pt x="87" y="98"/>
                    <a:pt x="86" y="97"/>
                    <a:pt x="84" y="98"/>
                  </a:cubicBezTo>
                  <a:cubicBezTo>
                    <a:pt x="79" y="99"/>
                    <a:pt x="79" y="99"/>
                    <a:pt x="79" y="99"/>
                  </a:cubicBezTo>
                  <a:cubicBezTo>
                    <a:pt x="79" y="99"/>
                    <a:pt x="79" y="99"/>
                    <a:pt x="78" y="99"/>
                  </a:cubicBezTo>
                  <a:cubicBezTo>
                    <a:pt x="74" y="98"/>
                    <a:pt x="74" y="98"/>
                    <a:pt x="74" y="98"/>
                  </a:cubicBezTo>
                  <a:cubicBezTo>
                    <a:pt x="73" y="97"/>
                    <a:pt x="72" y="96"/>
                    <a:pt x="72" y="95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7" y="81"/>
                    <a:pt x="67" y="80"/>
                    <a:pt x="67" y="80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4" y="68"/>
                    <a:pt x="53" y="67"/>
                    <a:pt x="53" y="66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6"/>
                    <a:pt x="50" y="55"/>
                    <a:pt x="50" y="55"/>
                  </a:cubicBezTo>
                  <a:cubicBezTo>
                    <a:pt x="43" y="51"/>
                    <a:pt x="43" y="51"/>
                    <a:pt x="43" y="51"/>
                  </a:cubicBezTo>
                  <a:cubicBezTo>
                    <a:pt x="42" y="50"/>
                    <a:pt x="41" y="50"/>
                    <a:pt x="41" y="50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3"/>
                    <a:pt x="30" y="42"/>
                    <a:pt x="31" y="42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0"/>
                    <a:pt x="43" y="30"/>
                    <a:pt x="43" y="29"/>
                  </a:cubicBezTo>
                  <a:cubicBezTo>
                    <a:pt x="44" y="25"/>
                    <a:pt x="40" y="20"/>
                    <a:pt x="36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6" y="20"/>
                    <a:pt x="24" y="17"/>
                    <a:pt x="25" y="15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1" y="4"/>
                    <a:pt x="30" y="1"/>
                    <a:pt x="27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0"/>
                    <a:pt x="11" y="1"/>
                    <a:pt x="11" y="3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4"/>
                    <a:pt x="7" y="15"/>
                    <a:pt x="6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2" y="15"/>
                    <a:pt x="1" y="16"/>
                    <a:pt x="1" y="1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0" y="29"/>
                    <a:pt x="1" y="30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6" y="35"/>
                    <a:pt x="6" y="37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1" y="40"/>
                    <a:pt x="1" y="44"/>
                    <a:pt x="3" y="47"/>
                  </a:cubicBezTo>
                  <a:cubicBezTo>
                    <a:pt x="4" y="48"/>
                    <a:pt x="5" y="48"/>
                    <a:pt x="6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0" y="46"/>
                    <a:pt x="12" y="47"/>
                    <a:pt x="12" y="49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6"/>
                    <a:pt x="14" y="57"/>
                    <a:pt x="13" y="58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1" y="60"/>
                    <a:pt x="11" y="62"/>
                    <a:pt x="12" y="64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8"/>
                    <a:pt x="17" y="68"/>
                    <a:pt x="18" y="68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3" y="69"/>
                    <a:pt x="24" y="68"/>
                    <a:pt x="25" y="67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9" y="69"/>
                    <a:pt x="29" y="71"/>
                    <a:pt x="31" y="72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8"/>
                    <a:pt x="36" y="80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4"/>
                    <a:pt x="34" y="84"/>
                    <a:pt x="34" y="85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8"/>
                    <a:pt x="32" y="90"/>
                    <a:pt x="30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19" y="90"/>
                    <a:pt x="18" y="91"/>
                    <a:pt x="18" y="93"/>
                  </a:cubicBezTo>
                  <a:cubicBezTo>
                    <a:pt x="18" y="95"/>
                    <a:pt x="19" y="96"/>
                    <a:pt x="20" y="96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23" y="97"/>
                    <a:pt x="25" y="99"/>
                    <a:pt x="24" y="101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103"/>
                    <a:pt x="23" y="103"/>
                    <a:pt x="22" y="104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9" y="109"/>
                    <a:pt x="8" y="114"/>
                    <a:pt x="11" y="117"/>
                  </a:cubicBezTo>
                  <a:cubicBezTo>
                    <a:pt x="11" y="117"/>
                    <a:pt x="12" y="117"/>
                    <a:pt x="13" y="117"/>
                  </a:cubicBezTo>
                  <a:cubicBezTo>
                    <a:pt x="18" y="115"/>
                    <a:pt x="18" y="115"/>
                    <a:pt x="18" y="115"/>
                  </a:cubicBezTo>
                  <a:cubicBezTo>
                    <a:pt x="19" y="115"/>
                    <a:pt x="21" y="115"/>
                    <a:pt x="21" y="116"/>
                  </a:cubicBezTo>
                  <a:cubicBezTo>
                    <a:pt x="23" y="117"/>
                    <a:pt x="23" y="117"/>
                    <a:pt x="23" y="117"/>
                  </a:cubicBezTo>
                  <a:cubicBezTo>
                    <a:pt x="24" y="118"/>
                    <a:pt x="25" y="118"/>
                    <a:pt x="25" y="118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6" y="119"/>
                    <a:pt x="37" y="118"/>
                    <a:pt x="38" y="118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6"/>
                    <a:pt x="44" y="116"/>
                    <a:pt x="44" y="116"/>
                  </a:cubicBezTo>
                  <a:cubicBezTo>
                    <a:pt x="44" y="117"/>
                    <a:pt x="43" y="118"/>
                    <a:pt x="42" y="119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2"/>
                    <a:pt x="37" y="122"/>
                    <a:pt x="37" y="122"/>
                  </a:cubicBezTo>
                  <a:cubicBezTo>
                    <a:pt x="26" y="123"/>
                    <a:pt x="26" y="123"/>
                    <a:pt x="26" y="123"/>
                  </a:cubicBezTo>
                  <a:cubicBezTo>
                    <a:pt x="25" y="123"/>
                    <a:pt x="25" y="123"/>
                    <a:pt x="24" y="123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7" y="143"/>
                    <a:pt x="12" y="144"/>
                    <a:pt x="14" y="140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7" y="138"/>
                    <a:pt x="17" y="138"/>
                    <a:pt x="18" y="138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5" y="139"/>
                    <a:pt x="27" y="137"/>
                    <a:pt x="27" y="135"/>
                  </a:cubicBezTo>
                  <a:cubicBezTo>
                    <a:pt x="27" y="133"/>
                    <a:pt x="27" y="132"/>
                    <a:pt x="28" y="132"/>
                  </a:cubicBezTo>
                  <a:cubicBezTo>
                    <a:pt x="30" y="132"/>
                    <a:pt x="67" y="131"/>
                    <a:pt x="72" y="131"/>
                  </a:cubicBezTo>
                  <a:cubicBezTo>
                    <a:pt x="72" y="131"/>
                    <a:pt x="73" y="131"/>
                    <a:pt x="73" y="131"/>
                  </a:cubicBezTo>
                  <a:cubicBezTo>
                    <a:pt x="75" y="130"/>
                    <a:pt x="81" y="128"/>
                    <a:pt x="82" y="127"/>
                  </a:cubicBezTo>
                  <a:cubicBezTo>
                    <a:pt x="83" y="127"/>
                    <a:pt x="82" y="123"/>
                    <a:pt x="82" y="123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86" y="113"/>
                    <a:pt x="86" y="113"/>
                    <a:pt x="86" y="113"/>
                  </a:cubicBezTo>
                  <a:cubicBezTo>
                    <a:pt x="86" y="113"/>
                    <a:pt x="87" y="112"/>
                    <a:pt x="87" y="111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0" y="103"/>
                    <a:pt x="90" y="101"/>
                    <a:pt x="89" y="100"/>
                  </a:cubicBezTo>
                  <a:lnTo>
                    <a:pt x="87" y="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44">
              <a:extLst>
                <a:ext uri="{FF2B5EF4-FFF2-40B4-BE49-F238E27FC236}">
                  <a16:creationId xmlns:a16="http://schemas.microsoft.com/office/drawing/2014/main" id="{724B5799-B0B3-43E5-9DE7-B7EC7D215D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138" y="3324226"/>
              <a:ext cx="144463" cy="141288"/>
            </a:xfrm>
            <a:custGeom>
              <a:avLst/>
              <a:gdLst>
                <a:gd name="T0" fmla="*/ 39 w 48"/>
                <a:gd name="T1" fmla="*/ 3 h 47"/>
                <a:gd name="T2" fmla="*/ 34 w 48"/>
                <a:gd name="T3" fmla="*/ 2 h 47"/>
                <a:gd name="T4" fmla="*/ 34 w 48"/>
                <a:gd name="T5" fmla="*/ 2 h 47"/>
                <a:gd name="T6" fmla="*/ 27 w 48"/>
                <a:gd name="T7" fmla="*/ 1 h 47"/>
                <a:gd name="T8" fmla="*/ 27 w 48"/>
                <a:gd name="T9" fmla="*/ 0 h 47"/>
                <a:gd name="T10" fmla="*/ 25 w 48"/>
                <a:gd name="T11" fmla="*/ 2 h 47"/>
                <a:gd name="T12" fmla="*/ 14 w 48"/>
                <a:gd name="T13" fmla="*/ 5 h 47"/>
                <a:gd name="T14" fmla="*/ 10 w 48"/>
                <a:gd name="T15" fmla="*/ 4 h 47"/>
                <a:gd name="T16" fmla="*/ 4 w 48"/>
                <a:gd name="T17" fmla="*/ 6 h 47"/>
                <a:gd name="T18" fmla="*/ 1 w 48"/>
                <a:gd name="T19" fmla="*/ 11 h 47"/>
                <a:gd name="T20" fmla="*/ 1 w 48"/>
                <a:gd name="T21" fmla="*/ 15 h 47"/>
                <a:gd name="T22" fmla="*/ 2 w 48"/>
                <a:gd name="T23" fmla="*/ 16 h 47"/>
                <a:gd name="T24" fmla="*/ 7 w 48"/>
                <a:gd name="T25" fmla="*/ 17 h 47"/>
                <a:gd name="T26" fmla="*/ 10 w 48"/>
                <a:gd name="T27" fmla="*/ 16 h 47"/>
                <a:gd name="T28" fmla="*/ 12 w 48"/>
                <a:gd name="T29" fmla="*/ 22 h 47"/>
                <a:gd name="T30" fmla="*/ 9 w 48"/>
                <a:gd name="T31" fmla="*/ 23 h 47"/>
                <a:gd name="T32" fmla="*/ 7 w 48"/>
                <a:gd name="T33" fmla="*/ 25 h 47"/>
                <a:gd name="T34" fmla="*/ 1 w 48"/>
                <a:gd name="T35" fmla="*/ 35 h 47"/>
                <a:gd name="T36" fmla="*/ 1 w 48"/>
                <a:gd name="T37" fmla="*/ 39 h 47"/>
                <a:gd name="T38" fmla="*/ 5 w 48"/>
                <a:gd name="T39" fmla="*/ 44 h 47"/>
                <a:gd name="T40" fmla="*/ 8 w 48"/>
                <a:gd name="T41" fmla="*/ 46 h 47"/>
                <a:gd name="T42" fmla="*/ 12 w 48"/>
                <a:gd name="T43" fmla="*/ 47 h 47"/>
                <a:gd name="T44" fmla="*/ 15 w 48"/>
                <a:gd name="T45" fmla="*/ 46 h 47"/>
                <a:gd name="T46" fmla="*/ 26 w 48"/>
                <a:gd name="T47" fmla="*/ 39 h 47"/>
                <a:gd name="T48" fmla="*/ 27 w 48"/>
                <a:gd name="T49" fmla="*/ 39 h 47"/>
                <a:gd name="T50" fmla="*/ 43 w 48"/>
                <a:gd name="T51" fmla="*/ 35 h 47"/>
                <a:gd name="T52" fmla="*/ 47 w 48"/>
                <a:gd name="T53" fmla="*/ 31 h 47"/>
                <a:gd name="T54" fmla="*/ 48 w 48"/>
                <a:gd name="T55" fmla="*/ 19 h 47"/>
                <a:gd name="T56" fmla="*/ 47 w 48"/>
                <a:gd name="T57" fmla="*/ 16 h 47"/>
                <a:gd name="T58" fmla="*/ 44 w 48"/>
                <a:gd name="T59" fmla="*/ 13 h 47"/>
                <a:gd name="T60" fmla="*/ 44 w 48"/>
                <a:gd name="T61" fmla="*/ 8 h 47"/>
                <a:gd name="T62" fmla="*/ 39 w 48"/>
                <a:gd name="T63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7">
                  <a:moveTo>
                    <a:pt x="39" y="3"/>
                  </a:moveTo>
                  <a:cubicBezTo>
                    <a:pt x="38" y="2"/>
                    <a:pt x="36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1" y="3"/>
                    <a:pt x="29" y="2"/>
                    <a:pt x="27" y="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6" y="1"/>
                    <a:pt x="26" y="1"/>
                    <a:pt x="25" y="2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2" y="5"/>
                    <a:pt x="11" y="5"/>
                    <a:pt x="10" y="4"/>
                  </a:cubicBezTo>
                  <a:cubicBezTo>
                    <a:pt x="8" y="3"/>
                    <a:pt x="5" y="3"/>
                    <a:pt x="4" y="6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2"/>
                    <a:pt x="0" y="14"/>
                    <a:pt x="1" y="1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8"/>
                    <a:pt x="5" y="18"/>
                    <a:pt x="7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4"/>
                    <a:pt x="7" y="24"/>
                    <a:pt x="7" y="2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6"/>
                    <a:pt x="1" y="38"/>
                    <a:pt x="1" y="39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5"/>
                    <a:pt x="6" y="46"/>
                    <a:pt x="8" y="46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3" y="47"/>
                    <a:pt x="14" y="47"/>
                    <a:pt x="15" y="46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5" y="35"/>
                    <a:pt x="47" y="33"/>
                    <a:pt x="47" y="31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8" y="18"/>
                    <a:pt x="48" y="17"/>
                    <a:pt x="47" y="16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3" y="11"/>
                    <a:pt x="43" y="10"/>
                    <a:pt x="44" y="8"/>
                  </a:cubicBezTo>
                  <a:lnTo>
                    <a:pt x="39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45">
              <a:extLst>
                <a:ext uri="{FF2B5EF4-FFF2-40B4-BE49-F238E27FC236}">
                  <a16:creationId xmlns:a16="http://schemas.microsoft.com/office/drawing/2014/main" id="{CA391780-9A1C-4E3F-9989-DDBF3FE251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6100" y="3287713"/>
              <a:ext cx="77788" cy="60325"/>
            </a:xfrm>
            <a:custGeom>
              <a:avLst/>
              <a:gdLst>
                <a:gd name="T0" fmla="*/ 7 w 26"/>
                <a:gd name="T1" fmla="*/ 14 h 20"/>
                <a:gd name="T2" fmla="*/ 7 w 26"/>
                <a:gd name="T3" fmla="*/ 14 h 20"/>
                <a:gd name="T4" fmla="*/ 12 w 26"/>
                <a:gd name="T5" fmla="*/ 15 h 20"/>
                <a:gd name="T6" fmla="*/ 17 w 26"/>
                <a:gd name="T7" fmla="*/ 20 h 20"/>
                <a:gd name="T8" fmla="*/ 20 w 26"/>
                <a:gd name="T9" fmla="*/ 18 h 20"/>
                <a:gd name="T10" fmla="*/ 21 w 26"/>
                <a:gd name="T11" fmla="*/ 18 h 20"/>
                <a:gd name="T12" fmla="*/ 25 w 26"/>
                <a:gd name="T13" fmla="*/ 15 h 20"/>
                <a:gd name="T14" fmla="*/ 26 w 26"/>
                <a:gd name="T15" fmla="*/ 12 h 20"/>
                <a:gd name="T16" fmla="*/ 25 w 26"/>
                <a:gd name="T17" fmla="*/ 8 h 20"/>
                <a:gd name="T18" fmla="*/ 19 w 26"/>
                <a:gd name="T19" fmla="*/ 2 h 20"/>
                <a:gd name="T20" fmla="*/ 16 w 26"/>
                <a:gd name="T21" fmla="*/ 1 h 20"/>
                <a:gd name="T22" fmla="*/ 10 w 26"/>
                <a:gd name="T23" fmla="*/ 0 h 20"/>
                <a:gd name="T24" fmla="*/ 6 w 26"/>
                <a:gd name="T25" fmla="*/ 2 h 20"/>
                <a:gd name="T26" fmla="*/ 0 w 26"/>
                <a:gd name="T27" fmla="*/ 12 h 20"/>
                <a:gd name="T28" fmla="*/ 0 w 26"/>
                <a:gd name="T29" fmla="*/ 12 h 20"/>
                <a:gd name="T30" fmla="*/ 0 w 26"/>
                <a:gd name="T31" fmla="*/ 13 h 20"/>
                <a:gd name="T32" fmla="*/ 7 w 26"/>
                <a:gd name="T33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20">
                  <a:moveTo>
                    <a:pt x="7" y="14"/>
                  </a:moveTo>
                  <a:cubicBezTo>
                    <a:pt x="7" y="14"/>
                    <a:pt x="7" y="14"/>
                    <a:pt x="7" y="14"/>
                  </a:cubicBezTo>
                  <a:cubicBezTo>
                    <a:pt x="9" y="14"/>
                    <a:pt x="11" y="14"/>
                    <a:pt x="12" y="15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19"/>
                    <a:pt x="18" y="18"/>
                    <a:pt x="20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3" y="18"/>
                    <a:pt x="24" y="17"/>
                    <a:pt x="25" y="15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1"/>
                    <a:pt x="26" y="9"/>
                    <a:pt x="25" y="8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7" y="1"/>
                    <a:pt x="16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6" y="1"/>
                    <a:pt x="6" y="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4"/>
                    <a:pt x="4" y="15"/>
                    <a:pt x="7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46">
              <a:extLst>
                <a:ext uri="{FF2B5EF4-FFF2-40B4-BE49-F238E27FC236}">
                  <a16:creationId xmlns:a16="http://schemas.microsoft.com/office/drawing/2014/main" id="{B1E54195-7E81-48D9-90C4-92ECBA48C8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3663" y="3713163"/>
              <a:ext cx="128588" cy="128588"/>
            </a:xfrm>
            <a:custGeom>
              <a:avLst/>
              <a:gdLst>
                <a:gd name="T0" fmla="*/ 43 w 43"/>
                <a:gd name="T1" fmla="*/ 25 h 43"/>
                <a:gd name="T2" fmla="*/ 33 w 43"/>
                <a:gd name="T3" fmla="*/ 43 h 43"/>
                <a:gd name="T4" fmla="*/ 33 w 43"/>
                <a:gd name="T5" fmla="*/ 43 h 43"/>
                <a:gd name="T6" fmla="*/ 4 w 43"/>
                <a:gd name="T7" fmla="*/ 19 h 43"/>
                <a:gd name="T8" fmla="*/ 7 w 43"/>
                <a:gd name="T9" fmla="*/ 14 h 43"/>
                <a:gd name="T10" fmla="*/ 0 w 43"/>
                <a:gd name="T11" fmla="*/ 9 h 43"/>
                <a:gd name="T12" fmla="*/ 2 w 43"/>
                <a:gd name="T13" fmla="*/ 4 h 43"/>
                <a:gd name="T14" fmla="*/ 7 w 43"/>
                <a:gd name="T15" fmla="*/ 4 h 43"/>
                <a:gd name="T16" fmla="*/ 11 w 43"/>
                <a:gd name="T17" fmla="*/ 0 h 43"/>
                <a:gd name="T18" fmla="*/ 31 w 43"/>
                <a:gd name="T19" fmla="*/ 3 h 43"/>
                <a:gd name="T20" fmla="*/ 40 w 43"/>
                <a:gd name="T21" fmla="*/ 9 h 43"/>
                <a:gd name="T22" fmla="*/ 39 w 43"/>
                <a:gd name="T23" fmla="*/ 10 h 43"/>
                <a:gd name="T24" fmla="*/ 39 w 43"/>
                <a:gd name="T25" fmla="*/ 14 h 43"/>
                <a:gd name="T26" fmla="*/ 43 w 43"/>
                <a:gd name="T27" fmla="*/ 23 h 43"/>
                <a:gd name="T28" fmla="*/ 43 w 43"/>
                <a:gd name="T29" fmla="*/ 2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43">
                  <a:moveTo>
                    <a:pt x="43" y="25"/>
                  </a:move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8" y="11"/>
                    <a:pt x="38" y="13"/>
                    <a:pt x="39" y="14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4"/>
                    <a:pt x="43" y="25"/>
                    <a:pt x="43" y="2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47">
              <a:extLst>
                <a:ext uri="{FF2B5EF4-FFF2-40B4-BE49-F238E27FC236}">
                  <a16:creationId xmlns:a16="http://schemas.microsoft.com/office/drawing/2014/main" id="{B3FD1F7A-09D1-436E-9C2D-B4E4A1E7919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6200" y="2636838"/>
              <a:ext cx="338138" cy="182563"/>
            </a:xfrm>
            <a:custGeom>
              <a:avLst/>
              <a:gdLst>
                <a:gd name="T0" fmla="*/ 101 w 113"/>
                <a:gd name="T1" fmla="*/ 45 h 61"/>
                <a:gd name="T2" fmla="*/ 108 w 113"/>
                <a:gd name="T3" fmla="*/ 37 h 61"/>
                <a:gd name="T4" fmla="*/ 109 w 113"/>
                <a:gd name="T5" fmla="*/ 17 h 61"/>
                <a:gd name="T6" fmla="*/ 101 w 113"/>
                <a:gd name="T7" fmla="*/ 6 h 61"/>
                <a:gd name="T8" fmla="*/ 89 w 113"/>
                <a:gd name="T9" fmla="*/ 0 h 61"/>
                <a:gd name="T10" fmla="*/ 69 w 113"/>
                <a:gd name="T11" fmla="*/ 2 h 61"/>
                <a:gd name="T12" fmla="*/ 61 w 113"/>
                <a:gd name="T13" fmla="*/ 6 h 61"/>
                <a:gd name="T14" fmla="*/ 54 w 113"/>
                <a:gd name="T15" fmla="*/ 11 h 61"/>
                <a:gd name="T16" fmla="*/ 48 w 113"/>
                <a:gd name="T17" fmla="*/ 11 h 61"/>
                <a:gd name="T18" fmla="*/ 41 w 113"/>
                <a:gd name="T19" fmla="*/ 10 h 61"/>
                <a:gd name="T20" fmla="*/ 35 w 113"/>
                <a:gd name="T21" fmla="*/ 15 h 61"/>
                <a:gd name="T22" fmla="*/ 28 w 113"/>
                <a:gd name="T23" fmla="*/ 15 h 61"/>
                <a:gd name="T24" fmla="*/ 24 w 113"/>
                <a:gd name="T25" fmla="*/ 10 h 61"/>
                <a:gd name="T26" fmla="*/ 5 w 113"/>
                <a:gd name="T27" fmla="*/ 11 h 61"/>
                <a:gd name="T28" fmla="*/ 3 w 113"/>
                <a:gd name="T29" fmla="*/ 13 h 61"/>
                <a:gd name="T30" fmla="*/ 3 w 113"/>
                <a:gd name="T31" fmla="*/ 25 h 61"/>
                <a:gd name="T32" fmla="*/ 11 w 113"/>
                <a:gd name="T33" fmla="*/ 38 h 61"/>
                <a:gd name="T34" fmla="*/ 20 w 113"/>
                <a:gd name="T35" fmla="*/ 42 h 61"/>
                <a:gd name="T36" fmla="*/ 22 w 113"/>
                <a:gd name="T37" fmla="*/ 42 h 61"/>
                <a:gd name="T38" fmla="*/ 40 w 113"/>
                <a:gd name="T39" fmla="*/ 55 h 61"/>
                <a:gd name="T40" fmla="*/ 58 w 113"/>
                <a:gd name="T41" fmla="*/ 61 h 61"/>
                <a:gd name="T42" fmla="*/ 64 w 113"/>
                <a:gd name="T43" fmla="*/ 61 h 61"/>
                <a:gd name="T44" fmla="*/ 66 w 113"/>
                <a:gd name="T45" fmla="*/ 61 h 61"/>
                <a:gd name="T46" fmla="*/ 99 w 113"/>
                <a:gd name="T47" fmla="*/ 46 h 61"/>
                <a:gd name="T48" fmla="*/ 101 w 113"/>
                <a:gd name="T49" fmla="*/ 4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3" h="61">
                  <a:moveTo>
                    <a:pt x="101" y="45"/>
                  </a:moveTo>
                  <a:cubicBezTo>
                    <a:pt x="108" y="37"/>
                    <a:pt x="108" y="37"/>
                    <a:pt x="108" y="37"/>
                  </a:cubicBezTo>
                  <a:cubicBezTo>
                    <a:pt x="113" y="31"/>
                    <a:pt x="113" y="23"/>
                    <a:pt x="109" y="17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98" y="2"/>
                    <a:pt x="93" y="0"/>
                    <a:pt x="89" y="0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6" y="3"/>
                    <a:pt x="63" y="4"/>
                    <a:pt x="61" y="6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2" y="13"/>
                    <a:pt x="49" y="13"/>
                    <a:pt x="48" y="11"/>
                  </a:cubicBezTo>
                  <a:cubicBezTo>
                    <a:pt x="46" y="9"/>
                    <a:pt x="43" y="8"/>
                    <a:pt x="41" y="10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3" y="17"/>
                    <a:pt x="30" y="17"/>
                    <a:pt x="28" y="15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18" y="4"/>
                    <a:pt x="9" y="4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17"/>
                    <a:pt x="0" y="21"/>
                    <a:pt x="3" y="25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3" y="41"/>
                    <a:pt x="17" y="42"/>
                    <a:pt x="20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2" y="43"/>
                    <a:pt x="33" y="50"/>
                    <a:pt x="40" y="55"/>
                  </a:cubicBezTo>
                  <a:cubicBezTo>
                    <a:pt x="45" y="59"/>
                    <a:pt x="52" y="61"/>
                    <a:pt x="58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1"/>
                    <a:pt x="66" y="61"/>
                    <a:pt x="66" y="61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100" y="46"/>
                    <a:pt x="100" y="45"/>
                    <a:pt x="101" y="4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48">
              <a:extLst>
                <a:ext uri="{FF2B5EF4-FFF2-40B4-BE49-F238E27FC236}">
                  <a16:creationId xmlns:a16="http://schemas.microsoft.com/office/drawing/2014/main" id="{E8AD6365-9C71-4853-B815-D894BD66F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1475" y="4157663"/>
              <a:ext cx="117475" cy="36513"/>
            </a:xfrm>
            <a:custGeom>
              <a:avLst/>
              <a:gdLst>
                <a:gd name="T0" fmla="*/ 38 w 39"/>
                <a:gd name="T1" fmla="*/ 6 h 12"/>
                <a:gd name="T2" fmla="*/ 38 w 39"/>
                <a:gd name="T3" fmla="*/ 6 h 12"/>
                <a:gd name="T4" fmla="*/ 34 w 39"/>
                <a:gd name="T5" fmla="*/ 3 h 12"/>
                <a:gd name="T6" fmla="*/ 22 w 39"/>
                <a:gd name="T7" fmla="*/ 1 h 12"/>
                <a:gd name="T8" fmla="*/ 21 w 39"/>
                <a:gd name="T9" fmla="*/ 1 h 12"/>
                <a:gd name="T10" fmla="*/ 11 w 39"/>
                <a:gd name="T11" fmla="*/ 0 h 12"/>
                <a:gd name="T12" fmla="*/ 0 w 39"/>
                <a:gd name="T13" fmla="*/ 6 h 12"/>
                <a:gd name="T14" fmla="*/ 17 w 39"/>
                <a:gd name="T15" fmla="*/ 6 h 12"/>
                <a:gd name="T16" fmla="*/ 17 w 39"/>
                <a:gd name="T17" fmla="*/ 8 h 12"/>
                <a:gd name="T18" fmla="*/ 22 w 39"/>
                <a:gd name="T19" fmla="*/ 7 h 12"/>
                <a:gd name="T20" fmla="*/ 25 w 39"/>
                <a:gd name="T21" fmla="*/ 7 h 12"/>
                <a:gd name="T22" fmla="*/ 34 w 39"/>
                <a:gd name="T23" fmla="*/ 11 h 12"/>
                <a:gd name="T24" fmla="*/ 38 w 39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12">
                  <a:moveTo>
                    <a:pt x="38" y="6"/>
                  </a:moveTo>
                  <a:cubicBezTo>
                    <a:pt x="38" y="6"/>
                    <a:pt x="38" y="6"/>
                    <a:pt x="38" y="6"/>
                  </a:cubicBezTo>
                  <a:cubicBezTo>
                    <a:pt x="37" y="4"/>
                    <a:pt x="36" y="3"/>
                    <a:pt x="34" y="3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0" y="0"/>
                    <a:pt x="0" y="6"/>
                  </a:cubicBezTo>
                  <a:cubicBezTo>
                    <a:pt x="0" y="7"/>
                    <a:pt x="17" y="6"/>
                    <a:pt x="17" y="6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3" y="7"/>
                    <a:pt x="24" y="7"/>
                    <a:pt x="25" y="7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6" y="12"/>
                    <a:pt x="39" y="9"/>
                    <a:pt x="38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52">
              <a:extLst>
                <a:ext uri="{FF2B5EF4-FFF2-40B4-BE49-F238E27FC236}">
                  <a16:creationId xmlns:a16="http://schemas.microsoft.com/office/drawing/2014/main" id="{792471EA-3C65-4777-BDCA-2FBAE8F120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4170363"/>
              <a:ext cx="76200" cy="50800"/>
            </a:xfrm>
            <a:custGeom>
              <a:avLst/>
              <a:gdLst>
                <a:gd name="T0" fmla="*/ 25 w 25"/>
                <a:gd name="T1" fmla="*/ 1 h 17"/>
                <a:gd name="T2" fmla="*/ 25 w 25"/>
                <a:gd name="T3" fmla="*/ 1 h 17"/>
                <a:gd name="T4" fmla="*/ 25 w 25"/>
                <a:gd name="T5" fmla="*/ 2 h 17"/>
                <a:gd name="T6" fmla="*/ 19 w 25"/>
                <a:gd name="T7" fmla="*/ 7 h 17"/>
                <a:gd name="T8" fmla="*/ 19 w 25"/>
                <a:gd name="T9" fmla="*/ 8 h 17"/>
                <a:gd name="T10" fmla="*/ 18 w 25"/>
                <a:gd name="T11" fmla="*/ 10 h 17"/>
                <a:gd name="T12" fmla="*/ 17 w 25"/>
                <a:gd name="T13" fmla="*/ 10 h 17"/>
                <a:gd name="T14" fmla="*/ 12 w 25"/>
                <a:gd name="T15" fmla="*/ 15 h 17"/>
                <a:gd name="T16" fmla="*/ 12 w 25"/>
                <a:gd name="T17" fmla="*/ 15 h 17"/>
                <a:gd name="T18" fmla="*/ 3 w 25"/>
                <a:gd name="T19" fmla="*/ 17 h 17"/>
                <a:gd name="T20" fmla="*/ 2 w 25"/>
                <a:gd name="T21" fmla="*/ 16 h 17"/>
                <a:gd name="T22" fmla="*/ 0 w 25"/>
                <a:gd name="T23" fmla="*/ 10 h 17"/>
                <a:gd name="T24" fmla="*/ 1 w 25"/>
                <a:gd name="T25" fmla="*/ 8 h 17"/>
                <a:gd name="T26" fmla="*/ 7 w 25"/>
                <a:gd name="T27" fmla="*/ 7 h 17"/>
                <a:gd name="T28" fmla="*/ 8 w 25"/>
                <a:gd name="T29" fmla="*/ 6 h 17"/>
                <a:gd name="T30" fmla="*/ 8 w 25"/>
                <a:gd name="T31" fmla="*/ 4 h 17"/>
                <a:gd name="T32" fmla="*/ 9 w 25"/>
                <a:gd name="T33" fmla="*/ 3 h 17"/>
                <a:gd name="T34" fmla="*/ 14 w 25"/>
                <a:gd name="T35" fmla="*/ 3 h 17"/>
                <a:gd name="T36" fmla="*/ 16 w 25"/>
                <a:gd name="T37" fmla="*/ 2 h 17"/>
                <a:gd name="T38" fmla="*/ 17 w 25"/>
                <a:gd name="T39" fmla="*/ 1 h 17"/>
                <a:gd name="T40" fmla="*/ 24 w 25"/>
                <a:gd name="T41" fmla="*/ 0 h 17"/>
                <a:gd name="T42" fmla="*/ 25 w 25"/>
                <a:gd name="T43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17">
                  <a:moveTo>
                    <a:pt x="25" y="1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5" y="1"/>
                    <a:pt x="25" y="2"/>
                    <a:pt x="25" y="2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8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7" y="1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2" y="16"/>
                    <a:pt x="2" y="1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8" y="7"/>
                    <a:pt x="8" y="6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6" y="3"/>
                    <a:pt x="16" y="2"/>
                  </a:cubicBezTo>
                  <a:cubicBezTo>
                    <a:pt x="16" y="1"/>
                    <a:pt x="16" y="1"/>
                    <a:pt x="17" y="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5" y="0"/>
                    <a:pt x="25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17593EE-C391-4524-9B02-6900D250291B}"/>
              </a:ext>
            </a:extLst>
          </p:cNvPr>
          <p:cNvGrpSpPr/>
          <p:nvPr/>
        </p:nvGrpSpPr>
        <p:grpSpPr>
          <a:xfrm>
            <a:off x="4434843" y="2349581"/>
            <a:ext cx="418315" cy="418315"/>
            <a:chOff x="7004151" y="1986191"/>
            <a:chExt cx="418315" cy="418315"/>
          </a:xfrm>
        </p:grpSpPr>
        <p:sp>
          <p:nvSpPr>
            <p:cNvPr id="1817" name="Oval 1816">
              <a:extLst>
                <a:ext uri="{FF2B5EF4-FFF2-40B4-BE49-F238E27FC236}">
                  <a16:creationId xmlns:a16="http://schemas.microsoft.com/office/drawing/2014/main" id="{76DF65FC-21D3-413F-9C11-45AB2979C102}"/>
                </a:ext>
              </a:extLst>
            </p:cNvPr>
            <p:cNvSpPr/>
            <p:nvPr/>
          </p:nvSpPr>
          <p:spPr>
            <a:xfrm>
              <a:off x="7004151" y="1986191"/>
              <a:ext cx="418315" cy="418315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19" name="Group 1818">
              <a:extLst>
                <a:ext uri="{FF2B5EF4-FFF2-40B4-BE49-F238E27FC236}">
                  <a16:creationId xmlns:a16="http://schemas.microsoft.com/office/drawing/2014/main" id="{A7189F22-D88C-415D-926A-945F50A3A06F}"/>
                </a:ext>
              </a:extLst>
            </p:cNvPr>
            <p:cNvGrpSpPr/>
            <p:nvPr/>
          </p:nvGrpSpPr>
          <p:grpSpPr>
            <a:xfrm>
              <a:off x="7133466" y="2106634"/>
              <a:ext cx="159685" cy="177428"/>
              <a:chOff x="4356100" y="769938"/>
              <a:chExt cx="257175" cy="285750"/>
            </a:xfrm>
            <a:solidFill>
              <a:schemeClr val="bg1"/>
            </a:solidFill>
          </p:grpSpPr>
          <p:sp>
            <p:nvSpPr>
              <p:cNvPr id="1820" name="Freeform 43">
                <a:extLst>
                  <a:ext uri="{FF2B5EF4-FFF2-40B4-BE49-F238E27FC236}">
                    <a16:creationId xmlns:a16="http://schemas.microsoft.com/office/drawing/2014/main" id="{E9B5B368-29A6-4130-AD20-FBBC52349B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56100" y="769938"/>
                <a:ext cx="257175" cy="190500"/>
              </a:xfrm>
              <a:custGeom>
                <a:avLst/>
                <a:gdLst>
                  <a:gd name="T0" fmla="*/ 174 w 808"/>
                  <a:gd name="T1" fmla="*/ 565 h 598"/>
                  <a:gd name="T2" fmla="*/ 110 w 808"/>
                  <a:gd name="T3" fmla="*/ 537 h 598"/>
                  <a:gd name="T4" fmla="*/ 61 w 808"/>
                  <a:gd name="T5" fmla="*/ 488 h 598"/>
                  <a:gd name="T6" fmla="*/ 33 w 808"/>
                  <a:gd name="T7" fmla="*/ 423 h 598"/>
                  <a:gd name="T8" fmla="*/ 33 w 808"/>
                  <a:gd name="T9" fmla="*/ 356 h 598"/>
                  <a:gd name="T10" fmla="*/ 59 w 808"/>
                  <a:gd name="T11" fmla="*/ 295 h 598"/>
                  <a:gd name="T12" fmla="*/ 104 w 808"/>
                  <a:gd name="T13" fmla="*/ 247 h 598"/>
                  <a:gd name="T14" fmla="*/ 163 w 808"/>
                  <a:gd name="T15" fmla="*/ 216 h 598"/>
                  <a:gd name="T16" fmla="*/ 205 w 808"/>
                  <a:gd name="T17" fmla="*/ 205 h 598"/>
                  <a:gd name="T18" fmla="*/ 212 w 808"/>
                  <a:gd name="T19" fmla="*/ 177 h 598"/>
                  <a:gd name="T20" fmla="*/ 232 w 808"/>
                  <a:gd name="T21" fmla="*/ 127 h 598"/>
                  <a:gd name="T22" fmla="*/ 282 w 808"/>
                  <a:gd name="T23" fmla="*/ 74 h 598"/>
                  <a:gd name="T24" fmla="*/ 348 w 808"/>
                  <a:gd name="T25" fmla="*/ 41 h 598"/>
                  <a:gd name="T26" fmla="*/ 418 w 808"/>
                  <a:gd name="T27" fmla="*/ 29 h 598"/>
                  <a:gd name="T28" fmla="*/ 478 w 808"/>
                  <a:gd name="T29" fmla="*/ 41 h 598"/>
                  <a:gd name="T30" fmla="*/ 530 w 808"/>
                  <a:gd name="T31" fmla="*/ 73 h 598"/>
                  <a:gd name="T32" fmla="*/ 572 w 808"/>
                  <a:gd name="T33" fmla="*/ 118 h 598"/>
                  <a:gd name="T34" fmla="*/ 599 w 808"/>
                  <a:gd name="T35" fmla="*/ 170 h 598"/>
                  <a:gd name="T36" fmla="*/ 615 w 808"/>
                  <a:gd name="T37" fmla="*/ 179 h 598"/>
                  <a:gd name="T38" fmla="*/ 674 w 808"/>
                  <a:gd name="T39" fmla="*/ 186 h 598"/>
                  <a:gd name="T40" fmla="*/ 707 w 808"/>
                  <a:gd name="T41" fmla="*/ 208 h 598"/>
                  <a:gd name="T42" fmla="*/ 724 w 808"/>
                  <a:gd name="T43" fmla="*/ 235 h 598"/>
                  <a:gd name="T44" fmla="*/ 726 w 808"/>
                  <a:gd name="T45" fmla="*/ 272 h 598"/>
                  <a:gd name="T46" fmla="*/ 719 w 808"/>
                  <a:gd name="T47" fmla="*/ 303 h 598"/>
                  <a:gd name="T48" fmla="*/ 736 w 808"/>
                  <a:gd name="T49" fmla="*/ 322 h 598"/>
                  <a:gd name="T50" fmla="*/ 763 w 808"/>
                  <a:gd name="T51" fmla="*/ 361 h 598"/>
                  <a:gd name="T52" fmla="*/ 778 w 808"/>
                  <a:gd name="T53" fmla="*/ 433 h 598"/>
                  <a:gd name="T54" fmla="*/ 767 w 808"/>
                  <a:gd name="T55" fmla="*/ 485 h 598"/>
                  <a:gd name="T56" fmla="*/ 739 w 808"/>
                  <a:gd name="T57" fmla="*/ 528 h 598"/>
                  <a:gd name="T58" fmla="*/ 695 w 808"/>
                  <a:gd name="T59" fmla="*/ 557 h 598"/>
                  <a:gd name="T60" fmla="*/ 642 w 808"/>
                  <a:gd name="T61" fmla="*/ 568 h 598"/>
                  <a:gd name="T62" fmla="*/ 758 w 808"/>
                  <a:gd name="T63" fmla="*/ 257 h 598"/>
                  <a:gd name="T64" fmla="*/ 747 w 808"/>
                  <a:gd name="T65" fmla="*/ 211 h 598"/>
                  <a:gd name="T66" fmla="*/ 726 w 808"/>
                  <a:gd name="T67" fmla="*/ 183 h 598"/>
                  <a:gd name="T68" fmla="*/ 699 w 808"/>
                  <a:gd name="T69" fmla="*/ 164 h 598"/>
                  <a:gd name="T70" fmla="*/ 641 w 808"/>
                  <a:gd name="T71" fmla="*/ 149 h 598"/>
                  <a:gd name="T72" fmla="*/ 600 w 808"/>
                  <a:gd name="T73" fmla="*/ 108 h 598"/>
                  <a:gd name="T74" fmla="*/ 558 w 808"/>
                  <a:gd name="T75" fmla="*/ 57 h 598"/>
                  <a:gd name="T76" fmla="*/ 502 w 808"/>
                  <a:gd name="T77" fmla="*/ 20 h 598"/>
                  <a:gd name="T78" fmla="*/ 437 w 808"/>
                  <a:gd name="T79" fmla="*/ 1 h 598"/>
                  <a:gd name="T80" fmla="*/ 349 w 808"/>
                  <a:gd name="T81" fmla="*/ 8 h 598"/>
                  <a:gd name="T82" fmla="*/ 271 w 808"/>
                  <a:gd name="T83" fmla="*/ 44 h 598"/>
                  <a:gd name="T84" fmla="*/ 215 w 808"/>
                  <a:gd name="T85" fmla="*/ 99 h 598"/>
                  <a:gd name="T86" fmla="*/ 184 w 808"/>
                  <a:gd name="T87" fmla="*/ 163 h 598"/>
                  <a:gd name="T88" fmla="*/ 127 w 808"/>
                  <a:gd name="T89" fmla="*/ 198 h 598"/>
                  <a:gd name="T90" fmla="*/ 66 w 808"/>
                  <a:gd name="T91" fmla="*/ 240 h 598"/>
                  <a:gd name="T92" fmla="*/ 21 w 808"/>
                  <a:gd name="T93" fmla="*/ 300 h 598"/>
                  <a:gd name="T94" fmla="*/ 1 w 808"/>
                  <a:gd name="T95" fmla="*/ 370 h 598"/>
                  <a:gd name="T96" fmla="*/ 2 w 808"/>
                  <a:gd name="T97" fmla="*/ 419 h 598"/>
                  <a:gd name="T98" fmla="*/ 25 w 808"/>
                  <a:gd name="T99" fmla="*/ 487 h 598"/>
                  <a:gd name="T100" fmla="*/ 78 w 808"/>
                  <a:gd name="T101" fmla="*/ 549 h 598"/>
                  <a:gd name="T102" fmla="*/ 149 w 808"/>
                  <a:gd name="T103" fmla="*/ 588 h 598"/>
                  <a:gd name="T104" fmla="*/ 199 w 808"/>
                  <a:gd name="T105" fmla="*/ 598 h 598"/>
                  <a:gd name="T106" fmla="*/ 675 w 808"/>
                  <a:gd name="T107" fmla="*/ 595 h 598"/>
                  <a:gd name="T108" fmla="*/ 734 w 808"/>
                  <a:gd name="T109" fmla="*/ 570 h 598"/>
                  <a:gd name="T110" fmla="*/ 779 w 808"/>
                  <a:gd name="T111" fmla="*/ 525 h 598"/>
                  <a:gd name="T112" fmla="*/ 805 w 808"/>
                  <a:gd name="T113" fmla="*/ 466 h 598"/>
                  <a:gd name="T114" fmla="*/ 805 w 808"/>
                  <a:gd name="T115" fmla="*/ 398 h 598"/>
                  <a:gd name="T116" fmla="*/ 788 w 808"/>
                  <a:gd name="T117" fmla="*/ 342 h 598"/>
                  <a:gd name="T118" fmla="*/ 765 w 808"/>
                  <a:gd name="T119" fmla="*/ 308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8" h="598">
                    <a:moveTo>
                      <a:pt x="642" y="568"/>
                    </a:moveTo>
                    <a:lnTo>
                      <a:pt x="210" y="568"/>
                    </a:lnTo>
                    <a:lnTo>
                      <a:pt x="191" y="567"/>
                    </a:lnTo>
                    <a:lnTo>
                      <a:pt x="174" y="565"/>
                    </a:lnTo>
                    <a:lnTo>
                      <a:pt x="157" y="559"/>
                    </a:lnTo>
                    <a:lnTo>
                      <a:pt x="141" y="554"/>
                    </a:lnTo>
                    <a:lnTo>
                      <a:pt x="125" y="545"/>
                    </a:lnTo>
                    <a:lnTo>
                      <a:pt x="110" y="537"/>
                    </a:lnTo>
                    <a:lnTo>
                      <a:pt x="96" y="526"/>
                    </a:lnTo>
                    <a:lnTo>
                      <a:pt x="83" y="514"/>
                    </a:lnTo>
                    <a:lnTo>
                      <a:pt x="72" y="502"/>
                    </a:lnTo>
                    <a:lnTo>
                      <a:pt x="61" y="488"/>
                    </a:lnTo>
                    <a:lnTo>
                      <a:pt x="52" y="473"/>
                    </a:lnTo>
                    <a:lnTo>
                      <a:pt x="45" y="457"/>
                    </a:lnTo>
                    <a:lnTo>
                      <a:pt x="38" y="441"/>
                    </a:lnTo>
                    <a:lnTo>
                      <a:pt x="33" y="423"/>
                    </a:lnTo>
                    <a:lnTo>
                      <a:pt x="31" y="406"/>
                    </a:lnTo>
                    <a:lnTo>
                      <a:pt x="30" y="388"/>
                    </a:lnTo>
                    <a:lnTo>
                      <a:pt x="31" y="372"/>
                    </a:lnTo>
                    <a:lnTo>
                      <a:pt x="33" y="356"/>
                    </a:lnTo>
                    <a:lnTo>
                      <a:pt x="37" y="340"/>
                    </a:lnTo>
                    <a:lnTo>
                      <a:pt x="43" y="325"/>
                    </a:lnTo>
                    <a:lnTo>
                      <a:pt x="50" y="310"/>
                    </a:lnTo>
                    <a:lnTo>
                      <a:pt x="59" y="295"/>
                    </a:lnTo>
                    <a:lnTo>
                      <a:pt x="68" y="282"/>
                    </a:lnTo>
                    <a:lnTo>
                      <a:pt x="79" y="269"/>
                    </a:lnTo>
                    <a:lnTo>
                      <a:pt x="91" y="257"/>
                    </a:lnTo>
                    <a:lnTo>
                      <a:pt x="104" y="247"/>
                    </a:lnTo>
                    <a:lnTo>
                      <a:pt x="118" y="237"/>
                    </a:lnTo>
                    <a:lnTo>
                      <a:pt x="131" y="229"/>
                    </a:lnTo>
                    <a:lnTo>
                      <a:pt x="146" y="221"/>
                    </a:lnTo>
                    <a:lnTo>
                      <a:pt x="163" y="216"/>
                    </a:lnTo>
                    <a:lnTo>
                      <a:pt x="179" y="211"/>
                    </a:lnTo>
                    <a:lnTo>
                      <a:pt x="196" y="209"/>
                    </a:lnTo>
                    <a:lnTo>
                      <a:pt x="201" y="208"/>
                    </a:lnTo>
                    <a:lnTo>
                      <a:pt x="205" y="205"/>
                    </a:lnTo>
                    <a:lnTo>
                      <a:pt x="208" y="201"/>
                    </a:lnTo>
                    <a:lnTo>
                      <a:pt x="209" y="195"/>
                    </a:lnTo>
                    <a:lnTo>
                      <a:pt x="211" y="186"/>
                    </a:lnTo>
                    <a:lnTo>
                      <a:pt x="212" y="177"/>
                    </a:lnTo>
                    <a:lnTo>
                      <a:pt x="214" y="168"/>
                    </a:lnTo>
                    <a:lnTo>
                      <a:pt x="217" y="159"/>
                    </a:lnTo>
                    <a:lnTo>
                      <a:pt x="224" y="142"/>
                    </a:lnTo>
                    <a:lnTo>
                      <a:pt x="232" y="127"/>
                    </a:lnTo>
                    <a:lnTo>
                      <a:pt x="243" y="112"/>
                    </a:lnTo>
                    <a:lnTo>
                      <a:pt x="255" y="98"/>
                    </a:lnTo>
                    <a:lnTo>
                      <a:pt x="267" y="85"/>
                    </a:lnTo>
                    <a:lnTo>
                      <a:pt x="282" y="74"/>
                    </a:lnTo>
                    <a:lnTo>
                      <a:pt x="297" y="64"/>
                    </a:lnTo>
                    <a:lnTo>
                      <a:pt x="313" y="55"/>
                    </a:lnTo>
                    <a:lnTo>
                      <a:pt x="331" y="48"/>
                    </a:lnTo>
                    <a:lnTo>
                      <a:pt x="348" y="41"/>
                    </a:lnTo>
                    <a:lnTo>
                      <a:pt x="365" y="36"/>
                    </a:lnTo>
                    <a:lnTo>
                      <a:pt x="383" y="33"/>
                    </a:lnTo>
                    <a:lnTo>
                      <a:pt x="401" y="31"/>
                    </a:lnTo>
                    <a:lnTo>
                      <a:pt x="418" y="29"/>
                    </a:lnTo>
                    <a:lnTo>
                      <a:pt x="434" y="31"/>
                    </a:lnTo>
                    <a:lnTo>
                      <a:pt x="449" y="33"/>
                    </a:lnTo>
                    <a:lnTo>
                      <a:pt x="464" y="36"/>
                    </a:lnTo>
                    <a:lnTo>
                      <a:pt x="478" y="41"/>
                    </a:lnTo>
                    <a:lnTo>
                      <a:pt x="492" y="48"/>
                    </a:lnTo>
                    <a:lnTo>
                      <a:pt x="505" y="55"/>
                    </a:lnTo>
                    <a:lnTo>
                      <a:pt x="518" y="64"/>
                    </a:lnTo>
                    <a:lnTo>
                      <a:pt x="530" y="73"/>
                    </a:lnTo>
                    <a:lnTo>
                      <a:pt x="542" y="84"/>
                    </a:lnTo>
                    <a:lnTo>
                      <a:pt x="552" y="95"/>
                    </a:lnTo>
                    <a:lnTo>
                      <a:pt x="562" y="107"/>
                    </a:lnTo>
                    <a:lnTo>
                      <a:pt x="572" y="118"/>
                    </a:lnTo>
                    <a:lnTo>
                      <a:pt x="580" y="131"/>
                    </a:lnTo>
                    <a:lnTo>
                      <a:pt x="588" y="144"/>
                    </a:lnTo>
                    <a:lnTo>
                      <a:pt x="594" y="157"/>
                    </a:lnTo>
                    <a:lnTo>
                      <a:pt x="599" y="170"/>
                    </a:lnTo>
                    <a:lnTo>
                      <a:pt x="601" y="174"/>
                    </a:lnTo>
                    <a:lnTo>
                      <a:pt x="606" y="177"/>
                    </a:lnTo>
                    <a:lnTo>
                      <a:pt x="610" y="179"/>
                    </a:lnTo>
                    <a:lnTo>
                      <a:pt x="615" y="179"/>
                    </a:lnTo>
                    <a:lnTo>
                      <a:pt x="630" y="178"/>
                    </a:lnTo>
                    <a:lnTo>
                      <a:pt x="646" y="179"/>
                    </a:lnTo>
                    <a:lnTo>
                      <a:pt x="660" y="181"/>
                    </a:lnTo>
                    <a:lnTo>
                      <a:pt x="674" y="186"/>
                    </a:lnTo>
                    <a:lnTo>
                      <a:pt x="687" y="192"/>
                    </a:lnTo>
                    <a:lnTo>
                      <a:pt x="698" y="200"/>
                    </a:lnTo>
                    <a:lnTo>
                      <a:pt x="703" y="203"/>
                    </a:lnTo>
                    <a:lnTo>
                      <a:pt x="707" y="208"/>
                    </a:lnTo>
                    <a:lnTo>
                      <a:pt x="712" y="213"/>
                    </a:lnTo>
                    <a:lnTo>
                      <a:pt x="716" y="218"/>
                    </a:lnTo>
                    <a:lnTo>
                      <a:pt x="720" y="226"/>
                    </a:lnTo>
                    <a:lnTo>
                      <a:pt x="724" y="235"/>
                    </a:lnTo>
                    <a:lnTo>
                      <a:pt x="727" y="244"/>
                    </a:lnTo>
                    <a:lnTo>
                      <a:pt x="728" y="253"/>
                    </a:lnTo>
                    <a:lnTo>
                      <a:pt x="727" y="263"/>
                    </a:lnTo>
                    <a:lnTo>
                      <a:pt x="726" y="272"/>
                    </a:lnTo>
                    <a:lnTo>
                      <a:pt x="724" y="282"/>
                    </a:lnTo>
                    <a:lnTo>
                      <a:pt x="719" y="293"/>
                    </a:lnTo>
                    <a:lnTo>
                      <a:pt x="718" y="298"/>
                    </a:lnTo>
                    <a:lnTo>
                      <a:pt x="719" y="303"/>
                    </a:lnTo>
                    <a:lnTo>
                      <a:pt x="721" y="308"/>
                    </a:lnTo>
                    <a:lnTo>
                      <a:pt x="725" y="312"/>
                    </a:lnTo>
                    <a:lnTo>
                      <a:pt x="731" y="316"/>
                    </a:lnTo>
                    <a:lnTo>
                      <a:pt x="736" y="322"/>
                    </a:lnTo>
                    <a:lnTo>
                      <a:pt x="742" y="327"/>
                    </a:lnTo>
                    <a:lnTo>
                      <a:pt x="747" y="332"/>
                    </a:lnTo>
                    <a:lnTo>
                      <a:pt x="756" y="346"/>
                    </a:lnTo>
                    <a:lnTo>
                      <a:pt x="763" y="361"/>
                    </a:lnTo>
                    <a:lnTo>
                      <a:pt x="770" y="377"/>
                    </a:lnTo>
                    <a:lnTo>
                      <a:pt x="774" y="396"/>
                    </a:lnTo>
                    <a:lnTo>
                      <a:pt x="777" y="414"/>
                    </a:lnTo>
                    <a:lnTo>
                      <a:pt x="778" y="433"/>
                    </a:lnTo>
                    <a:lnTo>
                      <a:pt x="777" y="447"/>
                    </a:lnTo>
                    <a:lnTo>
                      <a:pt x="775" y="461"/>
                    </a:lnTo>
                    <a:lnTo>
                      <a:pt x="772" y="474"/>
                    </a:lnTo>
                    <a:lnTo>
                      <a:pt x="767" y="485"/>
                    </a:lnTo>
                    <a:lnTo>
                      <a:pt x="762" y="498"/>
                    </a:lnTo>
                    <a:lnTo>
                      <a:pt x="755" y="509"/>
                    </a:lnTo>
                    <a:lnTo>
                      <a:pt x="747" y="520"/>
                    </a:lnTo>
                    <a:lnTo>
                      <a:pt x="739" y="528"/>
                    </a:lnTo>
                    <a:lnTo>
                      <a:pt x="729" y="538"/>
                    </a:lnTo>
                    <a:lnTo>
                      <a:pt x="718" y="545"/>
                    </a:lnTo>
                    <a:lnTo>
                      <a:pt x="706" y="552"/>
                    </a:lnTo>
                    <a:lnTo>
                      <a:pt x="695" y="557"/>
                    </a:lnTo>
                    <a:lnTo>
                      <a:pt x="683" y="563"/>
                    </a:lnTo>
                    <a:lnTo>
                      <a:pt x="669" y="566"/>
                    </a:lnTo>
                    <a:lnTo>
                      <a:pt x="656" y="568"/>
                    </a:lnTo>
                    <a:lnTo>
                      <a:pt x="642" y="568"/>
                    </a:lnTo>
                    <a:close/>
                    <a:moveTo>
                      <a:pt x="751" y="294"/>
                    </a:moveTo>
                    <a:lnTo>
                      <a:pt x="755" y="282"/>
                    </a:lnTo>
                    <a:lnTo>
                      <a:pt x="757" y="269"/>
                    </a:lnTo>
                    <a:lnTo>
                      <a:pt x="758" y="257"/>
                    </a:lnTo>
                    <a:lnTo>
                      <a:pt x="757" y="246"/>
                    </a:lnTo>
                    <a:lnTo>
                      <a:pt x="755" y="234"/>
                    </a:lnTo>
                    <a:lnTo>
                      <a:pt x="751" y="222"/>
                    </a:lnTo>
                    <a:lnTo>
                      <a:pt x="747" y="211"/>
                    </a:lnTo>
                    <a:lnTo>
                      <a:pt x="741" y="202"/>
                    </a:lnTo>
                    <a:lnTo>
                      <a:pt x="736" y="195"/>
                    </a:lnTo>
                    <a:lnTo>
                      <a:pt x="731" y="189"/>
                    </a:lnTo>
                    <a:lnTo>
                      <a:pt x="726" y="183"/>
                    </a:lnTo>
                    <a:lnTo>
                      <a:pt x="719" y="177"/>
                    </a:lnTo>
                    <a:lnTo>
                      <a:pt x="713" y="173"/>
                    </a:lnTo>
                    <a:lnTo>
                      <a:pt x="706" y="169"/>
                    </a:lnTo>
                    <a:lnTo>
                      <a:pt x="699" y="164"/>
                    </a:lnTo>
                    <a:lnTo>
                      <a:pt x="691" y="161"/>
                    </a:lnTo>
                    <a:lnTo>
                      <a:pt x="676" y="155"/>
                    </a:lnTo>
                    <a:lnTo>
                      <a:pt x="659" y="150"/>
                    </a:lnTo>
                    <a:lnTo>
                      <a:pt x="641" y="149"/>
                    </a:lnTo>
                    <a:lnTo>
                      <a:pt x="623" y="149"/>
                    </a:lnTo>
                    <a:lnTo>
                      <a:pt x="616" y="135"/>
                    </a:lnTo>
                    <a:lnTo>
                      <a:pt x="609" y="122"/>
                    </a:lnTo>
                    <a:lnTo>
                      <a:pt x="600" y="108"/>
                    </a:lnTo>
                    <a:lnTo>
                      <a:pt x="591" y="95"/>
                    </a:lnTo>
                    <a:lnTo>
                      <a:pt x="581" y="82"/>
                    </a:lnTo>
                    <a:lnTo>
                      <a:pt x="569" y="69"/>
                    </a:lnTo>
                    <a:lnTo>
                      <a:pt x="558" y="57"/>
                    </a:lnTo>
                    <a:lnTo>
                      <a:pt x="545" y="47"/>
                    </a:lnTo>
                    <a:lnTo>
                      <a:pt x="532" y="37"/>
                    </a:lnTo>
                    <a:lnTo>
                      <a:pt x="517" y="27"/>
                    </a:lnTo>
                    <a:lnTo>
                      <a:pt x="502" y="20"/>
                    </a:lnTo>
                    <a:lnTo>
                      <a:pt x="487" y="12"/>
                    </a:lnTo>
                    <a:lnTo>
                      <a:pt x="471" y="7"/>
                    </a:lnTo>
                    <a:lnTo>
                      <a:pt x="454" y="3"/>
                    </a:lnTo>
                    <a:lnTo>
                      <a:pt x="437" y="1"/>
                    </a:lnTo>
                    <a:lnTo>
                      <a:pt x="418" y="0"/>
                    </a:lnTo>
                    <a:lnTo>
                      <a:pt x="394" y="1"/>
                    </a:lnTo>
                    <a:lnTo>
                      <a:pt x="371" y="4"/>
                    </a:lnTo>
                    <a:lnTo>
                      <a:pt x="349" y="8"/>
                    </a:lnTo>
                    <a:lnTo>
                      <a:pt x="327" y="16"/>
                    </a:lnTo>
                    <a:lnTo>
                      <a:pt x="307" y="23"/>
                    </a:lnTo>
                    <a:lnTo>
                      <a:pt x="289" y="33"/>
                    </a:lnTo>
                    <a:lnTo>
                      <a:pt x="271" y="44"/>
                    </a:lnTo>
                    <a:lnTo>
                      <a:pt x="255" y="56"/>
                    </a:lnTo>
                    <a:lnTo>
                      <a:pt x="241" y="69"/>
                    </a:lnTo>
                    <a:lnTo>
                      <a:pt x="227" y="84"/>
                    </a:lnTo>
                    <a:lnTo>
                      <a:pt x="215" y="99"/>
                    </a:lnTo>
                    <a:lnTo>
                      <a:pt x="205" y="114"/>
                    </a:lnTo>
                    <a:lnTo>
                      <a:pt x="197" y="130"/>
                    </a:lnTo>
                    <a:lnTo>
                      <a:pt x="189" y="147"/>
                    </a:lnTo>
                    <a:lnTo>
                      <a:pt x="184" y="163"/>
                    </a:lnTo>
                    <a:lnTo>
                      <a:pt x="181" y="180"/>
                    </a:lnTo>
                    <a:lnTo>
                      <a:pt x="163" y="185"/>
                    </a:lnTo>
                    <a:lnTo>
                      <a:pt x="144" y="190"/>
                    </a:lnTo>
                    <a:lnTo>
                      <a:pt x="127" y="198"/>
                    </a:lnTo>
                    <a:lnTo>
                      <a:pt x="110" y="206"/>
                    </a:lnTo>
                    <a:lnTo>
                      <a:pt x="95" y="216"/>
                    </a:lnTo>
                    <a:lnTo>
                      <a:pt x="80" y="227"/>
                    </a:lnTo>
                    <a:lnTo>
                      <a:pt x="66" y="240"/>
                    </a:lnTo>
                    <a:lnTo>
                      <a:pt x="53" y="253"/>
                    </a:lnTo>
                    <a:lnTo>
                      <a:pt x="42" y="268"/>
                    </a:lnTo>
                    <a:lnTo>
                      <a:pt x="31" y="283"/>
                    </a:lnTo>
                    <a:lnTo>
                      <a:pt x="21" y="300"/>
                    </a:lnTo>
                    <a:lnTo>
                      <a:pt x="14" y="316"/>
                    </a:lnTo>
                    <a:lnTo>
                      <a:pt x="8" y="335"/>
                    </a:lnTo>
                    <a:lnTo>
                      <a:pt x="3" y="352"/>
                    </a:lnTo>
                    <a:lnTo>
                      <a:pt x="1" y="370"/>
                    </a:lnTo>
                    <a:lnTo>
                      <a:pt x="0" y="388"/>
                    </a:lnTo>
                    <a:lnTo>
                      <a:pt x="0" y="399"/>
                    </a:lnTo>
                    <a:lnTo>
                      <a:pt x="1" y="409"/>
                    </a:lnTo>
                    <a:lnTo>
                      <a:pt x="2" y="419"/>
                    </a:lnTo>
                    <a:lnTo>
                      <a:pt x="4" y="430"/>
                    </a:lnTo>
                    <a:lnTo>
                      <a:pt x="9" y="449"/>
                    </a:lnTo>
                    <a:lnTo>
                      <a:pt x="17" y="468"/>
                    </a:lnTo>
                    <a:lnTo>
                      <a:pt x="25" y="487"/>
                    </a:lnTo>
                    <a:lnTo>
                      <a:pt x="36" y="504"/>
                    </a:lnTo>
                    <a:lnTo>
                      <a:pt x="49" y="521"/>
                    </a:lnTo>
                    <a:lnTo>
                      <a:pt x="63" y="536"/>
                    </a:lnTo>
                    <a:lnTo>
                      <a:pt x="78" y="549"/>
                    </a:lnTo>
                    <a:lnTo>
                      <a:pt x="94" y="561"/>
                    </a:lnTo>
                    <a:lnTo>
                      <a:pt x="111" y="572"/>
                    </a:lnTo>
                    <a:lnTo>
                      <a:pt x="129" y="581"/>
                    </a:lnTo>
                    <a:lnTo>
                      <a:pt x="149" y="588"/>
                    </a:lnTo>
                    <a:lnTo>
                      <a:pt x="168" y="594"/>
                    </a:lnTo>
                    <a:lnTo>
                      <a:pt x="179" y="596"/>
                    </a:lnTo>
                    <a:lnTo>
                      <a:pt x="188" y="597"/>
                    </a:lnTo>
                    <a:lnTo>
                      <a:pt x="199" y="598"/>
                    </a:lnTo>
                    <a:lnTo>
                      <a:pt x="210" y="598"/>
                    </a:lnTo>
                    <a:lnTo>
                      <a:pt x="642" y="598"/>
                    </a:lnTo>
                    <a:lnTo>
                      <a:pt x="659" y="597"/>
                    </a:lnTo>
                    <a:lnTo>
                      <a:pt x="675" y="595"/>
                    </a:lnTo>
                    <a:lnTo>
                      <a:pt x="691" y="590"/>
                    </a:lnTo>
                    <a:lnTo>
                      <a:pt x="706" y="585"/>
                    </a:lnTo>
                    <a:lnTo>
                      <a:pt x="721" y="579"/>
                    </a:lnTo>
                    <a:lnTo>
                      <a:pt x="734" y="570"/>
                    </a:lnTo>
                    <a:lnTo>
                      <a:pt x="747" y="560"/>
                    </a:lnTo>
                    <a:lnTo>
                      <a:pt x="759" y="550"/>
                    </a:lnTo>
                    <a:lnTo>
                      <a:pt x="770" y="538"/>
                    </a:lnTo>
                    <a:lnTo>
                      <a:pt x="779" y="525"/>
                    </a:lnTo>
                    <a:lnTo>
                      <a:pt x="788" y="512"/>
                    </a:lnTo>
                    <a:lnTo>
                      <a:pt x="795" y="497"/>
                    </a:lnTo>
                    <a:lnTo>
                      <a:pt x="801" y="482"/>
                    </a:lnTo>
                    <a:lnTo>
                      <a:pt x="805" y="466"/>
                    </a:lnTo>
                    <a:lnTo>
                      <a:pt x="807" y="450"/>
                    </a:lnTo>
                    <a:lnTo>
                      <a:pt x="808" y="433"/>
                    </a:lnTo>
                    <a:lnTo>
                      <a:pt x="807" y="416"/>
                    </a:lnTo>
                    <a:lnTo>
                      <a:pt x="805" y="398"/>
                    </a:lnTo>
                    <a:lnTo>
                      <a:pt x="801" y="378"/>
                    </a:lnTo>
                    <a:lnTo>
                      <a:pt x="795" y="360"/>
                    </a:lnTo>
                    <a:lnTo>
                      <a:pt x="792" y="351"/>
                    </a:lnTo>
                    <a:lnTo>
                      <a:pt x="788" y="342"/>
                    </a:lnTo>
                    <a:lnTo>
                      <a:pt x="782" y="332"/>
                    </a:lnTo>
                    <a:lnTo>
                      <a:pt x="777" y="324"/>
                    </a:lnTo>
                    <a:lnTo>
                      <a:pt x="772" y="316"/>
                    </a:lnTo>
                    <a:lnTo>
                      <a:pt x="765" y="308"/>
                    </a:lnTo>
                    <a:lnTo>
                      <a:pt x="759" y="301"/>
                    </a:lnTo>
                    <a:lnTo>
                      <a:pt x="751" y="2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1" name="Freeform 44">
                <a:extLst>
                  <a:ext uri="{FF2B5EF4-FFF2-40B4-BE49-F238E27FC236}">
                    <a16:creationId xmlns:a16="http://schemas.microsoft.com/office/drawing/2014/main" id="{DA192EF8-958C-4734-BCEB-AC60283A72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5625" y="984250"/>
                <a:ext cx="71438" cy="71438"/>
              </a:xfrm>
              <a:custGeom>
                <a:avLst/>
                <a:gdLst>
                  <a:gd name="T0" fmla="*/ 198 w 223"/>
                  <a:gd name="T1" fmla="*/ 4 h 225"/>
                  <a:gd name="T2" fmla="*/ 4 w 223"/>
                  <a:gd name="T3" fmla="*/ 199 h 225"/>
                  <a:gd name="T4" fmla="*/ 2 w 223"/>
                  <a:gd name="T5" fmla="*/ 201 h 225"/>
                  <a:gd name="T6" fmla="*/ 1 w 223"/>
                  <a:gd name="T7" fmla="*/ 204 h 225"/>
                  <a:gd name="T8" fmla="*/ 0 w 223"/>
                  <a:gd name="T9" fmla="*/ 207 h 225"/>
                  <a:gd name="T10" fmla="*/ 0 w 223"/>
                  <a:gd name="T11" fmla="*/ 210 h 225"/>
                  <a:gd name="T12" fmla="*/ 0 w 223"/>
                  <a:gd name="T13" fmla="*/ 213 h 225"/>
                  <a:gd name="T14" fmla="*/ 1 w 223"/>
                  <a:gd name="T15" fmla="*/ 216 h 225"/>
                  <a:gd name="T16" fmla="*/ 2 w 223"/>
                  <a:gd name="T17" fmla="*/ 218 h 225"/>
                  <a:gd name="T18" fmla="*/ 4 w 223"/>
                  <a:gd name="T19" fmla="*/ 220 h 225"/>
                  <a:gd name="T20" fmla="*/ 6 w 223"/>
                  <a:gd name="T21" fmla="*/ 221 h 225"/>
                  <a:gd name="T22" fmla="*/ 8 w 223"/>
                  <a:gd name="T23" fmla="*/ 223 h 225"/>
                  <a:gd name="T24" fmla="*/ 11 w 223"/>
                  <a:gd name="T25" fmla="*/ 223 h 225"/>
                  <a:gd name="T26" fmla="*/ 15 w 223"/>
                  <a:gd name="T27" fmla="*/ 225 h 225"/>
                  <a:gd name="T28" fmla="*/ 17 w 223"/>
                  <a:gd name="T29" fmla="*/ 223 h 225"/>
                  <a:gd name="T30" fmla="*/ 20 w 223"/>
                  <a:gd name="T31" fmla="*/ 223 h 225"/>
                  <a:gd name="T32" fmla="*/ 22 w 223"/>
                  <a:gd name="T33" fmla="*/ 221 h 225"/>
                  <a:gd name="T34" fmla="*/ 25 w 223"/>
                  <a:gd name="T35" fmla="*/ 220 h 225"/>
                  <a:gd name="T36" fmla="*/ 219 w 223"/>
                  <a:gd name="T37" fmla="*/ 25 h 225"/>
                  <a:gd name="T38" fmla="*/ 221 w 223"/>
                  <a:gd name="T39" fmla="*/ 23 h 225"/>
                  <a:gd name="T40" fmla="*/ 222 w 223"/>
                  <a:gd name="T41" fmla="*/ 21 h 225"/>
                  <a:gd name="T42" fmla="*/ 223 w 223"/>
                  <a:gd name="T43" fmla="*/ 18 h 225"/>
                  <a:gd name="T44" fmla="*/ 223 w 223"/>
                  <a:gd name="T45" fmla="*/ 16 h 225"/>
                  <a:gd name="T46" fmla="*/ 223 w 223"/>
                  <a:gd name="T47" fmla="*/ 13 h 225"/>
                  <a:gd name="T48" fmla="*/ 222 w 223"/>
                  <a:gd name="T49" fmla="*/ 9 h 225"/>
                  <a:gd name="T50" fmla="*/ 221 w 223"/>
                  <a:gd name="T51" fmla="*/ 7 h 225"/>
                  <a:gd name="T52" fmla="*/ 219 w 223"/>
                  <a:gd name="T53" fmla="*/ 4 h 225"/>
                  <a:gd name="T54" fmla="*/ 217 w 223"/>
                  <a:gd name="T55" fmla="*/ 2 h 225"/>
                  <a:gd name="T56" fmla="*/ 215 w 223"/>
                  <a:gd name="T57" fmla="*/ 1 h 225"/>
                  <a:gd name="T58" fmla="*/ 212 w 223"/>
                  <a:gd name="T59" fmla="*/ 0 h 225"/>
                  <a:gd name="T60" fmla="*/ 208 w 223"/>
                  <a:gd name="T61" fmla="*/ 0 h 225"/>
                  <a:gd name="T62" fmla="*/ 206 w 223"/>
                  <a:gd name="T63" fmla="*/ 0 h 225"/>
                  <a:gd name="T64" fmla="*/ 203 w 223"/>
                  <a:gd name="T65" fmla="*/ 1 h 225"/>
                  <a:gd name="T66" fmla="*/ 201 w 223"/>
                  <a:gd name="T67" fmla="*/ 2 h 225"/>
                  <a:gd name="T68" fmla="*/ 198 w 223"/>
                  <a:gd name="T69" fmla="*/ 4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3" h="225">
                    <a:moveTo>
                      <a:pt x="198" y="4"/>
                    </a:moveTo>
                    <a:lnTo>
                      <a:pt x="4" y="199"/>
                    </a:lnTo>
                    <a:lnTo>
                      <a:pt x="2" y="201"/>
                    </a:lnTo>
                    <a:lnTo>
                      <a:pt x="1" y="204"/>
                    </a:lnTo>
                    <a:lnTo>
                      <a:pt x="0" y="207"/>
                    </a:lnTo>
                    <a:lnTo>
                      <a:pt x="0" y="210"/>
                    </a:lnTo>
                    <a:lnTo>
                      <a:pt x="0" y="213"/>
                    </a:lnTo>
                    <a:lnTo>
                      <a:pt x="1" y="216"/>
                    </a:lnTo>
                    <a:lnTo>
                      <a:pt x="2" y="218"/>
                    </a:lnTo>
                    <a:lnTo>
                      <a:pt x="4" y="220"/>
                    </a:lnTo>
                    <a:lnTo>
                      <a:pt x="6" y="221"/>
                    </a:lnTo>
                    <a:lnTo>
                      <a:pt x="8" y="223"/>
                    </a:lnTo>
                    <a:lnTo>
                      <a:pt x="11" y="223"/>
                    </a:lnTo>
                    <a:lnTo>
                      <a:pt x="15" y="225"/>
                    </a:lnTo>
                    <a:lnTo>
                      <a:pt x="17" y="223"/>
                    </a:lnTo>
                    <a:lnTo>
                      <a:pt x="20" y="223"/>
                    </a:lnTo>
                    <a:lnTo>
                      <a:pt x="22" y="221"/>
                    </a:lnTo>
                    <a:lnTo>
                      <a:pt x="25" y="220"/>
                    </a:lnTo>
                    <a:lnTo>
                      <a:pt x="219" y="25"/>
                    </a:lnTo>
                    <a:lnTo>
                      <a:pt x="221" y="23"/>
                    </a:lnTo>
                    <a:lnTo>
                      <a:pt x="222" y="21"/>
                    </a:lnTo>
                    <a:lnTo>
                      <a:pt x="223" y="18"/>
                    </a:lnTo>
                    <a:lnTo>
                      <a:pt x="223" y="16"/>
                    </a:lnTo>
                    <a:lnTo>
                      <a:pt x="223" y="13"/>
                    </a:lnTo>
                    <a:lnTo>
                      <a:pt x="222" y="9"/>
                    </a:lnTo>
                    <a:lnTo>
                      <a:pt x="221" y="7"/>
                    </a:lnTo>
                    <a:lnTo>
                      <a:pt x="219" y="4"/>
                    </a:lnTo>
                    <a:lnTo>
                      <a:pt x="217" y="2"/>
                    </a:lnTo>
                    <a:lnTo>
                      <a:pt x="215" y="1"/>
                    </a:lnTo>
                    <a:lnTo>
                      <a:pt x="212" y="0"/>
                    </a:lnTo>
                    <a:lnTo>
                      <a:pt x="208" y="0"/>
                    </a:lnTo>
                    <a:lnTo>
                      <a:pt x="206" y="0"/>
                    </a:lnTo>
                    <a:lnTo>
                      <a:pt x="203" y="1"/>
                    </a:lnTo>
                    <a:lnTo>
                      <a:pt x="201" y="2"/>
                    </a:lnTo>
                    <a:lnTo>
                      <a:pt x="198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2" name="Freeform 45">
                <a:extLst>
                  <a:ext uri="{FF2B5EF4-FFF2-40B4-BE49-F238E27FC236}">
                    <a16:creationId xmlns:a16="http://schemas.microsoft.com/office/drawing/2014/main" id="{2B8FD970-30BF-4E2E-89F0-57AD6C03DC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1825" y="989013"/>
                <a:ext cx="47625" cy="66675"/>
              </a:xfrm>
              <a:custGeom>
                <a:avLst/>
                <a:gdLst>
                  <a:gd name="T0" fmla="*/ 135 w 150"/>
                  <a:gd name="T1" fmla="*/ 60 h 210"/>
                  <a:gd name="T2" fmla="*/ 82 w 150"/>
                  <a:gd name="T3" fmla="*/ 60 h 210"/>
                  <a:gd name="T4" fmla="*/ 116 w 150"/>
                  <a:gd name="T5" fmla="*/ 25 h 210"/>
                  <a:gd name="T6" fmla="*/ 118 w 150"/>
                  <a:gd name="T7" fmla="*/ 23 h 210"/>
                  <a:gd name="T8" fmla="*/ 119 w 150"/>
                  <a:gd name="T9" fmla="*/ 21 h 210"/>
                  <a:gd name="T10" fmla="*/ 120 w 150"/>
                  <a:gd name="T11" fmla="*/ 18 h 210"/>
                  <a:gd name="T12" fmla="*/ 120 w 150"/>
                  <a:gd name="T13" fmla="*/ 16 h 210"/>
                  <a:gd name="T14" fmla="*/ 120 w 150"/>
                  <a:gd name="T15" fmla="*/ 13 h 210"/>
                  <a:gd name="T16" fmla="*/ 119 w 150"/>
                  <a:gd name="T17" fmla="*/ 9 h 210"/>
                  <a:gd name="T18" fmla="*/ 118 w 150"/>
                  <a:gd name="T19" fmla="*/ 6 h 210"/>
                  <a:gd name="T20" fmla="*/ 116 w 150"/>
                  <a:gd name="T21" fmla="*/ 4 h 210"/>
                  <a:gd name="T22" fmla="*/ 114 w 150"/>
                  <a:gd name="T23" fmla="*/ 2 h 210"/>
                  <a:gd name="T24" fmla="*/ 111 w 150"/>
                  <a:gd name="T25" fmla="*/ 1 h 210"/>
                  <a:gd name="T26" fmla="*/ 109 w 150"/>
                  <a:gd name="T27" fmla="*/ 0 h 210"/>
                  <a:gd name="T28" fmla="*/ 105 w 150"/>
                  <a:gd name="T29" fmla="*/ 0 h 210"/>
                  <a:gd name="T30" fmla="*/ 102 w 150"/>
                  <a:gd name="T31" fmla="*/ 0 h 210"/>
                  <a:gd name="T32" fmla="*/ 100 w 150"/>
                  <a:gd name="T33" fmla="*/ 1 h 210"/>
                  <a:gd name="T34" fmla="*/ 97 w 150"/>
                  <a:gd name="T35" fmla="*/ 2 h 210"/>
                  <a:gd name="T36" fmla="*/ 95 w 150"/>
                  <a:gd name="T37" fmla="*/ 4 h 210"/>
                  <a:gd name="T38" fmla="*/ 35 w 150"/>
                  <a:gd name="T39" fmla="*/ 64 h 210"/>
                  <a:gd name="T40" fmla="*/ 33 w 150"/>
                  <a:gd name="T41" fmla="*/ 68 h 210"/>
                  <a:gd name="T42" fmla="*/ 32 w 150"/>
                  <a:gd name="T43" fmla="*/ 71 h 210"/>
                  <a:gd name="T44" fmla="*/ 30 w 150"/>
                  <a:gd name="T45" fmla="*/ 76 h 210"/>
                  <a:gd name="T46" fmla="*/ 32 w 150"/>
                  <a:gd name="T47" fmla="*/ 81 h 210"/>
                  <a:gd name="T48" fmla="*/ 35 w 150"/>
                  <a:gd name="T49" fmla="*/ 84 h 210"/>
                  <a:gd name="T50" fmla="*/ 38 w 150"/>
                  <a:gd name="T51" fmla="*/ 88 h 210"/>
                  <a:gd name="T52" fmla="*/ 41 w 150"/>
                  <a:gd name="T53" fmla="*/ 89 h 210"/>
                  <a:gd name="T54" fmla="*/ 45 w 150"/>
                  <a:gd name="T55" fmla="*/ 90 h 210"/>
                  <a:gd name="T56" fmla="*/ 99 w 150"/>
                  <a:gd name="T57" fmla="*/ 90 h 210"/>
                  <a:gd name="T58" fmla="*/ 5 w 150"/>
                  <a:gd name="T59" fmla="*/ 184 h 210"/>
                  <a:gd name="T60" fmla="*/ 4 w 150"/>
                  <a:gd name="T61" fmla="*/ 186 h 210"/>
                  <a:gd name="T62" fmla="*/ 2 w 150"/>
                  <a:gd name="T63" fmla="*/ 189 h 210"/>
                  <a:gd name="T64" fmla="*/ 2 w 150"/>
                  <a:gd name="T65" fmla="*/ 192 h 210"/>
                  <a:gd name="T66" fmla="*/ 0 w 150"/>
                  <a:gd name="T67" fmla="*/ 195 h 210"/>
                  <a:gd name="T68" fmla="*/ 2 w 150"/>
                  <a:gd name="T69" fmla="*/ 198 h 210"/>
                  <a:gd name="T70" fmla="*/ 2 w 150"/>
                  <a:gd name="T71" fmla="*/ 201 h 210"/>
                  <a:gd name="T72" fmla="*/ 4 w 150"/>
                  <a:gd name="T73" fmla="*/ 203 h 210"/>
                  <a:gd name="T74" fmla="*/ 5 w 150"/>
                  <a:gd name="T75" fmla="*/ 205 h 210"/>
                  <a:gd name="T76" fmla="*/ 8 w 150"/>
                  <a:gd name="T77" fmla="*/ 206 h 210"/>
                  <a:gd name="T78" fmla="*/ 10 w 150"/>
                  <a:gd name="T79" fmla="*/ 208 h 210"/>
                  <a:gd name="T80" fmla="*/ 13 w 150"/>
                  <a:gd name="T81" fmla="*/ 208 h 210"/>
                  <a:gd name="T82" fmla="*/ 15 w 150"/>
                  <a:gd name="T83" fmla="*/ 210 h 210"/>
                  <a:gd name="T84" fmla="*/ 19 w 150"/>
                  <a:gd name="T85" fmla="*/ 208 h 210"/>
                  <a:gd name="T86" fmla="*/ 22 w 150"/>
                  <a:gd name="T87" fmla="*/ 208 h 210"/>
                  <a:gd name="T88" fmla="*/ 24 w 150"/>
                  <a:gd name="T89" fmla="*/ 206 h 210"/>
                  <a:gd name="T90" fmla="*/ 26 w 150"/>
                  <a:gd name="T91" fmla="*/ 205 h 210"/>
                  <a:gd name="T92" fmla="*/ 146 w 150"/>
                  <a:gd name="T93" fmla="*/ 85 h 210"/>
                  <a:gd name="T94" fmla="*/ 148 w 150"/>
                  <a:gd name="T95" fmla="*/ 82 h 210"/>
                  <a:gd name="T96" fmla="*/ 150 w 150"/>
                  <a:gd name="T97" fmla="*/ 78 h 210"/>
                  <a:gd name="T98" fmla="*/ 150 w 150"/>
                  <a:gd name="T99" fmla="*/ 74 h 210"/>
                  <a:gd name="T100" fmla="*/ 149 w 150"/>
                  <a:gd name="T101" fmla="*/ 70 h 210"/>
                  <a:gd name="T102" fmla="*/ 147 w 150"/>
                  <a:gd name="T103" fmla="*/ 66 h 210"/>
                  <a:gd name="T104" fmla="*/ 144 w 150"/>
                  <a:gd name="T105" fmla="*/ 63 h 210"/>
                  <a:gd name="T106" fmla="*/ 140 w 150"/>
                  <a:gd name="T107" fmla="*/ 61 h 210"/>
                  <a:gd name="T108" fmla="*/ 135 w 150"/>
                  <a:gd name="T109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50" h="210">
                    <a:moveTo>
                      <a:pt x="135" y="60"/>
                    </a:moveTo>
                    <a:lnTo>
                      <a:pt x="82" y="60"/>
                    </a:lnTo>
                    <a:lnTo>
                      <a:pt x="116" y="25"/>
                    </a:lnTo>
                    <a:lnTo>
                      <a:pt x="118" y="23"/>
                    </a:lnTo>
                    <a:lnTo>
                      <a:pt x="119" y="21"/>
                    </a:lnTo>
                    <a:lnTo>
                      <a:pt x="120" y="18"/>
                    </a:lnTo>
                    <a:lnTo>
                      <a:pt x="120" y="16"/>
                    </a:lnTo>
                    <a:lnTo>
                      <a:pt x="120" y="13"/>
                    </a:lnTo>
                    <a:lnTo>
                      <a:pt x="119" y="9"/>
                    </a:lnTo>
                    <a:lnTo>
                      <a:pt x="118" y="6"/>
                    </a:lnTo>
                    <a:lnTo>
                      <a:pt x="116" y="4"/>
                    </a:lnTo>
                    <a:lnTo>
                      <a:pt x="114" y="2"/>
                    </a:lnTo>
                    <a:lnTo>
                      <a:pt x="111" y="1"/>
                    </a:lnTo>
                    <a:lnTo>
                      <a:pt x="109" y="0"/>
                    </a:lnTo>
                    <a:lnTo>
                      <a:pt x="105" y="0"/>
                    </a:lnTo>
                    <a:lnTo>
                      <a:pt x="102" y="0"/>
                    </a:lnTo>
                    <a:lnTo>
                      <a:pt x="100" y="1"/>
                    </a:lnTo>
                    <a:lnTo>
                      <a:pt x="97" y="2"/>
                    </a:lnTo>
                    <a:lnTo>
                      <a:pt x="95" y="4"/>
                    </a:lnTo>
                    <a:lnTo>
                      <a:pt x="35" y="64"/>
                    </a:lnTo>
                    <a:lnTo>
                      <a:pt x="33" y="68"/>
                    </a:lnTo>
                    <a:lnTo>
                      <a:pt x="32" y="71"/>
                    </a:lnTo>
                    <a:lnTo>
                      <a:pt x="30" y="76"/>
                    </a:lnTo>
                    <a:lnTo>
                      <a:pt x="32" y="81"/>
                    </a:lnTo>
                    <a:lnTo>
                      <a:pt x="35" y="84"/>
                    </a:lnTo>
                    <a:lnTo>
                      <a:pt x="38" y="88"/>
                    </a:lnTo>
                    <a:lnTo>
                      <a:pt x="41" y="89"/>
                    </a:lnTo>
                    <a:lnTo>
                      <a:pt x="45" y="90"/>
                    </a:lnTo>
                    <a:lnTo>
                      <a:pt x="99" y="90"/>
                    </a:lnTo>
                    <a:lnTo>
                      <a:pt x="5" y="184"/>
                    </a:lnTo>
                    <a:lnTo>
                      <a:pt x="4" y="186"/>
                    </a:lnTo>
                    <a:lnTo>
                      <a:pt x="2" y="189"/>
                    </a:lnTo>
                    <a:lnTo>
                      <a:pt x="2" y="192"/>
                    </a:lnTo>
                    <a:lnTo>
                      <a:pt x="0" y="195"/>
                    </a:lnTo>
                    <a:lnTo>
                      <a:pt x="2" y="198"/>
                    </a:lnTo>
                    <a:lnTo>
                      <a:pt x="2" y="201"/>
                    </a:lnTo>
                    <a:lnTo>
                      <a:pt x="4" y="203"/>
                    </a:lnTo>
                    <a:lnTo>
                      <a:pt x="5" y="205"/>
                    </a:lnTo>
                    <a:lnTo>
                      <a:pt x="8" y="206"/>
                    </a:lnTo>
                    <a:lnTo>
                      <a:pt x="10" y="208"/>
                    </a:lnTo>
                    <a:lnTo>
                      <a:pt x="13" y="208"/>
                    </a:lnTo>
                    <a:lnTo>
                      <a:pt x="15" y="210"/>
                    </a:lnTo>
                    <a:lnTo>
                      <a:pt x="19" y="208"/>
                    </a:lnTo>
                    <a:lnTo>
                      <a:pt x="22" y="208"/>
                    </a:lnTo>
                    <a:lnTo>
                      <a:pt x="24" y="206"/>
                    </a:lnTo>
                    <a:lnTo>
                      <a:pt x="26" y="205"/>
                    </a:lnTo>
                    <a:lnTo>
                      <a:pt x="146" y="85"/>
                    </a:lnTo>
                    <a:lnTo>
                      <a:pt x="148" y="82"/>
                    </a:lnTo>
                    <a:lnTo>
                      <a:pt x="150" y="78"/>
                    </a:lnTo>
                    <a:lnTo>
                      <a:pt x="150" y="74"/>
                    </a:lnTo>
                    <a:lnTo>
                      <a:pt x="149" y="70"/>
                    </a:lnTo>
                    <a:lnTo>
                      <a:pt x="147" y="66"/>
                    </a:lnTo>
                    <a:lnTo>
                      <a:pt x="144" y="63"/>
                    </a:lnTo>
                    <a:lnTo>
                      <a:pt x="140" y="61"/>
                    </a:lnTo>
                    <a:lnTo>
                      <a:pt x="135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3" name="Freeform 46">
                <a:extLst>
                  <a:ext uri="{FF2B5EF4-FFF2-40B4-BE49-F238E27FC236}">
                    <a16:creationId xmlns:a16="http://schemas.microsoft.com/office/drawing/2014/main" id="{7086AABA-07D8-4865-8F77-D656F950FE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989013"/>
                <a:ext cx="66675" cy="66675"/>
              </a:xfrm>
              <a:custGeom>
                <a:avLst/>
                <a:gdLst>
                  <a:gd name="T0" fmla="*/ 184 w 210"/>
                  <a:gd name="T1" fmla="*/ 4 h 210"/>
                  <a:gd name="T2" fmla="*/ 5 w 210"/>
                  <a:gd name="T3" fmla="*/ 184 h 210"/>
                  <a:gd name="T4" fmla="*/ 2 w 210"/>
                  <a:gd name="T5" fmla="*/ 186 h 210"/>
                  <a:gd name="T6" fmla="*/ 1 w 210"/>
                  <a:gd name="T7" fmla="*/ 189 h 210"/>
                  <a:gd name="T8" fmla="*/ 0 w 210"/>
                  <a:gd name="T9" fmla="*/ 192 h 210"/>
                  <a:gd name="T10" fmla="*/ 0 w 210"/>
                  <a:gd name="T11" fmla="*/ 195 h 210"/>
                  <a:gd name="T12" fmla="*/ 0 w 210"/>
                  <a:gd name="T13" fmla="*/ 198 h 210"/>
                  <a:gd name="T14" fmla="*/ 1 w 210"/>
                  <a:gd name="T15" fmla="*/ 201 h 210"/>
                  <a:gd name="T16" fmla="*/ 2 w 210"/>
                  <a:gd name="T17" fmla="*/ 203 h 210"/>
                  <a:gd name="T18" fmla="*/ 5 w 210"/>
                  <a:gd name="T19" fmla="*/ 205 h 210"/>
                  <a:gd name="T20" fmla="*/ 7 w 210"/>
                  <a:gd name="T21" fmla="*/ 206 h 210"/>
                  <a:gd name="T22" fmla="*/ 10 w 210"/>
                  <a:gd name="T23" fmla="*/ 208 h 210"/>
                  <a:gd name="T24" fmla="*/ 12 w 210"/>
                  <a:gd name="T25" fmla="*/ 208 h 210"/>
                  <a:gd name="T26" fmla="*/ 15 w 210"/>
                  <a:gd name="T27" fmla="*/ 210 h 210"/>
                  <a:gd name="T28" fmla="*/ 19 w 210"/>
                  <a:gd name="T29" fmla="*/ 208 h 210"/>
                  <a:gd name="T30" fmla="*/ 21 w 210"/>
                  <a:gd name="T31" fmla="*/ 208 h 210"/>
                  <a:gd name="T32" fmla="*/ 24 w 210"/>
                  <a:gd name="T33" fmla="*/ 206 h 210"/>
                  <a:gd name="T34" fmla="*/ 26 w 210"/>
                  <a:gd name="T35" fmla="*/ 205 h 210"/>
                  <a:gd name="T36" fmla="*/ 206 w 210"/>
                  <a:gd name="T37" fmla="*/ 25 h 210"/>
                  <a:gd name="T38" fmla="*/ 208 w 210"/>
                  <a:gd name="T39" fmla="*/ 23 h 210"/>
                  <a:gd name="T40" fmla="*/ 209 w 210"/>
                  <a:gd name="T41" fmla="*/ 21 h 210"/>
                  <a:gd name="T42" fmla="*/ 210 w 210"/>
                  <a:gd name="T43" fmla="*/ 18 h 210"/>
                  <a:gd name="T44" fmla="*/ 210 w 210"/>
                  <a:gd name="T45" fmla="*/ 16 h 210"/>
                  <a:gd name="T46" fmla="*/ 210 w 210"/>
                  <a:gd name="T47" fmla="*/ 13 h 210"/>
                  <a:gd name="T48" fmla="*/ 209 w 210"/>
                  <a:gd name="T49" fmla="*/ 9 h 210"/>
                  <a:gd name="T50" fmla="*/ 208 w 210"/>
                  <a:gd name="T51" fmla="*/ 6 h 210"/>
                  <a:gd name="T52" fmla="*/ 206 w 210"/>
                  <a:gd name="T53" fmla="*/ 4 h 210"/>
                  <a:gd name="T54" fmla="*/ 204 w 210"/>
                  <a:gd name="T55" fmla="*/ 2 h 210"/>
                  <a:gd name="T56" fmla="*/ 201 w 210"/>
                  <a:gd name="T57" fmla="*/ 1 h 210"/>
                  <a:gd name="T58" fmla="*/ 198 w 210"/>
                  <a:gd name="T59" fmla="*/ 0 h 210"/>
                  <a:gd name="T60" fmla="*/ 195 w 210"/>
                  <a:gd name="T61" fmla="*/ 0 h 210"/>
                  <a:gd name="T62" fmla="*/ 192 w 210"/>
                  <a:gd name="T63" fmla="*/ 0 h 210"/>
                  <a:gd name="T64" fmla="*/ 190 w 210"/>
                  <a:gd name="T65" fmla="*/ 1 h 210"/>
                  <a:gd name="T66" fmla="*/ 187 w 210"/>
                  <a:gd name="T67" fmla="*/ 2 h 210"/>
                  <a:gd name="T68" fmla="*/ 184 w 210"/>
                  <a:gd name="T69" fmla="*/ 4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0" h="210">
                    <a:moveTo>
                      <a:pt x="184" y="4"/>
                    </a:moveTo>
                    <a:lnTo>
                      <a:pt x="5" y="184"/>
                    </a:lnTo>
                    <a:lnTo>
                      <a:pt x="2" y="186"/>
                    </a:lnTo>
                    <a:lnTo>
                      <a:pt x="1" y="189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8"/>
                    </a:lnTo>
                    <a:lnTo>
                      <a:pt x="1" y="201"/>
                    </a:lnTo>
                    <a:lnTo>
                      <a:pt x="2" y="203"/>
                    </a:lnTo>
                    <a:lnTo>
                      <a:pt x="5" y="205"/>
                    </a:lnTo>
                    <a:lnTo>
                      <a:pt x="7" y="206"/>
                    </a:lnTo>
                    <a:lnTo>
                      <a:pt x="10" y="208"/>
                    </a:lnTo>
                    <a:lnTo>
                      <a:pt x="12" y="208"/>
                    </a:lnTo>
                    <a:lnTo>
                      <a:pt x="15" y="210"/>
                    </a:lnTo>
                    <a:lnTo>
                      <a:pt x="19" y="208"/>
                    </a:lnTo>
                    <a:lnTo>
                      <a:pt x="21" y="208"/>
                    </a:lnTo>
                    <a:lnTo>
                      <a:pt x="24" y="206"/>
                    </a:lnTo>
                    <a:lnTo>
                      <a:pt x="26" y="205"/>
                    </a:lnTo>
                    <a:lnTo>
                      <a:pt x="206" y="25"/>
                    </a:lnTo>
                    <a:lnTo>
                      <a:pt x="208" y="23"/>
                    </a:lnTo>
                    <a:lnTo>
                      <a:pt x="209" y="21"/>
                    </a:lnTo>
                    <a:lnTo>
                      <a:pt x="210" y="18"/>
                    </a:lnTo>
                    <a:lnTo>
                      <a:pt x="210" y="16"/>
                    </a:lnTo>
                    <a:lnTo>
                      <a:pt x="210" y="13"/>
                    </a:lnTo>
                    <a:lnTo>
                      <a:pt x="209" y="9"/>
                    </a:lnTo>
                    <a:lnTo>
                      <a:pt x="208" y="6"/>
                    </a:lnTo>
                    <a:lnTo>
                      <a:pt x="206" y="4"/>
                    </a:lnTo>
                    <a:lnTo>
                      <a:pt x="204" y="2"/>
                    </a:lnTo>
                    <a:lnTo>
                      <a:pt x="201" y="1"/>
                    </a:lnTo>
                    <a:lnTo>
                      <a:pt x="198" y="0"/>
                    </a:lnTo>
                    <a:lnTo>
                      <a:pt x="195" y="0"/>
                    </a:lnTo>
                    <a:lnTo>
                      <a:pt x="192" y="0"/>
                    </a:lnTo>
                    <a:lnTo>
                      <a:pt x="190" y="1"/>
                    </a:lnTo>
                    <a:lnTo>
                      <a:pt x="187" y="2"/>
                    </a:lnTo>
                    <a:lnTo>
                      <a:pt x="18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EC9BFF6-1332-496E-8B47-7E7713528ECC}"/>
              </a:ext>
            </a:extLst>
          </p:cNvPr>
          <p:cNvGrpSpPr/>
          <p:nvPr/>
        </p:nvGrpSpPr>
        <p:grpSpPr>
          <a:xfrm>
            <a:off x="791298" y="2015768"/>
            <a:ext cx="418315" cy="418315"/>
            <a:chOff x="3103103" y="1741116"/>
            <a:chExt cx="418315" cy="418315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A313219E-FBE3-403C-AA46-F9EE721FE221}"/>
                </a:ext>
              </a:extLst>
            </p:cNvPr>
            <p:cNvSpPr/>
            <p:nvPr/>
          </p:nvSpPr>
          <p:spPr>
            <a:xfrm>
              <a:off x="3103103" y="1741116"/>
              <a:ext cx="418315" cy="418315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24" name="Group 1823">
              <a:extLst>
                <a:ext uri="{FF2B5EF4-FFF2-40B4-BE49-F238E27FC236}">
                  <a16:creationId xmlns:a16="http://schemas.microsoft.com/office/drawing/2014/main" id="{B14A1FF4-465F-4804-99F3-9559D10F543A}"/>
                </a:ext>
              </a:extLst>
            </p:cNvPr>
            <p:cNvGrpSpPr/>
            <p:nvPr/>
          </p:nvGrpSpPr>
          <p:grpSpPr>
            <a:xfrm>
              <a:off x="3226503" y="1864516"/>
              <a:ext cx="171514" cy="171514"/>
              <a:chOff x="334963" y="769938"/>
              <a:chExt cx="276225" cy="276225"/>
            </a:xfrm>
            <a:solidFill>
              <a:schemeClr val="bg1"/>
            </a:solidFill>
          </p:grpSpPr>
          <p:sp>
            <p:nvSpPr>
              <p:cNvPr id="1825" name="Freeform 54">
                <a:extLst>
                  <a:ext uri="{FF2B5EF4-FFF2-40B4-BE49-F238E27FC236}">
                    <a16:creationId xmlns:a16="http://schemas.microsoft.com/office/drawing/2014/main" id="{2B86526E-F8A5-4FC9-8B60-91A7F5D505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7825" y="812800"/>
                <a:ext cx="190500" cy="190500"/>
              </a:xfrm>
              <a:custGeom>
                <a:avLst/>
                <a:gdLst>
                  <a:gd name="T0" fmla="*/ 245 w 599"/>
                  <a:gd name="T1" fmla="*/ 563 h 599"/>
                  <a:gd name="T2" fmla="*/ 182 w 599"/>
                  <a:gd name="T3" fmla="*/ 542 h 599"/>
                  <a:gd name="T4" fmla="*/ 128 w 599"/>
                  <a:gd name="T5" fmla="*/ 508 h 599"/>
                  <a:gd name="T6" fmla="*/ 84 w 599"/>
                  <a:gd name="T7" fmla="*/ 461 h 599"/>
                  <a:gd name="T8" fmla="*/ 52 w 599"/>
                  <a:gd name="T9" fmla="*/ 405 h 599"/>
                  <a:gd name="T10" fmla="*/ 33 w 599"/>
                  <a:gd name="T11" fmla="*/ 341 h 599"/>
                  <a:gd name="T12" fmla="*/ 31 w 599"/>
                  <a:gd name="T13" fmla="*/ 272 h 599"/>
                  <a:gd name="T14" fmla="*/ 46 w 599"/>
                  <a:gd name="T15" fmla="*/ 207 h 599"/>
                  <a:gd name="T16" fmla="*/ 76 w 599"/>
                  <a:gd name="T17" fmla="*/ 149 h 599"/>
                  <a:gd name="T18" fmla="*/ 118 w 599"/>
                  <a:gd name="T19" fmla="*/ 100 h 599"/>
                  <a:gd name="T20" fmla="*/ 171 w 599"/>
                  <a:gd name="T21" fmla="*/ 62 h 599"/>
                  <a:gd name="T22" fmla="*/ 233 w 599"/>
                  <a:gd name="T23" fmla="*/ 39 h 599"/>
                  <a:gd name="T24" fmla="*/ 299 w 599"/>
                  <a:gd name="T25" fmla="*/ 30 h 599"/>
                  <a:gd name="T26" fmla="*/ 366 w 599"/>
                  <a:gd name="T27" fmla="*/ 39 h 599"/>
                  <a:gd name="T28" fmla="*/ 427 w 599"/>
                  <a:gd name="T29" fmla="*/ 62 h 599"/>
                  <a:gd name="T30" fmla="*/ 480 w 599"/>
                  <a:gd name="T31" fmla="*/ 100 h 599"/>
                  <a:gd name="T32" fmla="*/ 523 w 599"/>
                  <a:gd name="T33" fmla="*/ 149 h 599"/>
                  <a:gd name="T34" fmla="*/ 553 w 599"/>
                  <a:gd name="T35" fmla="*/ 207 h 599"/>
                  <a:gd name="T36" fmla="*/ 568 w 599"/>
                  <a:gd name="T37" fmla="*/ 272 h 599"/>
                  <a:gd name="T38" fmla="*/ 566 w 599"/>
                  <a:gd name="T39" fmla="*/ 341 h 599"/>
                  <a:gd name="T40" fmla="*/ 547 w 599"/>
                  <a:gd name="T41" fmla="*/ 405 h 599"/>
                  <a:gd name="T42" fmla="*/ 515 w 599"/>
                  <a:gd name="T43" fmla="*/ 461 h 599"/>
                  <a:gd name="T44" fmla="*/ 470 w 599"/>
                  <a:gd name="T45" fmla="*/ 508 h 599"/>
                  <a:gd name="T46" fmla="*/ 416 w 599"/>
                  <a:gd name="T47" fmla="*/ 542 h 599"/>
                  <a:gd name="T48" fmla="*/ 354 w 599"/>
                  <a:gd name="T49" fmla="*/ 563 h 599"/>
                  <a:gd name="T50" fmla="*/ 299 w 599"/>
                  <a:gd name="T51" fmla="*/ 0 h 599"/>
                  <a:gd name="T52" fmla="*/ 225 w 599"/>
                  <a:gd name="T53" fmla="*/ 10 h 599"/>
                  <a:gd name="T54" fmla="*/ 157 w 599"/>
                  <a:gd name="T55" fmla="*/ 37 h 599"/>
                  <a:gd name="T56" fmla="*/ 98 w 599"/>
                  <a:gd name="T57" fmla="*/ 79 h 599"/>
                  <a:gd name="T58" fmla="*/ 52 w 599"/>
                  <a:gd name="T59" fmla="*/ 132 h 599"/>
                  <a:gd name="T60" fmla="*/ 18 w 599"/>
                  <a:gd name="T61" fmla="*/ 196 h 599"/>
                  <a:gd name="T62" fmla="*/ 1 w 599"/>
                  <a:gd name="T63" fmla="*/ 269 h 599"/>
                  <a:gd name="T64" fmla="*/ 3 w 599"/>
                  <a:gd name="T65" fmla="*/ 345 h 599"/>
                  <a:gd name="T66" fmla="*/ 24 w 599"/>
                  <a:gd name="T67" fmla="*/ 416 h 599"/>
                  <a:gd name="T68" fmla="*/ 59 w 599"/>
                  <a:gd name="T69" fmla="*/ 479 h 599"/>
                  <a:gd name="T70" fmla="*/ 109 w 599"/>
                  <a:gd name="T71" fmla="*/ 530 h 599"/>
                  <a:gd name="T72" fmla="*/ 169 w 599"/>
                  <a:gd name="T73" fmla="*/ 570 h 599"/>
                  <a:gd name="T74" fmla="*/ 239 w 599"/>
                  <a:gd name="T75" fmla="*/ 592 h 599"/>
                  <a:gd name="T76" fmla="*/ 315 w 599"/>
                  <a:gd name="T77" fmla="*/ 599 h 599"/>
                  <a:gd name="T78" fmla="*/ 388 w 599"/>
                  <a:gd name="T79" fmla="*/ 585 h 599"/>
                  <a:gd name="T80" fmla="*/ 454 w 599"/>
                  <a:gd name="T81" fmla="*/ 556 h 599"/>
                  <a:gd name="T82" fmla="*/ 511 w 599"/>
                  <a:gd name="T83" fmla="*/ 511 h 599"/>
                  <a:gd name="T84" fmla="*/ 555 w 599"/>
                  <a:gd name="T85" fmla="*/ 455 h 599"/>
                  <a:gd name="T86" fmla="*/ 585 w 599"/>
                  <a:gd name="T87" fmla="*/ 389 h 599"/>
                  <a:gd name="T88" fmla="*/ 599 w 599"/>
                  <a:gd name="T89" fmla="*/ 315 h 599"/>
                  <a:gd name="T90" fmla="*/ 592 w 599"/>
                  <a:gd name="T91" fmla="*/ 239 h 599"/>
                  <a:gd name="T92" fmla="*/ 569 w 599"/>
                  <a:gd name="T93" fmla="*/ 169 h 599"/>
                  <a:gd name="T94" fmla="*/ 530 w 599"/>
                  <a:gd name="T95" fmla="*/ 110 h 599"/>
                  <a:gd name="T96" fmla="*/ 479 w 599"/>
                  <a:gd name="T97" fmla="*/ 59 h 599"/>
                  <a:gd name="T98" fmla="*/ 416 w 599"/>
                  <a:gd name="T99" fmla="*/ 24 h 599"/>
                  <a:gd name="T100" fmla="*/ 345 w 599"/>
                  <a:gd name="T101" fmla="*/ 4 h 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99" h="599">
                    <a:moveTo>
                      <a:pt x="299" y="569"/>
                    </a:moveTo>
                    <a:lnTo>
                      <a:pt x="285" y="569"/>
                    </a:lnTo>
                    <a:lnTo>
                      <a:pt x="272" y="568"/>
                    </a:lnTo>
                    <a:lnTo>
                      <a:pt x="258" y="566"/>
                    </a:lnTo>
                    <a:lnTo>
                      <a:pt x="245" y="563"/>
                    </a:lnTo>
                    <a:lnTo>
                      <a:pt x="233" y="560"/>
                    </a:lnTo>
                    <a:lnTo>
                      <a:pt x="220" y="557"/>
                    </a:lnTo>
                    <a:lnTo>
                      <a:pt x="207" y="553"/>
                    </a:lnTo>
                    <a:lnTo>
                      <a:pt x="194" y="547"/>
                    </a:lnTo>
                    <a:lnTo>
                      <a:pt x="182" y="542"/>
                    </a:lnTo>
                    <a:lnTo>
                      <a:pt x="171" y="537"/>
                    </a:lnTo>
                    <a:lnTo>
                      <a:pt x="160" y="530"/>
                    </a:lnTo>
                    <a:lnTo>
                      <a:pt x="149" y="523"/>
                    </a:lnTo>
                    <a:lnTo>
                      <a:pt x="138" y="515"/>
                    </a:lnTo>
                    <a:lnTo>
                      <a:pt x="128" y="508"/>
                    </a:lnTo>
                    <a:lnTo>
                      <a:pt x="118" y="499"/>
                    </a:lnTo>
                    <a:lnTo>
                      <a:pt x="108" y="491"/>
                    </a:lnTo>
                    <a:lnTo>
                      <a:pt x="100" y="481"/>
                    </a:lnTo>
                    <a:lnTo>
                      <a:pt x="91" y="471"/>
                    </a:lnTo>
                    <a:lnTo>
                      <a:pt x="84" y="461"/>
                    </a:lnTo>
                    <a:lnTo>
                      <a:pt x="76" y="450"/>
                    </a:lnTo>
                    <a:lnTo>
                      <a:pt x="69" y="439"/>
                    </a:lnTo>
                    <a:lnTo>
                      <a:pt x="62" y="429"/>
                    </a:lnTo>
                    <a:lnTo>
                      <a:pt x="57" y="417"/>
                    </a:lnTo>
                    <a:lnTo>
                      <a:pt x="52" y="405"/>
                    </a:lnTo>
                    <a:lnTo>
                      <a:pt x="46" y="392"/>
                    </a:lnTo>
                    <a:lnTo>
                      <a:pt x="42" y="379"/>
                    </a:lnTo>
                    <a:lnTo>
                      <a:pt x="39" y="368"/>
                    </a:lnTo>
                    <a:lnTo>
                      <a:pt x="36" y="354"/>
                    </a:lnTo>
                    <a:lnTo>
                      <a:pt x="33" y="341"/>
                    </a:lnTo>
                    <a:lnTo>
                      <a:pt x="31" y="327"/>
                    </a:lnTo>
                    <a:lnTo>
                      <a:pt x="30" y="313"/>
                    </a:lnTo>
                    <a:lnTo>
                      <a:pt x="30" y="299"/>
                    </a:lnTo>
                    <a:lnTo>
                      <a:pt x="30" y="285"/>
                    </a:lnTo>
                    <a:lnTo>
                      <a:pt x="31" y="272"/>
                    </a:lnTo>
                    <a:lnTo>
                      <a:pt x="33" y="258"/>
                    </a:lnTo>
                    <a:lnTo>
                      <a:pt x="36" y="245"/>
                    </a:lnTo>
                    <a:lnTo>
                      <a:pt x="39" y="233"/>
                    </a:lnTo>
                    <a:lnTo>
                      <a:pt x="42" y="220"/>
                    </a:lnTo>
                    <a:lnTo>
                      <a:pt x="46" y="207"/>
                    </a:lnTo>
                    <a:lnTo>
                      <a:pt x="52" y="195"/>
                    </a:lnTo>
                    <a:lnTo>
                      <a:pt x="57" y="182"/>
                    </a:lnTo>
                    <a:lnTo>
                      <a:pt x="62" y="172"/>
                    </a:lnTo>
                    <a:lnTo>
                      <a:pt x="69" y="160"/>
                    </a:lnTo>
                    <a:lnTo>
                      <a:pt x="76" y="149"/>
                    </a:lnTo>
                    <a:lnTo>
                      <a:pt x="84" y="138"/>
                    </a:lnTo>
                    <a:lnTo>
                      <a:pt x="91" y="129"/>
                    </a:lnTo>
                    <a:lnTo>
                      <a:pt x="100" y="118"/>
                    </a:lnTo>
                    <a:lnTo>
                      <a:pt x="108" y="110"/>
                    </a:lnTo>
                    <a:lnTo>
                      <a:pt x="118" y="100"/>
                    </a:lnTo>
                    <a:lnTo>
                      <a:pt x="128" y="91"/>
                    </a:lnTo>
                    <a:lnTo>
                      <a:pt x="138" y="84"/>
                    </a:lnTo>
                    <a:lnTo>
                      <a:pt x="149" y="76"/>
                    </a:lnTo>
                    <a:lnTo>
                      <a:pt x="160" y="69"/>
                    </a:lnTo>
                    <a:lnTo>
                      <a:pt x="171" y="62"/>
                    </a:lnTo>
                    <a:lnTo>
                      <a:pt x="182" y="57"/>
                    </a:lnTo>
                    <a:lnTo>
                      <a:pt x="194" y="52"/>
                    </a:lnTo>
                    <a:lnTo>
                      <a:pt x="207" y="46"/>
                    </a:lnTo>
                    <a:lnTo>
                      <a:pt x="220" y="42"/>
                    </a:lnTo>
                    <a:lnTo>
                      <a:pt x="233" y="39"/>
                    </a:lnTo>
                    <a:lnTo>
                      <a:pt x="245" y="36"/>
                    </a:lnTo>
                    <a:lnTo>
                      <a:pt x="258" y="34"/>
                    </a:lnTo>
                    <a:lnTo>
                      <a:pt x="272" y="31"/>
                    </a:lnTo>
                    <a:lnTo>
                      <a:pt x="285" y="30"/>
                    </a:lnTo>
                    <a:lnTo>
                      <a:pt x="299" y="30"/>
                    </a:lnTo>
                    <a:lnTo>
                      <a:pt x="313" y="30"/>
                    </a:lnTo>
                    <a:lnTo>
                      <a:pt x="327" y="31"/>
                    </a:lnTo>
                    <a:lnTo>
                      <a:pt x="341" y="34"/>
                    </a:lnTo>
                    <a:lnTo>
                      <a:pt x="354" y="36"/>
                    </a:lnTo>
                    <a:lnTo>
                      <a:pt x="366" y="39"/>
                    </a:lnTo>
                    <a:lnTo>
                      <a:pt x="379" y="42"/>
                    </a:lnTo>
                    <a:lnTo>
                      <a:pt x="392" y="46"/>
                    </a:lnTo>
                    <a:lnTo>
                      <a:pt x="404" y="52"/>
                    </a:lnTo>
                    <a:lnTo>
                      <a:pt x="416" y="57"/>
                    </a:lnTo>
                    <a:lnTo>
                      <a:pt x="427" y="62"/>
                    </a:lnTo>
                    <a:lnTo>
                      <a:pt x="439" y="69"/>
                    </a:lnTo>
                    <a:lnTo>
                      <a:pt x="450" y="76"/>
                    </a:lnTo>
                    <a:lnTo>
                      <a:pt x="461" y="84"/>
                    </a:lnTo>
                    <a:lnTo>
                      <a:pt x="470" y="91"/>
                    </a:lnTo>
                    <a:lnTo>
                      <a:pt x="480" y="100"/>
                    </a:lnTo>
                    <a:lnTo>
                      <a:pt x="490" y="110"/>
                    </a:lnTo>
                    <a:lnTo>
                      <a:pt x="499" y="118"/>
                    </a:lnTo>
                    <a:lnTo>
                      <a:pt x="507" y="129"/>
                    </a:lnTo>
                    <a:lnTo>
                      <a:pt x="515" y="138"/>
                    </a:lnTo>
                    <a:lnTo>
                      <a:pt x="523" y="149"/>
                    </a:lnTo>
                    <a:lnTo>
                      <a:pt x="530" y="160"/>
                    </a:lnTo>
                    <a:lnTo>
                      <a:pt x="537" y="172"/>
                    </a:lnTo>
                    <a:lnTo>
                      <a:pt x="542" y="182"/>
                    </a:lnTo>
                    <a:lnTo>
                      <a:pt x="547" y="195"/>
                    </a:lnTo>
                    <a:lnTo>
                      <a:pt x="553" y="207"/>
                    </a:lnTo>
                    <a:lnTo>
                      <a:pt x="557" y="220"/>
                    </a:lnTo>
                    <a:lnTo>
                      <a:pt x="560" y="233"/>
                    </a:lnTo>
                    <a:lnTo>
                      <a:pt x="563" y="245"/>
                    </a:lnTo>
                    <a:lnTo>
                      <a:pt x="566" y="258"/>
                    </a:lnTo>
                    <a:lnTo>
                      <a:pt x="568" y="272"/>
                    </a:lnTo>
                    <a:lnTo>
                      <a:pt x="569" y="285"/>
                    </a:lnTo>
                    <a:lnTo>
                      <a:pt x="569" y="299"/>
                    </a:lnTo>
                    <a:lnTo>
                      <a:pt x="569" y="313"/>
                    </a:lnTo>
                    <a:lnTo>
                      <a:pt x="568" y="327"/>
                    </a:lnTo>
                    <a:lnTo>
                      <a:pt x="566" y="341"/>
                    </a:lnTo>
                    <a:lnTo>
                      <a:pt x="563" y="354"/>
                    </a:lnTo>
                    <a:lnTo>
                      <a:pt x="560" y="368"/>
                    </a:lnTo>
                    <a:lnTo>
                      <a:pt x="557" y="379"/>
                    </a:lnTo>
                    <a:lnTo>
                      <a:pt x="553" y="392"/>
                    </a:lnTo>
                    <a:lnTo>
                      <a:pt x="547" y="405"/>
                    </a:lnTo>
                    <a:lnTo>
                      <a:pt x="542" y="417"/>
                    </a:lnTo>
                    <a:lnTo>
                      <a:pt x="537" y="429"/>
                    </a:lnTo>
                    <a:lnTo>
                      <a:pt x="530" y="439"/>
                    </a:lnTo>
                    <a:lnTo>
                      <a:pt x="523" y="450"/>
                    </a:lnTo>
                    <a:lnTo>
                      <a:pt x="515" y="461"/>
                    </a:lnTo>
                    <a:lnTo>
                      <a:pt x="507" y="471"/>
                    </a:lnTo>
                    <a:lnTo>
                      <a:pt x="499" y="481"/>
                    </a:lnTo>
                    <a:lnTo>
                      <a:pt x="490" y="491"/>
                    </a:lnTo>
                    <a:lnTo>
                      <a:pt x="480" y="499"/>
                    </a:lnTo>
                    <a:lnTo>
                      <a:pt x="470" y="508"/>
                    </a:lnTo>
                    <a:lnTo>
                      <a:pt x="461" y="515"/>
                    </a:lnTo>
                    <a:lnTo>
                      <a:pt x="450" y="523"/>
                    </a:lnTo>
                    <a:lnTo>
                      <a:pt x="439" y="530"/>
                    </a:lnTo>
                    <a:lnTo>
                      <a:pt x="427" y="537"/>
                    </a:lnTo>
                    <a:lnTo>
                      <a:pt x="416" y="542"/>
                    </a:lnTo>
                    <a:lnTo>
                      <a:pt x="404" y="547"/>
                    </a:lnTo>
                    <a:lnTo>
                      <a:pt x="392" y="553"/>
                    </a:lnTo>
                    <a:lnTo>
                      <a:pt x="379" y="557"/>
                    </a:lnTo>
                    <a:lnTo>
                      <a:pt x="366" y="560"/>
                    </a:lnTo>
                    <a:lnTo>
                      <a:pt x="354" y="563"/>
                    </a:lnTo>
                    <a:lnTo>
                      <a:pt x="341" y="566"/>
                    </a:lnTo>
                    <a:lnTo>
                      <a:pt x="327" y="568"/>
                    </a:lnTo>
                    <a:lnTo>
                      <a:pt x="313" y="569"/>
                    </a:lnTo>
                    <a:lnTo>
                      <a:pt x="299" y="569"/>
                    </a:lnTo>
                    <a:close/>
                    <a:moveTo>
                      <a:pt x="299" y="0"/>
                    </a:moveTo>
                    <a:lnTo>
                      <a:pt x="284" y="0"/>
                    </a:lnTo>
                    <a:lnTo>
                      <a:pt x="269" y="1"/>
                    </a:lnTo>
                    <a:lnTo>
                      <a:pt x="254" y="4"/>
                    </a:lnTo>
                    <a:lnTo>
                      <a:pt x="239" y="6"/>
                    </a:lnTo>
                    <a:lnTo>
                      <a:pt x="225" y="10"/>
                    </a:lnTo>
                    <a:lnTo>
                      <a:pt x="210" y="13"/>
                    </a:lnTo>
                    <a:lnTo>
                      <a:pt x="196" y="19"/>
                    </a:lnTo>
                    <a:lnTo>
                      <a:pt x="183" y="24"/>
                    </a:lnTo>
                    <a:lnTo>
                      <a:pt x="169" y="29"/>
                    </a:lnTo>
                    <a:lnTo>
                      <a:pt x="157" y="37"/>
                    </a:lnTo>
                    <a:lnTo>
                      <a:pt x="144" y="43"/>
                    </a:lnTo>
                    <a:lnTo>
                      <a:pt x="132" y="52"/>
                    </a:lnTo>
                    <a:lnTo>
                      <a:pt x="120" y="59"/>
                    </a:lnTo>
                    <a:lnTo>
                      <a:pt x="109" y="69"/>
                    </a:lnTo>
                    <a:lnTo>
                      <a:pt x="98" y="79"/>
                    </a:lnTo>
                    <a:lnTo>
                      <a:pt x="88" y="88"/>
                    </a:lnTo>
                    <a:lnTo>
                      <a:pt x="77" y="99"/>
                    </a:lnTo>
                    <a:lnTo>
                      <a:pt x="69" y="110"/>
                    </a:lnTo>
                    <a:lnTo>
                      <a:pt x="59" y="120"/>
                    </a:lnTo>
                    <a:lnTo>
                      <a:pt x="52" y="132"/>
                    </a:lnTo>
                    <a:lnTo>
                      <a:pt x="43" y="145"/>
                    </a:lnTo>
                    <a:lnTo>
                      <a:pt x="37" y="157"/>
                    </a:lnTo>
                    <a:lnTo>
                      <a:pt x="29" y="169"/>
                    </a:lnTo>
                    <a:lnTo>
                      <a:pt x="24" y="183"/>
                    </a:lnTo>
                    <a:lnTo>
                      <a:pt x="18" y="196"/>
                    </a:lnTo>
                    <a:lnTo>
                      <a:pt x="13" y="210"/>
                    </a:lnTo>
                    <a:lnTo>
                      <a:pt x="10" y="225"/>
                    </a:lnTo>
                    <a:lnTo>
                      <a:pt x="6" y="239"/>
                    </a:lnTo>
                    <a:lnTo>
                      <a:pt x="3" y="254"/>
                    </a:lnTo>
                    <a:lnTo>
                      <a:pt x="1" y="269"/>
                    </a:lnTo>
                    <a:lnTo>
                      <a:pt x="0" y="284"/>
                    </a:lnTo>
                    <a:lnTo>
                      <a:pt x="0" y="299"/>
                    </a:lnTo>
                    <a:lnTo>
                      <a:pt x="0" y="315"/>
                    </a:lnTo>
                    <a:lnTo>
                      <a:pt x="1" y="330"/>
                    </a:lnTo>
                    <a:lnTo>
                      <a:pt x="3" y="345"/>
                    </a:lnTo>
                    <a:lnTo>
                      <a:pt x="6" y="360"/>
                    </a:lnTo>
                    <a:lnTo>
                      <a:pt x="10" y="374"/>
                    </a:lnTo>
                    <a:lnTo>
                      <a:pt x="13" y="389"/>
                    </a:lnTo>
                    <a:lnTo>
                      <a:pt x="18" y="403"/>
                    </a:lnTo>
                    <a:lnTo>
                      <a:pt x="24" y="416"/>
                    </a:lnTo>
                    <a:lnTo>
                      <a:pt x="29" y="430"/>
                    </a:lnTo>
                    <a:lnTo>
                      <a:pt x="37" y="442"/>
                    </a:lnTo>
                    <a:lnTo>
                      <a:pt x="43" y="455"/>
                    </a:lnTo>
                    <a:lnTo>
                      <a:pt x="52" y="467"/>
                    </a:lnTo>
                    <a:lnTo>
                      <a:pt x="59" y="479"/>
                    </a:lnTo>
                    <a:lnTo>
                      <a:pt x="69" y="491"/>
                    </a:lnTo>
                    <a:lnTo>
                      <a:pt x="77" y="501"/>
                    </a:lnTo>
                    <a:lnTo>
                      <a:pt x="88" y="511"/>
                    </a:lnTo>
                    <a:lnTo>
                      <a:pt x="98" y="522"/>
                    </a:lnTo>
                    <a:lnTo>
                      <a:pt x="109" y="530"/>
                    </a:lnTo>
                    <a:lnTo>
                      <a:pt x="120" y="540"/>
                    </a:lnTo>
                    <a:lnTo>
                      <a:pt x="132" y="547"/>
                    </a:lnTo>
                    <a:lnTo>
                      <a:pt x="144" y="556"/>
                    </a:lnTo>
                    <a:lnTo>
                      <a:pt x="157" y="562"/>
                    </a:lnTo>
                    <a:lnTo>
                      <a:pt x="169" y="570"/>
                    </a:lnTo>
                    <a:lnTo>
                      <a:pt x="183" y="575"/>
                    </a:lnTo>
                    <a:lnTo>
                      <a:pt x="196" y="581"/>
                    </a:lnTo>
                    <a:lnTo>
                      <a:pt x="210" y="585"/>
                    </a:lnTo>
                    <a:lnTo>
                      <a:pt x="225" y="589"/>
                    </a:lnTo>
                    <a:lnTo>
                      <a:pt x="239" y="592"/>
                    </a:lnTo>
                    <a:lnTo>
                      <a:pt x="254" y="596"/>
                    </a:lnTo>
                    <a:lnTo>
                      <a:pt x="269" y="598"/>
                    </a:lnTo>
                    <a:lnTo>
                      <a:pt x="284" y="599"/>
                    </a:lnTo>
                    <a:lnTo>
                      <a:pt x="299" y="599"/>
                    </a:lnTo>
                    <a:lnTo>
                      <a:pt x="315" y="599"/>
                    </a:lnTo>
                    <a:lnTo>
                      <a:pt x="330" y="598"/>
                    </a:lnTo>
                    <a:lnTo>
                      <a:pt x="345" y="596"/>
                    </a:lnTo>
                    <a:lnTo>
                      <a:pt x="360" y="592"/>
                    </a:lnTo>
                    <a:lnTo>
                      <a:pt x="374" y="589"/>
                    </a:lnTo>
                    <a:lnTo>
                      <a:pt x="388" y="585"/>
                    </a:lnTo>
                    <a:lnTo>
                      <a:pt x="402" y="581"/>
                    </a:lnTo>
                    <a:lnTo>
                      <a:pt x="416" y="575"/>
                    </a:lnTo>
                    <a:lnTo>
                      <a:pt x="429" y="570"/>
                    </a:lnTo>
                    <a:lnTo>
                      <a:pt x="442" y="562"/>
                    </a:lnTo>
                    <a:lnTo>
                      <a:pt x="454" y="556"/>
                    </a:lnTo>
                    <a:lnTo>
                      <a:pt x="467" y="547"/>
                    </a:lnTo>
                    <a:lnTo>
                      <a:pt x="479" y="540"/>
                    </a:lnTo>
                    <a:lnTo>
                      <a:pt x="490" y="530"/>
                    </a:lnTo>
                    <a:lnTo>
                      <a:pt x="500" y="522"/>
                    </a:lnTo>
                    <a:lnTo>
                      <a:pt x="511" y="511"/>
                    </a:lnTo>
                    <a:lnTo>
                      <a:pt x="521" y="501"/>
                    </a:lnTo>
                    <a:lnTo>
                      <a:pt x="530" y="491"/>
                    </a:lnTo>
                    <a:lnTo>
                      <a:pt x="539" y="479"/>
                    </a:lnTo>
                    <a:lnTo>
                      <a:pt x="547" y="467"/>
                    </a:lnTo>
                    <a:lnTo>
                      <a:pt x="555" y="455"/>
                    </a:lnTo>
                    <a:lnTo>
                      <a:pt x="562" y="442"/>
                    </a:lnTo>
                    <a:lnTo>
                      <a:pt x="569" y="430"/>
                    </a:lnTo>
                    <a:lnTo>
                      <a:pt x="575" y="416"/>
                    </a:lnTo>
                    <a:lnTo>
                      <a:pt x="581" y="403"/>
                    </a:lnTo>
                    <a:lnTo>
                      <a:pt x="585" y="389"/>
                    </a:lnTo>
                    <a:lnTo>
                      <a:pt x="589" y="374"/>
                    </a:lnTo>
                    <a:lnTo>
                      <a:pt x="592" y="360"/>
                    </a:lnTo>
                    <a:lnTo>
                      <a:pt x="596" y="345"/>
                    </a:lnTo>
                    <a:lnTo>
                      <a:pt x="598" y="330"/>
                    </a:lnTo>
                    <a:lnTo>
                      <a:pt x="599" y="315"/>
                    </a:lnTo>
                    <a:lnTo>
                      <a:pt x="599" y="299"/>
                    </a:lnTo>
                    <a:lnTo>
                      <a:pt x="599" y="284"/>
                    </a:lnTo>
                    <a:lnTo>
                      <a:pt x="598" y="269"/>
                    </a:lnTo>
                    <a:lnTo>
                      <a:pt x="596" y="254"/>
                    </a:lnTo>
                    <a:lnTo>
                      <a:pt x="592" y="239"/>
                    </a:lnTo>
                    <a:lnTo>
                      <a:pt x="589" y="225"/>
                    </a:lnTo>
                    <a:lnTo>
                      <a:pt x="585" y="210"/>
                    </a:lnTo>
                    <a:lnTo>
                      <a:pt x="581" y="196"/>
                    </a:lnTo>
                    <a:lnTo>
                      <a:pt x="575" y="183"/>
                    </a:lnTo>
                    <a:lnTo>
                      <a:pt x="569" y="169"/>
                    </a:lnTo>
                    <a:lnTo>
                      <a:pt x="562" y="157"/>
                    </a:lnTo>
                    <a:lnTo>
                      <a:pt x="555" y="145"/>
                    </a:lnTo>
                    <a:lnTo>
                      <a:pt x="547" y="132"/>
                    </a:lnTo>
                    <a:lnTo>
                      <a:pt x="539" y="120"/>
                    </a:lnTo>
                    <a:lnTo>
                      <a:pt x="530" y="110"/>
                    </a:lnTo>
                    <a:lnTo>
                      <a:pt x="521" y="99"/>
                    </a:lnTo>
                    <a:lnTo>
                      <a:pt x="511" y="88"/>
                    </a:lnTo>
                    <a:lnTo>
                      <a:pt x="500" y="79"/>
                    </a:lnTo>
                    <a:lnTo>
                      <a:pt x="490" y="69"/>
                    </a:lnTo>
                    <a:lnTo>
                      <a:pt x="479" y="59"/>
                    </a:lnTo>
                    <a:lnTo>
                      <a:pt x="467" y="52"/>
                    </a:lnTo>
                    <a:lnTo>
                      <a:pt x="454" y="43"/>
                    </a:lnTo>
                    <a:lnTo>
                      <a:pt x="442" y="37"/>
                    </a:lnTo>
                    <a:lnTo>
                      <a:pt x="429" y="29"/>
                    </a:lnTo>
                    <a:lnTo>
                      <a:pt x="416" y="24"/>
                    </a:lnTo>
                    <a:lnTo>
                      <a:pt x="402" y="19"/>
                    </a:lnTo>
                    <a:lnTo>
                      <a:pt x="388" y="13"/>
                    </a:lnTo>
                    <a:lnTo>
                      <a:pt x="374" y="10"/>
                    </a:lnTo>
                    <a:lnTo>
                      <a:pt x="360" y="6"/>
                    </a:lnTo>
                    <a:lnTo>
                      <a:pt x="345" y="4"/>
                    </a:lnTo>
                    <a:lnTo>
                      <a:pt x="330" y="1"/>
                    </a:lnTo>
                    <a:lnTo>
                      <a:pt x="315" y="0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6" name="Freeform 55">
                <a:extLst>
                  <a:ext uri="{FF2B5EF4-FFF2-40B4-BE49-F238E27FC236}">
                    <a16:creationId xmlns:a16="http://schemas.microsoft.com/office/drawing/2014/main" id="{F7DF6714-0EB7-4C8A-A613-2C9F4837E2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613" y="903288"/>
                <a:ext cx="28575" cy="9525"/>
              </a:xfrm>
              <a:custGeom>
                <a:avLst/>
                <a:gdLst>
                  <a:gd name="T0" fmla="*/ 75 w 90"/>
                  <a:gd name="T1" fmla="*/ 0 h 30"/>
                  <a:gd name="T2" fmla="*/ 15 w 90"/>
                  <a:gd name="T3" fmla="*/ 0 h 30"/>
                  <a:gd name="T4" fmla="*/ 12 w 90"/>
                  <a:gd name="T5" fmla="*/ 1 h 30"/>
                  <a:gd name="T6" fmla="*/ 8 w 90"/>
                  <a:gd name="T7" fmla="*/ 2 h 30"/>
                  <a:gd name="T8" fmla="*/ 6 w 90"/>
                  <a:gd name="T9" fmla="*/ 3 h 30"/>
                  <a:gd name="T10" fmla="*/ 4 w 90"/>
                  <a:gd name="T11" fmla="*/ 5 h 30"/>
                  <a:gd name="T12" fmla="*/ 2 w 90"/>
                  <a:gd name="T13" fmla="*/ 8 h 30"/>
                  <a:gd name="T14" fmla="*/ 1 w 90"/>
                  <a:gd name="T15" fmla="*/ 10 h 30"/>
                  <a:gd name="T16" fmla="*/ 0 w 90"/>
                  <a:gd name="T17" fmla="*/ 13 h 30"/>
                  <a:gd name="T18" fmla="*/ 0 w 90"/>
                  <a:gd name="T19" fmla="*/ 15 h 30"/>
                  <a:gd name="T20" fmla="*/ 0 w 90"/>
                  <a:gd name="T21" fmla="*/ 18 h 30"/>
                  <a:gd name="T22" fmla="*/ 1 w 90"/>
                  <a:gd name="T23" fmla="*/ 21 h 30"/>
                  <a:gd name="T24" fmla="*/ 2 w 90"/>
                  <a:gd name="T25" fmla="*/ 24 h 30"/>
                  <a:gd name="T26" fmla="*/ 4 w 90"/>
                  <a:gd name="T27" fmla="*/ 26 h 30"/>
                  <a:gd name="T28" fmla="*/ 6 w 90"/>
                  <a:gd name="T29" fmla="*/ 28 h 30"/>
                  <a:gd name="T30" fmla="*/ 8 w 90"/>
                  <a:gd name="T31" fmla="*/ 29 h 30"/>
                  <a:gd name="T32" fmla="*/ 12 w 90"/>
                  <a:gd name="T33" fmla="*/ 30 h 30"/>
                  <a:gd name="T34" fmla="*/ 15 w 90"/>
                  <a:gd name="T35" fmla="*/ 30 h 30"/>
                  <a:gd name="T36" fmla="*/ 75 w 90"/>
                  <a:gd name="T37" fmla="*/ 30 h 30"/>
                  <a:gd name="T38" fmla="*/ 78 w 90"/>
                  <a:gd name="T39" fmla="*/ 30 h 30"/>
                  <a:gd name="T40" fmla="*/ 80 w 90"/>
                  <a:gd name="T41" fmla="*/ 29 h 30"/>
                  <a:gd name="T42" fmla="*/ 83 w 90"/>
                  <a:gd name="T43" fmla="*/ 28 h 30"/>
                  <a:gd name="T44" fmla="*/ 85 w 90"/>
                  <a:gd name="T45" fmla="*/ 26 h 30"/>
                  <a:gd name="T46" fmla="*/ 86 w 90"/>
                  <a:gd name="T47" fmla="*/ 24 h 30"/>
                  <a:gd name="T48" fmla="*/ 89 w 90"/>
                  <a:gd name="T49" fmla="*/ 21 h 30"/>
                  <a:gd name="T50" fmla="*/ 90 w 90"/>
                  <a:gd name="T51" fmla="*/ 18 h 30"/>
                  <a:gd name="T52" fmla="*/ 90 w 90"/>
                  <a:gd name="T53" fmla="*/ 15 h 30"/>
                  <a:gd name="T54" fmla="*/ 90 w 90"/>
                  <a:gd name="T55" fmla="*/ 13 h 30"/>
                  <a:gd name="T56" fmla="*/ 89 w 90"/>
                  <a:gd name="T57" fmla="*/ 10 h 30"/>
                  <a:gd name="T58" fmla="*/ 86 w 90"/>
                  <a:gd name="T59" fmla="*/ 8 h 30"/>
                  <a:gd name="T60" fmla="*/ 85 w 90"/>
                  <a:gd name="T61" fmla="*/ 5 h 30"/>
                  <a:gd name="T62" fmla="*/ 83 w 90"/>
                  <a:gd name="T63" fmla="*/ 3 h 30"/>
                  <a:gd name="T64" fmla="*/ 80 w 90"/>
                  <a:gd name="T65" fmla="*/ 2 h 30"/>
                  <a:gd name="T66" fmla="*/ 78 w 90"/>
                  <a:gd name="T67" fmla="*/ 1 h 30"/>
                  <a:gd name="T68" fmla="*/ 75 w 90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0" h="30">
                    <a:moveTo>
                      <a:pt x="7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75" y="30"/>
                    </a:lnTo>
                    <a:lnTo>
                      <a:pt x="78" y="30"/>
                    </a:lnTo>
                    <a:lnTo>
                      <a:pt x="80" y="29"/>
                    </a:lnTo>
                    <a:lnTo>
                      <a:pt x="83" y="28"/>
                    </a:lnTo>
                    <a:lnTo>
                      <a:pt x="85" y="26"/>
                    </a:lnTo>
                    <a:lnTo>
                      <a:pt x="86" y="24"/>
                    </a:lnTo>
                    <a:lnTo>
                      <a:pt x="89" y="21"/>
                    </a:lnTo>
                    <a:lnTo>
                      <a:pt x="90" y="18"/>
                    </a:lnTo>
                    <a:lnTo>
                      <a:pt x="90" y="15"/>
                    </a:lnTo>
                    <a:lnTo>
                      <a:pt x="90" y="13"/>
                    </a:lnTo>
                    <a:lnTo>
                      <a:pt x="89" y="10"/>
                    </a:lnTo>
                    <a:lnTo>
                      <a:pt x="86" y="8"/>
                    </a:lnTo>
                    <a:lnTo>
                      <a:pt x="85" y="5"/>
                    </a:lnTo>
                    <a:lnTo>
                      <a:pt x="83" y="3"/>
                    </a:lnTo>
                    <a:lnTo>
                      <a:pt x="80" y="2"/>
                    </a:lnTo>
                    <a:lnTo>
                      <a:pt x="78" y="1"/>
                    </a:lnTo>
                    <a:lnTo>
                      <a:pt x="7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7" name="Freeform 56">
                <a:extLst>
                  <a:ext uri="{FF2B5EF4-FFF2-40B4-BE49-F238E27FC236}">
                    <a16:creationId xmlns:a16="http://schemas.microsoft.com/office/drawing/2014/main" id="{081AAD3F-34BD-4888-959E-8C20897735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313" y="769938"/>
                <a:ext cx="9525" cy="28575"/>
              </a:xfrm>
              <a:custGeom>
                <a:avLst/>
                <a:gdLst>
                  <a:gd name="T0" fmla="*/ 15 w 30"/>
                  <a:gd name="T1" fmla="*/ 89 h 89"/>
                  <a:gd name="T2" fmla="*/ 18 w 30"/>
                  <a:gd name="T3" fmla="*/ 89 h 89"/>
                  <a:gd name="T4" fmla="*/ 21 w 30"/>
                  <a:gd name="T5" fmla="*/ 88 h 89"/>
                  <a:gd name="T6" fmla="*/ 24 w 30"/>
                  <a:gd name="T7" fmla="*/ 87 h 89"/>
                  <a:gd name="T8" fmla="*/ 26 w 30"/>
                  <a:gd name="T9" fmla="*/ 85 h 89"/>
                  <a:gd name="T10" fmla="*/ 28 w 30"/>
                  <a:gd name="T11" fmla="*/ 83 h 89"/>
                  <a:gd name="T12" fmla="*/ 29 w 30"/>
                  <a:gd name="T13" fmla="*/ 81 h 89"/>
                  <a:gd name="T14" fmla="*/ 30 w 30"/>
                  <a:gd name="T15" fmla="*/ 78 h 89"/>
                  <a:gd name="T16" fmla="*/ 30 w 30"/>
                  <a:gd name="T17" fmla="*/ 74 h 89"/>
                  <a:gd name="T18" fmla="*/ 30 w 30"/>
                  <a:gd name="T19" fmla="*/ 14 h 89"/>
                  <a:gd name="T20" fmla="*/ 30 w 30"/>
                  <a:gd name="T21" fmla="*/ 11 h 89"/>
                  <a:gd name="T22" fmla="*/ 29 w 30"/>
                  <a:gd name="T23" fmla="*/ 9 h 89"/>
                  <a:gd name="T24" fmla="*/ 28 w 30"/>
                  <a:gd name="T25" fmla="*/ 6 h 89"/>
                  <a:gd name="T26" fmla="*/ 26 w 30"/>
                  <a:gd name="T27" fmla="*/ 4 h 89"/>
                  <a:gd name="T28" fmla="*/ 24 w 30"/>
                  <a:gd name="T29" fmla="*/ 2 h 89"/>
                  <a:gd name="T30" fmla="*/ 21 w 30"/>
                  <a:gd name="T31" fmla="*/ 1 h 89"/>
                  <a:gd name="T32" fmla="*/ 18 w 30"/>
                  <a:gd name="T33" fmla="*/ 0 h 89"/>
                  <a:gd name="T34" fmla="*/ 15 w 30"/>
                  <a:gd name="T35" fmla="*/ 0 h 89"/>
                  <a:gd name="T36" fmla="*/ 13 w 30"/>
                  <a:gd name="T37" fmla="*/ 0 h 89"/>
                  <a:gd name="T38" fmla="*/ 10 w 30"/>
                  <a:gd name="T39" fmla="*/ 1 h 89"/>
                  <a:gd name="T40" fmla="*/ 7 w 30"/>
                  <a:gd name="T41" fmla="*/ 2 h 89"/>
                  <a:gd name="T42" fmla="*/ 4 w 30"/>
                  <a:gd name="T43" fmla="*/ 4 h 89"/>
                  <a:gd name="T44" fmla="*/ 3 w 30"/>
                  <a:gd name="T45" fmla="*/ 6 h 89"/>
                  <a:gd name="T46" fmla="*/ 1 w 30"/>
                  <a:gd name="T47" fmla="*/ 9 h 89"/>
                  <a:gd name="T48" fmla="*/ 1 w 30"/>
                  <a:gd name="T49" fmla="*/ 11 h 89"/>
                  <a:gd name="T50" fmla="*/ 0 w 30"/>
                  <a:gd name="T51" fmla="*/ 14 h 89"/>
                  <a:gd name="T52" fmla="*/ 0 w 30"/>
                  <a:gd name="T53" fmla="*/ 74 h 89"/>
                  <a:gd name="T54" fmla="*/ 1 w 30"/>
                  <a:gd name="T55" fmla="*/ 78 h 89"/>
                  <a:gd name="T56" fmla="*/ 1 w 30"/>
                  <a:gd name="T57" fmla="*/ 81 h 89"/>
                  <a:gd name="T58" fmla="*/ 3 w 30"/>
                  <a:gd name="T59" fmla="*/ 83 h 89"/>
                  <a:gd name="T60" fmla="*/ 4 w 30"/>
                  <a:gd name="T61" fmla="*/ 85 h 89"/>
                  <a:gd name="T62" fmla="*/ 7 w 30"/>
                  <a:gd name="T63" fmla="*/ 87 h 89"/>
                  <a:gd name="T64" fmla="*/ 10 w 30"/>
                  <a:gd name="T65" fmla="*/ 88 h 89"/>
                  <a:gd name="T66" fmla="*/ 13 w 30"/>
                  <a:gd name="T67" fmla="*/ 89 h 89"/>
                  <a:gd name="T68" fmla="*/ 15 w 30"/>
                  <a:gd name="T69" fmla="*/ 8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89">
                    <a:moveTo>
                      <a:pt x="15" y="89"/>
                    </a:moveTo>
                    <a:lnTo>
                      <a:pt x="18" y="89"/>
                    </a:lnTo>
                    <a:lnTo>
                      <a:pt x="21" y="88"/>
                    </a:lnTo>
                    <a:lnTo>
                      <a:pt x="24" y="87"/>
                    </a:lnTo>
                    <a:lnTo>
                      <a:pt x="26" y="85"/>
                    </a:lnTo>
                    <a:lnTo>
                      <a:pt x="28" y="83"/>
                    </a:lnTo>
                    <a:lnTo>
                      <a:pt x="29" y="81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0" y="14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1" y="11"/>
                    </a:lnTo>
                    <a:lnTo>
                      <a:pt x="0" y="14"/>
                    </a:lnTo>
                    <a:lnTo>
                      <a:pt x="0" y="74"/>
                    </a:lnTo>
                    <a:lnTo>
                      <a:pt x="1" y="78"/>
                    </a:lnTo>
                    <a:lnTo>
                      <a:pt x="1" y="81"/>
                    </a:lnTo>
                    <a:lnTo>
                      <a:pt x="3" y="83"/>
                    </a:lnTo>
                    <a:lnTo>
                      <a:pt x="4" y="85"/>
                    </a:lnTo>
                    <a:lnTo>
                      <a:pt x="7" y="87"/>
                    </a:lnTo>
                    <a:lnTo>
                      <a:pt x="10" y="88"/>
                    </a:lnTo>
                    <a:lnTo>
                      <a:pt x="13" y="89"/>
                    </a:lnTo>
                    <a:lnTo>
                      <a:pt x="15" y="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8" name="Freeform 57">
                <a:extLst>
                  <a:ext uri="{FF2B5EF4-FFF2-40B4-BE49-F238E27FC236}">
                    <a16:creationId xmlns:a16="http://schemas.microsoft.com/office/drawing/2014/main" id="{37607E35-CCBE-437E-B6C2-F51D0E08E0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963" y="903288"/>
                <a:ext cx="28575" cy="9525"/>
              </a:xfrm>
              <a:custGeom>
                <a:avLst/>
                <a:gdLst>
                  <a:gd name="T0" fmla="*/ 75 w 90"/>
                  <a:gd name="T1" fmla="*/ 0 h 30"/>
                  <a:gd name="T2" fmla="*/ 15 w 90"/>
                  <a:gd name="T3" fmla="*/ 0 h 30"/>
                  <a:gd name="T4" fmla="*/ 12 w 90"/>
                  <a:gd name="T5" fmla="*/ 1 h 30"/>
                  <a:gd name="T6" fmla="*/ 9 w 90"/>
                  <a:gd name="T7" fmla="*/ 2 h 30"/>
                  <a:gd name="T8" fmla="*/ 7 w 90"/>
                  <a:gd name="T9" fmla="*/ 3 h 30"/>
                  <a:gd name="T10" fmla="*/ 5 w 90"/>
                  <a:gd name="T11" fmla="*/ 5 h 30"/>
                  <a:gd name="T12" fmla="*/ 3 w 90"/>
                  <a:gd name="T13" fmla="*/ 8 h 30"/>
                  <a:gd name="T14" fmla="*/ 1 w 90"/>
                  <a:gd name="T15" fmla="*/ 10 h 30"/>
                  <a:gd name="T16" fmla="*/ 0 w 90"/>
                  <a:gd name="T17" fmla="*/ 13 h 30"/>
                  <a:gd name="T18" fmla="*/ 0 w 90"/>
                  <a:gd name="T19" fmla="*/ 15 h 30"/>
                  <a:gd name="T20" fmla="*/ 0 w 90"/>
                  <a:gd name="T21" fmla="*/ 18 h 30"/>
                  <a:gd name="T22" fmla="*/ 1 w 90"/>
                  <a:gd name="T23" fmla="*/ 21 h 30"/>
                  <a:gd name="T24" fmla="*/ 3 w 90"/>
                  <a:gd name="T25" fmla="*/ 24 h 30"/>
                  <a:gd name="T26" fmla="*/ 5 w 90"/>
                  <a:gd name="T27" fmla="*/ 26 h 30"/>
                  <a:gd name="T28" fmla="*/ 7 w 90"/>
                  <a:gd name="T29" fmla="*/ 28 h 30"/>
                  <a:gd name="T30" fmla="*/ 9 w 90"/>
                  <a:gd name="T31" fmla="*/ 29 h 30"/>
                  <a:gd name="T32" fmla="*/ 12 w 90"/>
                  <a:gd name="T33" fmla="*/ 30 h 30"/>
                  <a:gd name="T34" fmla="*/ 15 w 90"/>
                  <a:gd name="T35" fmla="*/ 30 h 30"/>
                  <a:gd name="T36" fmla="*/ 75 w 90"/>
                  <a:gd name="T37" fmla="*/ 30 h 30"/>
                  <a:gd name="T38" fmla="*/ 79 w 90"/>
                  <a:gd name="T39" fmla="*/ 30 h 30"/>
                  <a:gd name="T40" fmla="*/ 81 w 90"/>
                  <a:gd name="T41" fmla="*/ 29 h 30"/>
                  <a:gd name="T42" fmla="*/ 84 w 90"/>
                  <a:gd name="T43" fmla="*/ 28 h 30"/>
                  <a:gd name="T44" fmla="*/ 86 w 90"/>
                  <a:gd name="T45" fmla="*/ 26 h 30"/>
                  <a:gd name="T46" fmla="*/ 87 w 90"/>
                  <a:gd name="T47" fmla="*/ 24 h 30"/>
                  <a:gd name="T48" fmla="*/ 89 w 90"/>
                  <a:gd name="T49" fmla="*/ 21 h 30"/>
                  <a:gd name="T50" fmla="*/ 90 w 90"/>
                  <a:gd name="T51" fmla="*/ 18 h 30"/>
                  <a:gd name="T52" fmla="*/ 90 w 90"/>
                  <a:gd name="T53" fmla="*/ 15 h 30"/>
                  <a:gd name="T54" fmla="*/ 90 w 90"/>
                  <a:gd name="T55" fmla="*/ 13 h 30"/>
                  <a:gd name="T56" fmla="*/ 89 w 90"/>
                  <a:gd name="T57" fmla="*/ 10 h 30"/>
                  <a:gd name="T58" fmla="*/ 87 w 90"/>
                  <a:gd name="T59" fmla="*/ 8 h 30"/>
                  <a:gd name="T60" fmla="*/ 86 w 90"/>
                  <a:gd name="T61" fmla="*/ 5 h 30"/>
                  <a:gd name="T62" fmla="*/ 84 w 90"/>
                  <a:gd name="T63" fmla="*/ 3 h 30"/>
                  <a:gd name="T64" fmla="*/ 81 w 90"/>
                  <a:gd name="T65" fmla="*/ 2 h 30"/>
                  <a:gd name="T66" fmla="*/ 79 w 90"/>
                  <a:gd name="T67" fmla="*/ 1 h 30"/>
                  <a:gd name="T68" fmla="*/ 75 w 90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0" h="30">
                    <a:moveTo>
                      <a:pt x="7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9" y="2"/>
                    </a:lnTo>
                    <a:lnTo>
                      <a:pt x="7" y="3"/>
                    </a:lnTo>
                    <a:lnTo>
                      <a:pt x="5" y="5"/>
                    </a:lnTo>
                    <a:lnTo>
                      <a:pt x="3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4"/>
                    </a:lnTo>
                    <a:lnTo>
                      <a:pt x="5" y="26"/>
                    </a:lnTo>
                    <a:lnTo>
                      <a:pt x="7" y="28"/>
                    </a:lnTo>
                    <a:lnTo>
                      <a:pt x="9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75" y="30"/>
                    </a:lnTo>
                    <a:lnTo>
                      <a:pt x="79" y="30"/>
                    </a:lnTo>
                    <a:lnTo>
                      <a:pt x="81" y="29"/>
                    </a:lnTo>
                    <a:lnTo>
                      <a:pt x="84" y="28"/>
                    </a:lnTo>
                    <a:lnTo>
                      <a:pt x="86" y="26"/>
                    </a:lnTo>
                    <a:lnTo>
                      <a:pt x="87" y="24"/>
                    </a:lnTo>
                    <a:lnTo>
                      <a:pt x="89" y="21"/>
                    </a:lnTo>
                    <a:lnTo>
                      <a:pt x="90" y="18"/>
                    </a:lnTo>
                    <a:lnTo>
                      <a:pt x="90" y="15"/>
                    </a:lnTo>
                    <a:lnTo>
                      <a:pt x="90" y="13"/>
                    </a:lnTo>
                    <a:lnTo>
                      <a:pt x="89" y="10"/>
                    </a:lnTo>
                    <a:lnTo>
                      <a:pt x="87" y="8"/>
                    </a:lnTo>
                    <a:lnTo>
                      <a:pt x="86" y="5"/>
                    </a:lnTo>
                    <a:lnTo>
                      <a:pt x="84" y="3"/>
                    </a:lnTo>
                    <a:lnTo>
                      <a:pt x="81" y="2"/>
                    </a:lnTo>
                    <a:lnTo>
                      <a:pt x="79" y="1"/>
                    </a:lnTo>
                    <a:lnTo>
                      <a:pt x="7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9" name="Freeform 58">
                <a:extLst>
                  <a:ext uri="{FF2B5EF4-FFF2-40B4-BE49-F238E27FC236}">
                    <a16:creationId xmlns:a16="http://schemas.microsoft.com/office/drawing/2014/main" id="{F18C2FEF-C9EE-41E7-A822-5928A8FC02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313" y="1017588"/>
                <a:ext cx="9525" cy="28575"/>
              </a:xfrm>
              <a:custGeom>
                <a:avLst/>
                <a:gdLst>
                  <a:gd name="T0" fmla="*/ 15 w 30"/>
                  <a:gd name="T1" fmla="*/ 0 h 90"/>
                  <a:gd name="T2" fmla="*/ 13 w 30"/>
                  <a:gd name="T3" fmla="*/ 0 h 90"/>
                  <a:gd name="T4" fmla="*/ 10 w 30"/>
                  <a:gd name="T5" fmla="*/ 1 h 90"/>
                  <a:gd name="T6" fmla="*/ 7 w 30"/>
                  <a:gd name="T7" fmla="*/ 2 h 90"/>
                  <a:gd name="T8" fmla="*/ 4 w 30"/>
                  <a:gd name="T9" fmla="*/ 4 h 90"/>
                  <a:gd name="T10" fmla="*/ 3 w 30"/>
                  <a:gd name="T11" fmla="*/ 6 h 90"/>
                  <a:gd name="T12" fmla="*/ 1 w 30"/>
                  <a:gd name="T13" fmla="*/ 9 h 90"/>
                  <a:gd name="T14" fmla="*/ 1 w 30"/>
                  <a:gd name="T15" fmla="*/ 11 h 90"/>
                  <a:gd name="T16" fmla="*/ 0 w 30"/>
                  <a:gd name="T17" fmla="*/ 15 h 90"/>
                  <a:gd name="T18" fmla="*/ 0 w 30"/>
                  <a:gd name="T19" fmla="*/ 75 h 90"/>
                  <a:gd name="T20" fmla="*/ 1 w 30"/>
                  <a:gd name="T21" fmla="*/ 78 h 90"/>
                  <a:gd name="T22" fmla="*/ 1 w 30"/>
                  <a:gd name="T23" fmla="*/ 81 h 90"/>
                  <a:gd name="T24" fmla="*/ 3 w 30"/>
                  <a:gd name="T25" fmla="*/ 83 h 90"/>
                  <a:gd name="T26" fmla="*/ 4 w 30"/>
                  <a:gd name="T27" fmla="*/ 85 h 90"/>
                  <a:gd name="T28" fmla="*/ 7 w 30"/>
                  <a:gd name="T29" fmla="*/ 87 h 90"/>
                  <a:gd name="T30" fmla="*/ 10 w 30"/>
                  <a:gd name="T31" fmla="*/ 89 h 90"/>
                  <a:gd name="T32" fmla="*/ 13 w 30"/>
                  <a:gd name="T33" fmla="*/ 90 h 90"/>
                  <a:gd name="T34" fmla="*/ 15 w 30"/>
                  <a:gd name="T35" fmla="*/ 90 h 90"/>
                  <a:gd name="T36" fmla="*/ 18 w 30"/>
                  <a:gd name="T37" fmla="*/ 90 h 90"/>
                  <a:gd name="T38" fmla="*/ 21 w 30"/>
                  <a:gd name="T39" fmla="*/ 89 h 90"/>
                  <a:gd name="T40" fmla="*/ 24 w 30"/>
                  <a:gd name="T41" fmla="*/ 87 h 90"/>
                  <a:gd name="T42" fmla="*/ 26 w 30"/>
                  <a:gd name="T43" fmla="*/ 85 h 90"/>
                  <a:gd name="T44" fmla="*/ 28 w 30"/>
                  <a:gd name="T45" fmla="*/ 83 h 90"/>
                  <a:gd name="T46" fmla="*/ 29 w 30"/>
                  <a:gd name="T47" fmla="*/ 81 h 90"/>
                  <a:gd name="T48" fmla="*/ 30 w 30"/>
                  <a:gd name="T49" fmla="*/ 78 h 90"/>
                  <a:gd name="T50" fmla="*/ 30 w 30"/>
                  <a:gd name="T51" fmla="*/ 75 h 90"/>
                  <a:gd name="T52" fmla="*/ 30 w 30"/>
                  <a:gd name="T53" fmla="*/ 15 h 90"/>
                  <a:gd name="T54" fmla="*/ 30 w 30"/>
                  <a:gd name="T55" fmla="*/ 11 h 90"/>
                  <a:gd name="T56" fmla="*/ 29 w 30"/>
                  <a:gd name="T57" fmla="*/ 9 h 90"/>
                  <a:gd name="T58" fmla="*/ 28 w 30"/>
                  <a:gd name="T59" fmla="*/ 6 h 90"/>
                  <a:gd name="T60" fmla="*/ 26 w 30"/>
                  <a:gd name="T61" fmla="*/ 4 h 90"/>
                  <a:gd name="T62" fmla="*/ 24 w 30"/>
                  <a:gd name="T63" fmla="*/ 2 h 90"/>
                  <a:gd name="T64" fmla="*/ 21 w 30"/>
                  <a:gd name="T65" fmla="*/ 1 h 90"/>
                  <a:gd name="T66" fmla="*/ 18 w 30"/>
                  <a:gd name="T67" fmla="*/ 0 h 90"/>
                  <a:gd name="T68" fmla="*/ 15 w 30"/>
                  <a:gd name="T69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90">
                    <a:moveTo>
                      <a:pt x="15" y="0"/>
                    </a:moveTo>
                    <a:lnTo>
                      <a:pt x="13" y="0"/>
                    </a:lnTo>
                    <a:lnTo>
                      <a:pt x="10" y="1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75"/>
                    </a:lnTo>
                    <a:lnTo>
                      <a:pt x="1" y="78"/>
                    </a:lnTo>
                    <a:lnTo>
                      <a:pt x="1" y="81"/>
                    </a:lnTo>
                    <a:lnTo>
                      <a:pt x="3" y="83"/>
                    </a:lnTo>
                    <a:lnTo>
                      <a:pt x="4" y="85"/>
                    </a:lnTo>
                    <a:lnTo>
                      <a:pt x="7" y="87"/>
                    </a:lnTo>
                    <a:lnTo>
                      <a:pt x="10" y="89"/>
                    </a:lnTo>
                    <a:lnTo>
                      <a:pt x="13" y="90"/>
                    </a:lnTo>
                    <a:lnTo>
                      <a:pt x="15" y="90"/>
                    </a:lnTo>
                    <a:lnTo>
                      <a:pt x="18" y="90"/>
                    </a:lnTo>
                    <a:lnTo>
                      <a:pt x="21" y="89"/>
                    </a:lnTo>
                    <a:lnTo>
                      <a:pt x="24" y="87"/>
                    </a:lnTo>
                    <a:lnTo>
                      <a:pt x="26" y="85"/>
                    </a:lnTo>
                    <a:lnTo>
                      <a:pt x="28" y="83"/>
                    </a:lnTo>
                    <a:lnTo>
                      <a:pt x="29" y="81"/>
                    </a:lnTo>
                    <a:lnTo>
                      <a:pt x="30" y="78"/>
                    </a:lnTo>
                    <a:lnTo>
                      <a:pt x="30" y="75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0" name="Freeform 59">
                <a:extLst>
                  <a:ext uri="{FF2B5EF4-FFF2-40B4-BE49-F238E27FC236}">
                    <a16:creationId xmlns:a16="http://schemas.microsoft.com/office/drawing/2014/main" id="{8A091DFC-669A-4E59-851F-0C89D5B6E1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75" y="809625"/>
                <a:ext cx="22225" cy="22225"/>
              </a:xfrm>
              <a:custGeom>
                <a:avLst/>
                <a:gdLst>
                  <a:gd name="T0" fmla="*/ 46 w 72"/>
                  <a:gd name="T1" fmla="*/ 4 h 72"/>
                  <a:gd name="T2" fmla="*/ 4 w 72"/>
                  <a:gd name="T3" fmla="*/ 47 h 72"/>
                  <a:gd name="T4" fmla="*/ 2 w 72"/>
                  <a:gd name="T5" fmla="*/ 49 h 72"/>
                  <a:gd name="T6" fmla="*/ 1 w 72"/>
                  <a:gd name="T7" fmla="*/ 52 h 72"/>
                  <a:gd name="T8" fmla="*/ 0 w 72"/>
                  <a:gd name="T9" fmla="*/ 54 h 72"/>
                  <a:gd name="T10" fmla="*/ 0 w 72"/>
                  <a:gd name="T11" fmla="*/ 57 h 72"/>
                  <a:gd name="T12" fmla="*/ 0 w 72"/>
                  <a:gd name="T13" fmla="*/ 61 h 72"/>
                  <a:gd name="T14" fmla="*/ 1 w 72"/>
                  <a:gd name="T15" fmla="*/ 63 h 72"/>
                  <a:gd name="T16" fmla="*/ 2 w 72"/>
                  <a:gd name="T17" fmla="*/ 66 h 72"/>
                  <a:gd name="T18" fmla="*/ 4 w 72"/>
                  <a:gd name="T19" fmla="*/ 68 h 72"/>
                  <a:gd name="T20" fmla="*/ 6 w 72"/>
                  <a:gd name="T21" fmla="*/ 70 h 72"/>
                  <a:gd name="T22" fmla="*/ 8 w 72"/>
                  <a:gd name="T23" fmla="*/ 71 h 72"/>
                  <a:gd name="T24" fmla="*/ 12 w 72"/>
                  <a:gd name="T25" fmla="*/ 72 h 72"/>
                  <a:gd name="T26" fmla="*/ 15 w 72"/>
                  <a:gd name="T27" fmla="*/ 72 h 72"/>
                  <a:gd name="T28" fmla="*/ 17 w 72"/>
                  <a:gd name="T29" fmla="*/ 72 h 72"/>
                  <a:gd name="T30" fmla="*/ 20 w 72"/>
                  <a:gd name="T31" fmla="*/ 71 h 72"/>
                  <a:gd name="T32" fmla="*/ 22 w 72"/>
                  <a:gd name="T33" fmla="*/ 70 h 72"/>
                  <a:gd name="T34" fmla="*/ 25 w 72"/>
                  <a:gd name="T35" fmla="*/ 68 h 72"/>
                  <a:gd name="T36" fmla="*/ 67 w 72"/>
                  <a:gd name="T37" fmla="*/ 24 h 72"/>
                  <a:gd name="T38" fmla="*/ 69 w 72"/>
                  <a:gd name="T39" fmla="*/ 22 h 72"/>
                  <a:gd name="T40" fmla="*/ 70 w 72"/>
                  <a:gd name="T41" fmla="*/ 20 h 72"/>
                  <a:gd name="T42" fmla="*/ 72 w 72"/>
                  <a:gd name="T43" fmla="*/ 18 h 72"/>
                  <a:gd name="T44" fmla="*/ 72 w 72"/>
                  <a:gd name="T45" fmla="*/ 15 h 72"/>
                  <a:gd name="T46" fmla="*/ 72 w 72"/>
                  <a:gd name="T47" fmla="*/ 11 h 72"/>
                  <a:gd name="T48" fmla="*/ 70 w 72"/>
                  <a:gd name="T49" fmla="*/ 9 h 72"/>
                  <a:gd name="T50" fmla="*/ 69 w 72"/>
                  <a:gd name="T51" fmla="*/ 6 h 72"/>
                  <a:gd name="T52" fmla="*/ 67 w 72"/>
                  <a:gd name="T53" fmla="*/ 4 h 72"/>
                  <a:gd name="T54" fmla="*/ 65 w 72"/>
                  <a:gd name="T55" fmla="*/ 2 h 72"/>
                  <a:gd name="T56" fmla="*/ 62 w 72"/>
                  <a:gd name="T57" fmla="*/ 1 h 72"/>
                  <a:gd name="T58" fmla="*/ 60 w 72"/>
                  <a:gd name="T59" fmla="*/ 0 h 72"/>
                  <a:gd name="T60" fmla="*/ 57 w 72"/>
                  <a:gd name="T61" fmla="*/ 0 h 72"/>
                  <a:gd name="T62" fmla="*/ 53 w 72"/>
                  <a:gd name="T63" fmla="*/ 0 h 72"/>
                  <a:gd name="T64" fmla="*/ 51 w 72"/>
                  <a:gd name="T65" fmla="*/ 1 h 72"/>
                  <a:gd name="T66" fmla="*/ 48 w 72"/>
                  <a:gd name="T67" fmla="*/ 2 h 72"/>
                  <a:gd name="T68" fmla="*/ 46 w 72"/>
                  <a:gd name="T69" fmla="*/ 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2" h="72">
                    <a:moveTo>
                      <a:pt x="46" y="4"/>
                    </a:moveTo>
                    <a:lnTo>
                      <a:pt x="4" y="47"/>
                    </a:lnTo>
                    <a:lnTo>
                      <a:pt x="2" y="49"/>
                    </a:lnTo>
                    <a:lnTo>
                      <a:pt x="1" y="52"/>
                    </a:lnTo>
                    <a:lnTo>
                      <a:pt x="0" y="54"/>
                    </a:lnTo>
                    <a:lnTo>
                      <a:pt x="0" y="57"/>
                    </a:lnTo>
                    <a:lnTo>
                      <a:pt x="0" y="61"/>
                    </a:lnTo>
                    <a:lnTo>
                      <a:pt x="1" y="63"/>
                    </a:lnTo>
                    <a:lnTo>
                      <a:pt x="2" y="66"/>
                    </a:lnTo>
                    <a:lnTo>
                      <a:pt x="4" y="68"/>
                    </a:lnTo>
                    <a:lnTo>
                      <a:pt x="6" y="70"/>
                    </a:lnTo>
                    <a:lnTo>
                      <a:pt x="8" y="71"/>
                    </a:lnTo>
                    <a:lnTo>
                      <a:pt x="12" y="72"/>
                    </a:lnTo>
                    <a:lnTo>
                      <a:pt x="15" y="72"/>
                    </a:lnTo>
                    <a:lnTo>
                      <a:pt x="17" y="72"/>
                    </a:lnTo>
                    <a:lnTo>
                      <a:pt x="20" y="71"/>
                    </a:lnTo>
                    <a:lnTo>
                      <a:pt x="22" y="70"/>
                    </a:lnTo>
                    <a:lnTo>
                      <a:pt x="25" y="68"/>
                    </a:lnTo>
                    <a:lnTo>
                      <a:pt x="67" y="24"/>
                    </a:lnTo>
                    <a:lnTo>
                      <a:pt x="69" y="22"/>
                    </a:lnTo>
                    <a:lnTo>
                      <a:pt x="70" y="20"/>
                    </a:lnTo>
                    <a:lnTo>
                      <a:pt x="72" y="18"/>
                    </a:lnTo>
                    <a:lnTo>
                      <a:pt x="72" y="15"/>
                    </a:lnTo>
                    <a:lnTo>
                      <a:pt x="72" y="11"/>
                    </a:lnTo>
                    <a:lnTo>
                      <a:pt x="70" y="9"/>
                    </a:lnTo>
                    <a:lnTo>
                      <a:pt x="69" y="6"/>
                    </a:lnTo>
                    <a:lnTo>
                      <a:pt x="67" y="4"/>
                    </a:lnTo>
                    <a:lnTo>
                      <a:pt x="65" y="2"/>
                    </a:lnTo>
                    <a:lnTo>
                      <a:pt x="62" y="1"/>
                    </a:lnTo>
                    <a:lnTo>
                      <a:pt x="60" y="0"/>
                    </a:lnTo>
                    <a:lnTo>
                      <a:pt x="57" y="0"/>
                    </a:lnTo>
                    <a:lnTo>
                      <a:pt x="53" y="0"/>
                    </a:lnTo>
                    <a:lnTo>
                      <a:pt x="51" y="1"/>
                    </a:lnTo>
                    <a:lnTo>
                      <a:pt x="48" y="2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1" name="Freeform 60">
                <a:extLst>
                  <a:ext uri="{FF2B5EF4-FFF2-40B4-BE49-F238E27FC236}">
                    <a16:creationId xmlns:a16="http://schemas.microsoft.com/office/drawing/2014/main" id="{B2F555B3-07FC-4F18-80C6-BB799C3957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650" y="809625"/>
                <a:ext cx="22225" cy="22225"/>
              </a:xfrm>
              <a:custGeom>
                <a:avLst/>
                <a:gdLst>
                  <a:gd name="T0" fmla="*/ 46 w 71"/>
                  <a:gd name="T1" fmla="*/ 68 h 72"/>
                  <a:gd name="T2" fmla="*/ 48 w 71"/>
                  <a:gd name="T3" fmla="*/ 70 h 72"/>
                  <a:gd name="T4" fmla="*/ 51 w 71"/>
                  <a:gd name="T5" fmla="*/ 71 h 72"/>
                  <a:gd name="T6" fmla="*/ 53 w 71"/>
                  <a:gd name="T7" fmla="*/ 72 h 72"/>
                  <a:gd name="T8" fmla="*/ 56 w 71"/>
                  <a:gd name="T9" fmla="*/ 72 h 72"/>
                  <a:gd name="T10" fmla="*/ 59 w 71"/>
                  <a:gd name="T11" fmla="*/ 72 h 72"/>
                  <a:gd name="T12" fmla="*/ 62 w 71"/>
                  <a:gd name="T13" fmla="*/ 71 h 72"/>
                  <a:gd name="T14" fmla="*/ 65 w 71"/>
                  <a:gd name="T15" fmla="*/ 70 h 72"/>
                  <a:gd name="T16" fmla="*/ 67 w 71"/>
                  <a:gd name="T17" fmla="*/ 68 h 72"/>
                  <a:gd name="T18" fmla="*/ 69 w 71"/>
                  <a:gd name="T19" fmla="*/ 66 h 72"/>
                  <a:gd name="T20" fmla="*/ 70 w 71"/>
                  <a:gd name="T21" fmla="*/ 63 h 72"/>
                  <a:gd name="T22" fmla="*/ 71 w 71"/>
                  <a:gd name="T23" fmla="*/ 61 h 72"/>
                  <a:gd name="T24" fmla="*/ 71 w 71"/>
                  <a:gd name="T25" fmla="*/ 57 h 72"/>
                  <a:gd name="T26" fmla="*/ 71 w 71"/>
                  <a:gd name="T27" fmla="*/ 54 h 72"/>
                  <a:gd name="T28" fmla="*/ 70 w 71"/>
                  <a:gd name="T29" fmla="*/ 52 h 72"/>
                  <a:gd name="T30" fmla="*/ 69 w 71"/>
                  <a:gd name="T31" fmla="*/ 50 h 72"/>
                  <a:gd name="T32" fmla="*/ 67 w 71"/>
                  <a:gd name="T33" fmla="*/ 47 h 72"/>
                  <a:gd name="T34" fmla="*/ 24 w 71"/>
                  <a:gd name="T35" fmla="*/ 4 h 72"/>
                  <a:gd name="T36" fmla="*/ 22 w 71"/>
                  <a:gd name="T37" fmla="*/ 2 h 72"/>
                  <a:gd name="T38" fmla="*/ 20 w 71"/>
                  <a:gd name="T39" fmla="*/ 1 h 72"/>
                  <a:gd name="T40" fmla="*/ 17 w 71"/>
                  <a:gd name="T41" fmla="*/ 0 h 72"/>
                  <a:gd name="T42" fmla="*/ 14 w 71"/>
                  <a:gd name="T43" fmla="*/ 0 h 72"/>
                  <a:gd name="T44" fmla="*/ 11 w 71"/>
                  <a:gd name="T45" fmla="*/ 0 h 72"/>
                  <a:gd name="T46" fmla="*/ 8 w 71"/>
                  <a:gd name="T47" fmla="*/ 1 h 72"/>
                  <a:gd name="T48" fmla="*/ 6 w 71"/>
                  <a:gd name="T49" fmla="*/ 2 h 72"/>
                  <a:gd name="T50" fmla="*/ 4 w 71"/>
                  <a:gd name="T51" fmla="*/ 4 h 72"/>
                  <a:gd name="T52" fmla="*/ 2 w 71"/>
                  <a:gd name="T53" fmla="*/ 6 h 72"/>
                  <a:gd name="T54" fmla="*/ 1 w 71"/>
                  <a:gd name="T55" fmla="*/ 9 h 72"/>
                  <a:gd name="T56" fmla="*/ 0 w 71"/>
                  <a:gd name="T57" fmla="*/ 11 h 72"/>
                  <a:gd name="T58" fmla="*/ 0 w 71"/>
                  <a:gd name="T59" fmla="*/ 15 h 72"/>
                  <a:gd name="T60" fmla="*/ 0 w 71"/>
                  <a:gd name="T61" fmla="*/ 18 h 72"/>
                  <a:gd name="T62" fmla="*/ 1 w 71"/>
                  <a:gd name="T63" fmla="*/ 20 h 72"/>
                  <a:gd name="T64" fmla="*/ 2 w 71"/>
                  <a:gd name="T65" fmla="*/ 23 h 72"/>
                  <a:gd name="T66" fmla="*/ 4 w 71"/>
                  <a:gd name="T67" fmla="*/ 24 h 72"/>
                  <a:gd name="T68" fmla="*/ 46 w 71"/>
                  <a:gd name="T69" fmla="*/ 68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1" h="72">
                    <a:moveTo>
                      <a:pt x="46" y="68"/>
                    </a:moveTo>
                    <a:lnTo>
                      <a:pt x="48" y="70"/>
                    </a:lnTo>
                    <a:lnTo>
                      <a:pt x="51" y="71"/>
                    </a:lnTo>
                    <a:lnTo>
                      <a:pt x="53" y="72"/>
                    </a:lnTo>
                    <a:lnTo>
                      <a:pt x="56" y="72"/>
                    </a:lnTo>
                    <a:lnTo>
                      <a:pt x="59" y="72"/>
                    </a:lnTo>
                    <a:lnTo>
                      <a:pt x="62" y="71"/>
                    </a:lnTo>
                    <a:lnTo>
                      <a:pt x="65" y="70"/>
                    </a:lnTo>
                    <a:lnTo>
                      <a:pt x="67" y="68"/>
                    </a:lnTo>
                    <a:lnTo>
                      <a:pt x="69" y="66"/>
                    </a:lnTo>
                    <a:lnTo>
                      <a:pt x="70" y="63"/>
                    </a:lnTo>
                    <a:lnTo>
                      <a:pt x="71" y="61"/>
                    </a:lnTo>
                    <a:lnTo>
                      <a:pt x="71" y="57"/>
                    </a:lnTo>
                    <a:lnTo>
                      <a:pt x="71" y="54"/>
                    </a:lnTo>
                    <a:lnTo>
                      <a:pt x="70" y="52"/>
                    </a:lnTo>
                    <a:lnTo>
                      <a:pt x="69" y="50"/>
                    </a:lnTo>
                    <a:lnTo>
                      <a:pt x="67" y="47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4"/>
                    </a:lnTo>
                    <a:lnTo>
                      <a:pt x="46" y="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2" name="Freeform 61">
                <a:extLst>
                  <a:ext uri="{FF2B5EF4-FFF2-40B4-BE49-F238E27FC236}">
                    <a16:creationId xmlns:a16="http://schemas.microsoft.com/office/drawing/2014/main" id="{590D03FD-6E35-4BE2-AAE2-367F69BAB1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650" y="984250"/>
                <a:ext cx="22225" cy="22225"/>
              </a:xfrm>
              <a:custGeom>
                <a:avLst/>
                <a:gdLst>
                  <a:gd name="T0" fmla="*/ 46 w 71"/>
                  <a:gd name="T1" fmla="*/ 4 h 71"/>
                  <a:gd name="T2" fmla="*/ 4 w 71"/>
                  <a:gd name="T3" fmla="*/ 46 h 71"/>
                  <a:gd name="T4" fmla="*/ 2 w 71"/>
                  <a:gd name="T5" fmla="*/ 49 h 71"/>
                  <a:gd name="T6" fmla="*/ 1 w 71"/>
                  <a:gd name="T7" fmla="*/ 51 h 71"/>
                  <a:gd name="T8" fmla="*/ 0 w 71"/>
                  <a:gd name="T9" fmla="*/ 54 h 71"/>
                  <a:gd name="T10" fmla="*/ 0 w 71"/>
                  <a:gd name="T11" fmla="*/ 58 h 71"/>
                  <a:gd name="T12" fmla="*/ 0 w 71"/>
                  <a:gd name="T13" fmla="*/ 60 h 71"/>
                  <a:gd name="T14" fmla="*/ 1 w 71"/>
                  <a:gd name="T15" fmla="*/ 63 h 71"/>
                  <a:gd name="T16" fmla="*/ 2 w 71"/>
                  <a:gd name="T17" fmla="*/ 65 h 71"/>
                  <a:gd name="T18" fmla="*/ 4 w 71"/>
                  <a:gd name="T19" fmla="*/ 67 h 71"/>
                  <a:gd name="T20" fmla="*/ 6 w 71"/>
                  <a:gd name="T21" fmla="*/ 69 h 71"/>
                  <a:gd name="T22" fmla="*/ 8 w 71"/>
                  <a:gd name="T23" fmla="*/ 70 h 71"/>
                  <a:gd name="T24" fmla="*/ 11 w 71"/>
                  <a:gd name="T25" fmla="*/ 71 h 71"/>
                  <a:gd name="T26" fmla="*/ 14 w 71"/>
                  <a:gd name="T27" fmla="*/ 71 h 71"/>
                  <a:gd name="T28" fmla="*/ 17 w 71"/>
                  <a:gd name="T29" fmla="*/ 71 h 71"/>
                  <a:gd name="T30" fmla="*/ 20 w 71"/>
                  <a:gd name="T31" fmla="*/ 70 h 71"/>
                  <a:gd name="T32" fmla="*/ 22 w 71"/>
                  <a:gd name="T33" fmla="*/ 69 h 71"/>
                  <a:gd name="T34" fmla="*/ 24 w 71"/>
                  <a:gd name="T35" fmla="*/ 67 h 71"/>
                  <a:gd name="T36" fmla="*/ 67 w 71"/>
                  <a:gd name="T37" fmla="*/ 25 h 71"/>
                  <a:gd name="T38" fmla="*/ 69 w 71"/>
                  <a:gd name="T39" fmla="*/ 23 h 71"/>
                  <a:gd name="T40" fmla="*/ 70 w 71"/>
                  <a:gd name="T41" fmla="*/ 20 h 71"/>
                  <a:gd name="T42" fmla="*/ 71 w 71"/>
                  <a:gd name="T43" fmla="*/ 18 h 71"/>
                  <a:gd name="T44" fmla="*/ 71 w 71"/>
                  <a:gd name="T45" fmla="*/ 15 h 71"/>
                  <a:gd name="T46" fmla="*/ 71 w 71"/>
                  <a:gd name="T47" fmla="*/ 12 h 71"/>
                  <a:gd name="T48" fmla="*/ 70 w 71"/>
                  <a:gd name="T49" fmla="*/ 9 h 71"/>
                  <a:gd name="T50" fmla="*/ 69 w 71"/>
                  <a:gd name="T51" fmla="*/ 6 h 71"/>
                  <a:gd name="T52" fmla="*/ 67 w 71"/>
                  <a:gd name="T53" fmla="*/ 4 h 71"/>
                  <a:gd name="T54" fmla="*/ 65 w 71"/>
                  <a:gd name="T55" fmla="*/ 2 h 71"/>
                  <a:gd name="T56" fmla="*/ 62 w 71"/>
                  <a:gd name="T57" fmla="*/ 1 h 71"/>
                  <a:gd name="T58" fmla="*/ 59 w 71"/>
                  <a:gd name="T59" fmla="*/ 0 h 71"/>
                  <a:gd name="T60" fmla="*/ 56 w 71"/>
                  <a:gd name="T61" fmla="*/ 0 h 71"/>
                  <a:gd name="T62" fmla="*/ 53 w 71"/>
                  <a:gd name="T63" fmla="*/ 0 h 71"/>
                  <a:gd name="T64" fmla="*/ 51 w 71"/>
                  <a:gd name="T65" fmla="*/ 1 h 71"/>
                  <a:gd name="T66" fmla="*/ 48 w 71"/>
                  <a:gd name="T67" fmla="*/ 2 h 71"/>
                  <a:gd name="T68" fmla="*/ 46 w 71"/>
                  <a:gd name="T69" fmla="*/ 4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1" h="71">
                    <a:moveTo>
                      <a:pt x="46" y="4"/>
                    </a:moveTo>
                    <a:lnTo>
                      <a:pt x="4" y="46"/>
                    </a:lnTo>
                    <a:lnTo>
                      <a:pt x="2" y="49"/>
                    </a:lnTo>
                    <a:lnTo>
                      <a:pt x="1" y="51"/>
                    </a:lnTo>
                    <a:lnTo>
                      <a:pt x="0" y="54"/>
                    </a:lnTo>
                    <a:lnTo>
                      <a:pt x="0" y="58"/>
                    </a:lnTo>
                    <a:lnTo>
                      <a:pt x="0" y="60"/>
                    </a:lnTo>
                    <a:lnTo>
                      <a:pt x="1" y="63"/>
                    </a:lnTo>
                    <a:lnTo>
                      <a:pt x="2" y="65"/>
                    </a:lnTo>
                    <a:lnTo>
                      <a:pt x="4" y="67"/>
                    </a:lnTo>
                    <a:lnTo>
                      <a:pt x="6" y="69"/>
                    </a:lnTo>
                    <a:lnTo>
                      <a:pt x="8" y="70"/>
                    </a:lnTo>
                    <a:lnTo>
                      <a:pt x="11" y="71"/>
                    </a:lnTo>
                    <a:lnTo>
                      <a:pt x="14" y="71"/>
                    </a:lnTo>
                    <a:lnTo>
                      <a:pt x="17" y="71"/>
                    </a:lnTo>
                    <a:lnTo>
                      <a:pt x="20" y="70"/>
                    </a:lnTo>
                    <a:lnTo>
                      <a:pt x="22" y="69"/>
                    </a:lnTo>
                    <a:lnTo>
                      <a:pt x="24" y="67"/>
                    </a:lnTo>
                    <a:lnTo>
                      <a:pt x="67" y="25"/>
                    </a:lnTo>
                    <a:lnTo>
                      <a:pt x="69" y="23"/>
                    </a:lnTo>
                    <a:lnTo>
                      <a:pt x="70" y="20"/>
                    </a:lnTo>
                    <a:lnTo>
                      <a:pt x="71" y="18"/>
                    </a:lnTo>
                    <a:lnTo>
                      <a:pt x="71" y="15"/>
                    </a:lnTo>
                    <a:lnTo>
                      <a:pt x="71" y="12"/>
                    </a:lnTo>
                    <a:lnTo>
                      <a:pt x="70" y="9"/>
                    </a:lnTo>
                    <a:lnTo>
                      <a:pt x="69" y="6"/>
                    </a:lnTo>
                    <a:lnTo>
                      <a:pt x="67" y="4"/>
                    </a:lnTo>
                    <a:lnTo>
                      <a:pt x="65" y="2"/>
                    </a:lnTo>
                    <a:lnTo>
                      <a:pt x="62" y="1"/>
                    </a:lnTo>
                    <a:lnTo>
                      <a:pt x="59" y="0"/>
                    </a:lnTo>
                    <a:lnTo>
                      <a:pt x="56" y="0"/>
                    </a:lnTo>
                    <a:lnTo>
                      <a:pt x="53" y="0"/>
                    </a:lnTo>
                    <a:lnTo>
                      <a:pt x="51" y="1"/>
                    </a:lnTo>
                    <a:lnTo>
                      <a:pt x="48" y="2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3" name="Freeform 62">
                <a:extLst>
                  <a:ext uri="{FF2B5EF4-FFF2-40B4-BE49-F238E27FC236}">
                    <a16:creationId xmlns:a16="http://schemas.microsoft.com/office/drawing/2014/main" id="{A1A11592-84D3-4770-9D22-1AB8AD5DCF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75" y="984250"/>
                <a:ext cx="22225" cy="22225"/>
              </a:xfrm>
              <a:custGeom>
                <a:avLst/>
                <a:gdLst>
                  <a:gd name="T0" fmla="*/ 25 w 72"/>
                  <a:gd name="T1" fmla="*/ 4 h 71"/>
                  <a:gd name="T2" fmla="*/ 22 w 72"/>
                  <a:gd name="T3" fmla="*/ 2 h 71"/>
                  <a:gd name="T4" fmla="*/ 20 w 72"/>
                  <a:gd name="T5" fmla="*/ 1 h 71"/>
                  <a:gd name="T6" fmla="*/ 17 w 72"/>
                  <a:gd name="T7" fmla="*/ 0 h 71"/>
                  <a:gd name="T8" fmla="*/ 15 w 72"/>
                  <a:gd name="T9" fmla="*/ 0 h 71"/>
                  <a:gd name="T10" fmla="*/ 12 w 72"/>
                  <a:gd name="T11" fmla="*/ 0 h 71"/>
                  <a:gd name="T12" fmla="*/ 8 w 72"/>
                  <a:gd name="T13" fmla="*/ 1 h 71"/>
                  <a:gd name="T14" fmla="*/ 6 w 72"/>
                  <a:gd name="T15" fmla="*/ 2 h 71"/>
                  <a:gd name="T16" fmla="*/ 4 w 72"/>
                  <a:gd name="T17" fmla="*/ 4 h 71"/>
                  <a:gd name="T18" fmla="*/ 2 w 72"/>
                  <a:gd name="T19" fmla="*/ 6 h 71"/>
                  <a:gd name="T20" fmla="*/ 1 w 72"/>
                  <a:gd name="T21" fmla="*/ 9 h 71"/>
                  <a:gd name="T22" fmla="*/ 0 w 72"/>
                  <a:gd name="T23" fmla="*/ 12 h 71"/>
                  <a:gd name="T24" fmla="*/ 0 w 72"/>
                  <a:gd name="T25" fmla="*/ 15 h 71"/>
                  <a:gd name="T26" fmla="*/ 0 w 72"/>
                  <a:gd name="T27" fmla="*/ 18 h 71"/>
                  <a:gd name="T28" fmla="*/ 1 w 72"/>
                  <a:gd name="T29" fmla="*/ 20 h 71"/>
                  <a:gd name="T30" fmla="*/ 2 w 72"/>
                  <a:gd name="T31" fmla="*/ 23 h 71"/>
                  <a:gd name="T32" fmla="*/ 4 w 72"/>
                  <a:gd name="T33" fmla="*/ 25 h 71"/>
                  <a:gd name="T34" fmla="*/ 46 w 72"/>
                  <a:gd name="T35" fmla="*/ 67 h 71"/>
                  <a:gd name="T36" fmla="*/ 48 w 72"/>
                  <a:gd name="T37" fmla="*/ 69 h 71"/>
                  <a:gd name="T38" fmla="*/ 51 w 72"/>
                  <a:gd name="T39" fmla="*/ 70 h 71"/>
                  <a:gd name="T40" fmla="*/ 53 w 72"/>
                  <a:gd name="T41" fmla="*/ 71 h 71"/>
                  <a:gd name="T42" fmla="*/ 57 w 72"/>
                  <a:gd name="T43" fmla="*/ 71 h 71"/>
                  <a:gd name="T44" fmla="*/ 60 w 72"/>
                  <a:gd name="T45" fmla="*/ 71 h 71"/>
                  <a:gd name="T46" fmla="*/ 62 w 72"/>
                  <a:gd name="T47" fmla="*/ 70 h 71"/>
                  <a:gd name="T48" fmla="*/ 65 w 72"/>
                  <a:gd name="T49" fmla="*/ 69 h 71"/>
                  <a:gd name="T50" fmla="*/ 67 w 72"/>
                  <a:gd name="T51" fmla="*/ 67 h 71"/>
                  <a:gd name="T52" fmla="*/ 69 w 72"/>
                  <a:gd name="T53" fmla="*/ 65 h 71"/>
                  <a:gd name="T54" fmla="*/ 70 w 72"/>
                  <a:gd name="T55" fmla="*/ 63 h 71"/>
                  <a:gd name="T56" fmla="*/ 72 w 72"/>
                  <a:gd name="T57" fmla="*/ 60 h 71"/>
                  <a:gd name="T58" fmla="*/ 72 w 72"/>
                  <a:gd name="T59" fmla="*/ 58 h 71"/>
                  <a:gd name="T60" fmla="*/ 72 w 72"/>
                  <a:gd name="T61" fmla="*/ 54 h 71"/>
                  <a:gd name="T62" fmla="*/ 70 w 72"/>
                  <a:gd name="T63" fmla="*/ 51 h 71"/>
                  <a:gd name="T64" fmla="*/ 69 w 72"/>
                  <a:gd name="T65" fmla="*/ 49 h 71"/>
                  <a:gd name="T66" fmla="*/ 67 w 72"/>
                  <a:gd name="T67" fmla="*/ 46 h 71"/>
                  <a:gd name="T68" fmla="*/ 25 w 72"/>
                  <a:gd name="T69" fmla="*/ 4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2" h="71">
                    <a:moveTo>
                      <a:pt x="25" y="4"/>
                    </a:moveTo>
                    <a:lnTo>
                      <a:pt x="22" y="2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46" y="67"/>
                    </a:lnTo>
                    <a:lnTo>
                      <a:pt x="48" y="69"/>
                    </a:lnTo>
                    <a:lnTo>
                      <a:pt x="51" y="70"/>
                    </a:lnTo>
                    <a:lnTo>
                      <a:pt x="53" y="71"/>
                    </a:lnTo>
                    <a:lnTo>
                      <a:pt x="57" y="71"/>
                    </a:lnTo>
                    <a:lnTo>
                      <a:pt x="60" y="71"/>
                    </a:lnTo>
                    <a:lnTo>
                      <a:pt x="62" y="70"/>
                    </a:lnTo>
                    <a:lnTo>
                      <a:pt x="65" y="69"/>
                    </a:lnTo>
                    <a:lnTo>
                      <a:pt x="67" y="67"/>
                    </a:lnTo>
                    <a:lnTo>
                      <a:pt x="69" y="65"/>
                    </a:lnTo>
                    <a:lnTo>
                      <a:pt x="70" y="63"/>
                    </a:lnTo>
                    <a:lnTo>
                      <a:pt x="72" y="60"/>
                    </a:lnTo>
                    <a:lnTo>
                      <a:pt x="72" y="58"/>
                    </a:lnTo>
                    <a:lnTo>
                      <a:pt x="72" y="54"/>
                    </a:lnTo>
                    <a:lnTo>
                      <a:pt x="70" y="51"/>
                    </a:lnTo>
                    <a:lnTo>
                      <a:pt x="69" y="49"/>
                    </a:lnTo>
                    <a:lnTo>
                      <a:pt x="67" y="46"/>
                    </a:lnTo>
                    <a:lnTo>
                      <a:pt x="25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2460DFE-D8EC-4797-8CD0-9185708A2F22}"/>
              </a:ext>
            </a:extLst>
          </p:cNvPr>
          <p:cNvGrpSpPr/>
          <p:nvPr/>
        </p:nvGrpSpPr>
        <p:grpSpPr>
          <a:xfrm>
            <a:off x="2021901" y="3729113"/>
            <a:ext cx="418315" cy="418315"/>
            <a:chOff x="4747002" y="3515391"/>
            <a:chExt cx="418315" cy="418315"/>
          </a:xfrm>
        </p:grpSpPr>
        <p:sp>
          <p:nvSpPr>
            <p:cNvPr id="1816" name="Oval 1815">
              <a:extLst>
                <a:ext uri="{FF2B5EF4-FFF2-40B4-BE49-F238E27FC236}">
                  <a16:creationId xmlns:a16="http://schemas.microsoft.com/office/drawing/2014/main" id="{C6CD818C-0803-4389-99AC-48C6E997CD62}"/>
                </a:ext>
              </a:extLst>
            </p:cNvPr>
            <p:cNvSpPr/>
            <p:nvPr/>
          </p:nvSpPr>
          <p:spPr>
            <a:xfrm>
              <a:off x="4747002" y="3515391"/>
              <a:ext cx="418315" cy="418315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34" name="Group 1833">
              <a:extLst>
                <a:ext uri="{FF2B5EF4-FFF2-40B4-BE49-F238E27FC236}">
                  <a16:creationId xmlns:a16="http://schemas.microsoft.com/office/drawing/2014/main" id="{9552D3E4-1003-4D9B-8217-A60089457977}"/>
                </a:ext>
              </a:extLst>
            </p:cNvPr>
            <p:cNvGrpSpPr/>
            <p:nvPr/>
          </p:nvGrpSpPr>
          <p:grpSpPr>
            <a:xfrm>
              <a:off x="4867938" y="3635834"/>
              <a:ext cx="176442" cy="177428"/>
              <a:chOff x="906463" y="769938"/>
              <a:chExt cx="284162" cy="285750"/>
            </a:xfrm>
            <a:solidFill>
              <a:schemeClr val="bg1"/>
            </a:solidFill>
          </p:grpSpPr>
          <p:sp>
            <p:nvSpPr>
              <p:cNvPr id="1835" name="Freeform 63">
                <a:extLst>
                  <a:ext uri="{FF2B5EF4-FFF2-40B4-BE49-F238E27FC236}">
                    <a16:creationId xmlns:a16="http://schemas.microsoft.com/office/drawing/2014/main" id="{A5590922-76DF-4CAB-BFF0-8020325F54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650" y="769938"/>
                <a:ext cx="9525" cy="19050"/>
              </a:xfrm>
              <a:custGeom>
                <a:avLst/>
                <a:gdLst>
                  <a:gd name="T0" fmla="*/ 15 w 30"/>
                  <a:gd name="T1" fmla="*/ 59 h 59"/>
                  <a:gd name="T2" fmla="*/ 18 w 30"/>
                  <a:gd name="T3" fmla="*/ 59 h 59"/>
                  <a:gd name="T4" fmla="*/ 21 w 30"/>
                  <a:gd name="T5" fmla="*/ 58 h 59"/>
                  <a:gd name="T6" fmla="*/ 23 w 30"/>
                  <a:gd name="T7" fmla="*/ 57 h 59"/>
                  <a:gd name="T8" fmla="*/ 25 w 30"/>
                  <a:gd name="T9" fmla="*/ 55 h 59"/>
                  <a:gd name="T10" fmla="*/ 27 w 30"/>
                  <a:gd name="T11" fmla="*/ 53 h 59"/>
                  <a:gd name="T12" fmla="*/ 28 w 30"/>
                  <a:gd name="T13" fmla="*/ 51 h 59"/>
                  <a:gd name="T14" fmla="*/ 30 w 30"/>
                  <a:gd name="T15" fmla="*/ 48 h 59"/>
                  <a:gd name="T16" fmla="*/ 30 w 30"/>
                  <a:gd name="T17" fmla="*/ 44 h 59"/>
                  <a:gd name="T18" fmla="*/ 30 w 30"/>
                  <a:gd name="T19" fmla="*/ 14 h 59"/>
                  <a:gd name="T20" fmla="*/ 30 w 30"/>
                  <a:gd name="T21" fmla="*/ 11 h 59"/>
                  <a:gd name="T22" fmla="*/ 28 w 30"/>
                  <a:gd name="T23" fmla="*/ 9 h 59"/>
                  <a:gd name="T24" fmla="*/ 27 w 30"/>
                  <a:gd name="T25" fmla="*/ 6 h 59"/>
                  <a:gd name="T26" fmla="*/ 25 w 30"/>
                  <a:gd name="T27" fmla="*/ 4 h 59"/>
                  <a:gd name="T28" fmla="*/ 23 w 30"/>
                  <a:gd name="T29" fmla="*/ 2 h 59"/>
                  <a:gd name="T30" fmla="*/ 21 w 30"/>
                  <a:gd name="T31" fmla="*/ 1 h 59"/>
                  <a:gd name="T32" fmla="*/ 18 w 30"/>
                  <a:gd name="T33" fmla="*/ 0 h 59"/>
                  <a:gd name="T34" fmla="*/ 15 w 30"/>
                  <a:gd name="T35" fmla="*/ 0 h 59"/>
                  <a:gd name="T36" fmla="*/ 11 w 30"/>
                  <a:gd name="T37" fmla="*/ 0 h 59"/>
                  <a:gd name="T38" fmla="*/ 9 w 30"/>
                  <a:gd name="T39" fmla="*/ 1 h 59"/>
                  <a:gd name="T40" fmla="*/ 6 w 30"/>
                  <a:gd name="T41" fmla="*/ 2 h 59"/>
                  <a:gd name="T42" fmla="*/ 4 w 30"/>
                  <a:gd name="T43" fmla="*/ 4 h 59"/>
                  <a:gd name="T44" fmla="*/ 3 w 30"/>
                  <a:gd name="T45" fmla="*/ 6 h 59"/>
                  <a:gd name="T46" fmla="*/ 1 w 30"/>
                  <a:gd name="T47" fmla="*/ 9 h 59"/>
                  <a:gd name="T48" fmla="*/ 0 w 30"/>
                  <a:gd name="T49" fmla="*/ 11 h 59"/>
                  <a:gd name="T50" fmla="*/ 0 w 30"/>
                  <a:gd name="T51" fmla="*/ 14 h 59"/>
                  <a:gd name="T52" fmla="*/ 0 w 30"/>
                  <a:gd name="T53" fmla="*/ 44 h 59"/>
                  <a:gd name="T54" fmla="*/ 0 w 30"/>
                  <a:gd name="T55" fmla="*/ 48 h 59"/>
                  <a:gd name="T56" fmla="*/ 1 w 30"/>
                  <a:gd name="T57" fmla="*/ 51 h 59"/>
                  <a:gd name="T58" fmla="*/ 3 w 30"/>
                  <a:gd name="T59" fmla="*/ 53 h 59"/>
                  <a:gd name="T60" fmla="*/ 4 w 30"/>
                  <a:gd name="T61" fmla="*/ 55 h 59"/>
                  <a:gd name="T62" fmla="*/ 6 w 30"/>
                  <a:gd name="T63" fmla="*/ 57 h 59"/>
                  <a:gd name="T64" fmla="*/ 9 w 30"/>
                  <a:gd name="T65" fmla="*/ 58 h 59"/>
                  <a:gd name="T66" fmla="*/ 11 w 30"/>
                  <a:gd name="T67" fmla="*/ 59 h 59"/>
                  <a:gd name="T68" fmla="*/ 15 w 30"/>
                  <a:gd name="T69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59">
                    <a:moveTo>
                      <a:pt x="15" y="59"/>
                    </a:moveTo>
                    <a:lnTo>
                      <a:pt x="18" y="59"/>
                    </a:lnTo>
                    <a:lnTo>
                      <a:pt x="21" y="58"/>
                    </a:lnTo>
                    <a:lnTo>
                      <a:pt x="23" y="57"/>
                    </a:lnTo>
                    <a:lnTo>
                      <a:pt x="25" y="55"/>
                    </a:lnTo>
                    <a:lnTo>
                      <a:pt x="27" y="53"/>
                    </a:lnTo>
                    <a:lnTo>
                      <a:pt x="28" y="51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14"/>
                    </a:lnTo>
                    <a:lnTo>
                      <a:pt x="30" y="11"/>
                    </a:lnTo>
                    <a:lnTo>
                      <a:pt x="28" y="9"/>
                    </a:lnTo>
                    <a:lnTo>
                      <a:pt x="27" y="6"/>
                    </a:lnTo>
                    <a:lnTo>
                      <a:pt x="25" y="4"/>
                    </a:lnTo>
                    <a:lnTo>
                      <a:pt x="23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44"/>
                    </a:lnTo>
                    <a:lnTo>
                      <a:pt x="0" y="48"/>
                    </a:lnTo>
                    <a:lnTo>
                      <a:pt x="1" y="51"/>
                    </a:lnTo>
                    <a:lnTo>
                      <a:pt x="3" y="53"/>
                    </a:lnTo>
                    <a:lnTo>
                      <a:pt x="4" y="55"/>
                    </a:lnTo>
                    <a:lnTo>
                      <a:pt x="6" y="57"/>
                    </a:lnTo>
                    <a:lnTo>
                      <a:pt x="9" y="58"/>
                    </a:lnTo>
                    <a:lnTo>
                      <a:pt x="11" y="59"/>
                    </a:lnTo>
                    <a:lnTo>
                      <a:pt x="15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6" name="Freeform 64">
                <a:extLst>
                  <a:ext uri="{FF2B5EF4-FFF2-40B4-BE49-F238E27FC236}">
                    <a16:creationId xmlns:a16="http://schemas.microsoft.com/office/drawing/2014/main" id="{010BD5A1-E0FF-443D-9DE8-FFF6E1A340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5513" y="788988"/>
                <a:ext cx="17463" cy="19050"/>
              </a:xfrm>
              <a:custGeom>
                <a:avLst/>
                <a:gdLst>
                  <a:gd name="T0" fmla="*/ 44 w 59"/>
                  <a:gd name="T1" fmla="*/ 60 h 60"/>
                  <a:gd name="T2" fmla="*/ 47 w 59"/>
                  <a:gd name="T3" fmla="*/ 59 h 60"/>
                  <a:gd name="T4" fmla="*/ 50 w 59"/>
                  <a:gd name="T5" fmla="*/ 59 h 60"/>
                  <a:gd name="T6" fmla="*/ 52 w 59"/>
                  <a:gd name="T7" fmla="*/ 57 h 60"/>
                  <a:gd name="T8" fmla="*/ 54 w 59"/>
                  <a:gd name="T9" fmla="*/ 56 h 60"/>
                  <a:gd name="T10" fmla="*/ 57 w 59"/>
                  <a:gd name="T11" fmla="*/ 54 h 60"/>
                  <a:gd name="T12" fmla="*/ 58 w 59"/>
                  <a:gd name="T13" fmla="*/ 52 h 60"/>
                  <a:gd name="T14" fmla="*/ 59 w 59"/>
                  <a:gd name="T15" fmla="*/ 49 h 60"/>
                  <a:gd name="T16" fmla="*/ 59 w 59"/>
                  <a:gd name="T17" fmla="*/ 45 h 60"/>
                  <a:gd name="T18" fmla="*/ 59 w 59"/>
                  <a:gd name="T19" fmla="*/ 43 h 60"/>
                  <a:gd name="T20" fmla="*/ 58 w 59"/>
                  <a:gd name="T21" fmla="*/ 40 h 60"/>
                  <a:gd name="T22" fmla="*/ 57 w 59"/>
                  <a:gd name="T23" fmla="*/ 37 h 60"/>
                  <a:gd name="T24" fmla="*/ 54 w 59"/>
                  <a:gd name="T25" fmla="*/ 35 h 60"/>
                  <a:gd name="T26" fmla="*/ 24 w 59"/>
                  <a:gd name="T27" fmla="*/ 5 h 60"/>
                  <a:gd name="T28" fmla="*/ 22 w 59"/>
                  <a:gd name="T29" fmla="*/ 3 h 60"/>
                  <a:gd name="T30" fmla="*/ 20 w 59"/>
                  <a:gd name="T31" fmla="*/ 2 h 60"/>
                  <a:gd name="T32" fmla="*/ 17 w 59"/>
                  <a:gd name="T33" fmla="*/ 0 h 60"/>
                  <a:gd name="T34" fmla="*/ 15 w 59"/>
                  <a:gd name="T35" fmla="*/ 0 h 60"/>
                  <a:gd name="T36" fmla="*/ 12 w 59"/>
                  <a:gd name="T37" fmla="*/ 0 h 60"/>
                  <a:gd name="T38" fmla="*/ 8 w 59"/>
                  <a:gd name="T39" fmla="*/ 2 h 60"/>
                  <a:gd name="T40" fmla="*/ 6 w 59"/>
                  <a:gd name="T41" fmla="*/ 3 h 60"/>
                  <a:gd name="T42" fmla="*/ 4 w 59"/>
                  <a:gd name="T43" fmla="*/ 5 h 60"/>
                  <a:gd name="T44" fmla="*/ 2 w 59"/>
                  <a:gd name="T45" fmla="*/ 7 h 60"/>
                  <a:gd name="T46" fmla="*/ 1 w 59"/>
                  <a:gd name="T47" fmla="*/ 10 h 60"/>
                  <a:gd name="T48" fmla="*/ 0 w 59"/>
                  <a:gd name="T49" fmla="*/ 13 h 60"/>
                  <a:gd name="T50" fmla="*/ 0 w 59"/>
                  <a:gd name="T51" fmla="*/ 15 h 60"/>
                  <a:gd name="T52" fmla="*/ 0 w 59"/>
                  <a:gd name="T53" fmla="*/ 19 h 60"/>
                  <a:gd name="T54" fmla="*/ 1 w 59"/>
                  <a:gd name="T55" fmla="*/ 22 h 60"/>
                  <a:gd name="T56" fmla="*/ 2 w 59"/>
                  <a:gd name="T57" fmla="*/ 24 h 60"/>
                  <a:gd name="T58" fmla="*/ 4 w 59"/>
                  <a:gd name="T59" fmla="*/ 26 h 60"/>
                  <a:gd name="T60" fmla="*/ 34 w 59"/>
                  <a:gd name="T61" fmla="*/ 56 h 60"/>
                  <a:gd name="T62" fmla="*/ 36 w 59"/>
                  <a:gd name="T63" fmla="*/ 57 h 60"/>
                  <a:gd name="T64" fmla="*/ 38 w 59"/>
                  <a:gd name="T65" fmla="*/ 59 h 60"/>
                  <a:gd name="T66" fmla="*/ 42 w 59"/>
                  <a:gd name="T67" fmla="*/ 59 h 60"/>
                  <a:gd name="T68" fmla="*/ 44 w 59"/>
                  <a:gd name="T6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9" h="60">
                    <a:moveTo>
                      <a:pt x="44" y="60"/>
                    </a:moveTo>
                    <a:lnTo>
                      <a:pt x="47" y="59"/>
                    </a:lnTo>
                    <a:lnTo>
                      <a:pt x="50" y="59"/>
                    </a:lnTo>
                    <a:lnTo>
                      <a:pt x="52" y="57"/>
                    </a:lnTo>
                    <a:lnTo>
                      <a:pt x="54" y="56"/>
                    </a:lnTo>
                    <a:lnTo>
                      <a:pt x="57" y="54"/>
                    </a:lnTo>
                    <a:lnTo>
                      <a:pt x="58" y="52"/>
                    </a:lnTo>
                    <a:lnTo>
                      <a:pt x="59" y="49"/>
                    </a:lnTo>
                    <a:lnTo>
                      <a:pt x="59" y="45"/>
                    </a:lnTo>
                    <a:lnTo>
                      <a:pt x="59" y="43"/>
                    </a:lnTo>
                    <a:lnTo>
                      <a:pt x="58" y="40"/>
                    </a:lnTo>
                    <a:lnTo>
                      <a:pt x="57" y="37"/>
                    </a:lnTo>
                    <a:lnTo>
                      <a:pt x="54" y="35"/>
                    </a:lnTo>
                    <a:lnTo>
                      <a:pt x="24" y="5"/>
                    </a:lnTo>
                    <a:lnTo>
                      <a:pt x="22" y="3"/>
                    </a:lnTo>
                    <a:lnTo>
                      <a:pt x="20" y="2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1" y="22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34" y="56"/>
                    </a:lnTo>
                    <a:lnTo>
                      <a:pt x="36" y="57"/>
                    </a:lnTo>
                    <a:lnTo>
                      <a:pt x="38" y="59"/>
                    </a:lnTo>
                    <a:lnTo>
                      <a:pt x="42" y="59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7" name="Freeform 65">
                <a:extLst>
                  <a:ext uri="{FF2B5EF4-FFF2-40B4-BE49-F238E27FC236}">
                    <a16:creationId xmlns:a16="http://schemas.microsoft.com/office/drawing/2014/main" id="{FA026440-4D34-4D7E-880B-FD8DA864DA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5850" y="793750"/>
                <a:ext cx="19050" cy="19050"/>
              </a:xfrm>
              <a:custGeom>
                <a:avLst/>
                <a:gdLst>
                  <a:gd name="T0" fmla="*/ 15 w 60"/>
                  <a:gd name="T1" fmla="*/ 60 h 60"/>
                  <a:gd name="T2" fmla="*/ 19 w 60"/>
                  <a:gd name="T3" fmla="*/ 59 h 60"/>
                  <a:gd name="T4" fmla="*/ 21 w 60"/>
                  <a:gd name="T5" fmla="*/ 59 h 60"/>
                  <a:gd name="T6" fmla="*/ 24 w 60"/>
                  <a:gd name="T7" fmla="*/ 57 h 60"/>
                  <a:gd name="T8" fmla="*/ 26 w 60"/>
                  <a:gd name="T9" fmla="*/ 56 h 60"/>
                  <a:gd name="T10" fmla="*/ 56 w 60"/>
                  <a:gd name="T11" fmla="*/ 26 h 60"/>
                  <a:gd name="T12" fmla="*/ 58 w 60"/>
                  <a:gd name="T13" fmla="*/ 24 h 60"/>
                  <a:gd name="T14" fmla="*/ 59 w 60"/>
                  <a:gd name="T15" fmla="*/ 22 h 60"/>
                  <a:gd name="T16" fmla="*/ 60 w 60"/>
                  <a:gd name="T17" fmla="*/ 19 h 60"/>
                  <a:gd name="T18" fmla="*/ 60 w 60"/>
                  <a:gd name="T19" fmla="*/ 15 h 60"/>
                  <a:gd name="T20" fmla="*/ 60 w 60"/>
                  <a:gd name="T21" fmla="*/ 13 h 60"/>
                  <a:gd name="T22" fmla="*/ 59 w 60"/>
                  <a:gd name="T23" fmla="*/ 10 h 60"/>
                  <a:gd name="T24" fmla="*/ 58 w 60"/>
                  <a:gd name="T25" fmla="*/ 7 h 60"/>
                  <a:gd name="T26" fmla="*/ 56 w 60"/>
                  <a:gd name="T27" fmla="*/ 5 h 60"/>
                  <a:gd name="T28" fmla="*/ 54 w 60"/>
                  <a:gd name="T29" fmla="*/ 3 h 60"/>
                  <a:gd name="T30" fmla="*/ 51 w 60"/>
                  <a:gd name="T31" fmla="*/ 2 h 60"/>
                  <a:gd name="T32" fmla="*/ 49 w 60"/>
                  <a:gd name="T33" fmla="*/ 0 h 60"/>
                  <a:gd name="T34" fmla="*/ 45 w 60"/>
                  <a:gd name="T35" fmla="*/ 0 h 60"/>
                  <a:gd name="T36" fmla="*/ 42 w 60"/>
                  <a:gd name="T37" fmla="*/ 0 h 60"/>
                  <a:gd name="T38" fmla="*/ 40 w 60"/>
                  <a:gd name="T39" fmla="*/ 2 h 60"/>
                  <a:gd name="T40" fmla="*/ 37 w 60"/>
                  <a:gd name="T41" fmla="*/ 3 h 60"/>
                  <a:gd name="T42" fmla="*/ 35 w 60"/>
                  <a:gd name="T43" fmla="*/ 5 h 60"/>
                  <a:gd name="T44" fmla="*/ 5 w 60"/>
                  <a:gd name="T45" fmla="*/ 35 h 60"/>
                  <a:gd name="T46" fmla="*/ 3 w 60"/>
                  <a:gd name="T47" fmla="*/ 37 h 60"/>
                  <a:gd name="T48" fmla="*/ 1 w 60"/>
                  <a:gd name="T49" fmla="*/ 40 h 60"/>
                  <a:gd name="T50" fmla="*/ 0 w 60"/>
                  <a:gd name="T51" fmla="*/ 43 h 60"/>
                  <a:gd name="T52" fmla="*/ 0 w 60"/>
                  <a:gd name="T53" fmla="*/ 45 h 60"/>
                  <a:gd name="T54" fmla="*/ 0 w 60"/>
                  <a:gd name="T55" fmla="*/ 49 h 60"/>
                  <a:gd name="T56" fmla="*/ 1 w 60"/>
                  <a:gd name="T57" fmla="*/ 52 h 60"/>
                  <a:gd name="T58" fmla="*/ 3 w 60"/>
                  <a:gd name="T59" fmla="*/ 54 h 60"/>
                  <a:gd name="T60" fmla="*/ 5 w 60"/>
                  <a:gd name="T61" fmla="*/ 56 h 60"/>
                  <a:gd name="T62" fmla="*/ 7 w 60"/>
                  <a:gd name="T63" fmla="*/ 57 h 60"/>
                  <a:gd name="T64" fmla="*/ 10 w 60"/>
                  <a:gd name="T65" fmla="*/ 59 h 60"/>
                  <a:gd name="T66" fmla="*/ 12 w 60"/>
                  <a:gd name="T67" fmla="*/ 59 h 60"/>
                  <a:gd name="T68" fmla="*/ 15 w 60"/>
                  <a:gd name="T6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60">
                    <a:moveTo>
                      <a:pt x="15" y="60"/>
                    </a:moveTo>
                    <a:lnTo>
                      <a:pt x="19" y="59"/>
                    </a:lnTo>
                    <a:lnTo>
                      <a:pt x="21" y="59"/>
                    </a:lnTo>
                    <a:lnTo>
                      <a:pt x="24" y="57"/>
                    </a:lnTo>
                    <a:lnTo>
                      <a:pt x="26" y="56"/>
                    </a:lnTo>
                    <a:lnTo>
                      <a:pt x="56" y="26"/>
                    </a:lnTo>
                    <a:lnTo>
                      <a:pt x="58" y="24"/>
                    </a:lnTo>
                    <a:lnTo>
                      <a:pt x="59" y="22"/>
                    </a:lnTo>
                    <a:lnTo>
                      <a:pt x="60" y="19"/>
                    </a:lnTo>
                    <a:lnTo>
                      <a:pt x="60" y="15"/>
                    </a:lnTo>
                    <a:lnTo>
                      <a:pt x="60" y="13"/>
                    </a:lnTo>
                    <a:lnTo>
                      <a:pt x="59" y="10"/>
                    </a:lnTo>
                    <a:lnTo>
                      <a:pt x="58" y="7"/>
                    </a:lnTo>
                    <a:lnTo>
                      <a:pt x="56" y="5"/>
                    </a:lnTo>
                    <a:lnTo>
                      <a:pt x="54" y="3"/>
                    </a:lnTo>
                    <a:lnTo>
                      <a:pt x="51" y="2"/>
                    </a:lnTo>
                    <a:lnTo>
                      <a:pt x="49" y="0"/>
                    </a:lnTo>
                    <a:lnTo>
                      <a:pt x="45" y="0"/>
                    </a:lnTo>
                    <a:lnTo>
                      <a:pt x="42" y="0"/>
                    </a:lnTo>
                    <a:lnTo>
                      <a:pt x="40" y="2"/>
                    </a:lnTo>
                    <a:lnTo>
                      <a:pt x="37" y="3"/>
                    </a:lnTo>
                    <a:lnTo>
                      <a:pt x="35" y="5"/>
                    </a:lnTo>
                    <a:lnTo>
                      <a:pt x="5" y="35"/>
                    </a:lnTo>
                    <a:lnTo>
                      <a:pt x="3" y="37"/>
                    </a:lnTo>
                    <a:lnTo>
                      <a:pt x="1" y="40"/>
                    </a:lnTo>
                    <a:lnTo>
                      <a:pt x="0" y="43"/>
                    </a:lnTo>
                    <a:lnTo>
                      <a:pt x="0" y="45"/>
                    </a:lnTo>
                    <a:lnTo>
                      <a:pt x="0" y="49"/>
                    </a:lnTo>
                    <a:lnTo>
                      <a:pt x="1" y="52"/>
                    </a:lnTo>
                    <a:lnTo>
                      <a:pt x="3" y="54"/>
                    </a:lnTo>
                    <a:lnTo>
                      <a:pt x="5" y="56"/>
                    </a:lnTo>
                    <a:lnTo>
                      <a:pt x="7" y="57"/>
                    </a:lnTo>
                    <a:lnTo>
                      <a:pt x="10" y="59"/>
                    </a:lnTo>
                    <a:lnTo>
                      <a:pt x="12" y="59"/>
                    </a:lnTo>
                    <a:lnTo>
                      <a:pt x="15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8" name="Freeform 66">
                <a:extLst>
                  <a:ext uri="{FF2B5EF4-FFF2-40B4-BE49-F238E27FC236}">
                    <a16:creationId xmlns:a16="http://schemas.microsoft.com/office/drawing/2014/main" id="{11D43123-4519-4D3B-BAF6-F53956CF18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6463" y="874713"/>
                <a:ext cx="19050" cy="9525"/>
              </a:xfrm>
              <a:custGeom>
                <a:avLst/>
                <a:gdLst>
                  <a:gd name="T0" fmla="*/ 45 w 60"/>
                  <a:gd name="T1" fmla="*/ 0 h 30"/>
                  <a:gd name="T2" fmla="*/ 15 w 60"/>
                  <a:gd name="T3" fmla="*/ 0 h 30"/>
                  <a:gd name="T4" fmla="*/ 12 w 60"/>
                  <a:gd name="T5" fmla="*/ 1 h 30"/>
                  <a:gd name="T6" fmla="*/ 8 w 60"/>
                  <a:gd name="T7" fmla="*/ 2 h 30"/>
                  <a:gd name="T8" fmla="*/ 6 w 60"/>
                  <a:gd name="T9" fmla="*/ 3 h 30"/>
                  <a:gd name="T10" fmla="*/ 4 w 60"/>
                  <a:gd name="T11" fmla="*/ 5 h 30"/>
                  <a:gd name="T12" fmla="*/ 2 w 60"/>
                  <a:gd name="T13" fmla="*/ 8 h 30"/>
                  <a:gd name="T14" fmla="*/ 1 w 60"/>
                  <a:gd name="T15" fmla="*/ 10 h 30"/>
                  <a:gd name="T16" fmla="*/ 0 w 60"/>
                  <a:gd name="T17" fmla="*/ 13 h 30"/>
                  <a:gd name="T18" fmla="*/ 0 w 60"/>
                  <a:gd name="T19" fmla="*/ 15 h 30"/>
                  <a:gd name="T20" fmla="*/ 0 w 60"/>
                  <a:gd name="T21" fmla="*/ 18 h 30"/>
                  <a:gd name="T22" fmla="*/ 1 w 60"/>
                  <a:gd name="T23" fmla="*/ 22 h 30"/>
                  <a:gd name="T24" fmla="*/ 2 w 60"/>
                  <a:gd name="T25" fmla="*/ 25 h 30"/>
                  <a:gd name="T26" fmla="*/ 4 w 60"/>
                  <a:gd name="T27" fmla="*/ 27 h 30"/>
                  <a:gd name="T28" fmla="*/ 6 w 60"/>
                  <a:gd name="T29" fmla="*/ 28 h 30"/>
                  <a:gd name="T30" fmla="*/ 8 w 60"/>
                  <a:gd name="T31" fmla="*/ 29 h 30"/>
                  <a:gd name="T32" fmla="*/ 12 w 60"/>
                  <a:gd name="T33" fmla="*/ 30 h 30"/>
                  <a:gd name="T34" fmla="*/ 15 w 60"/>
                  <a:gd name="T35" fmla="*/ 30 h 30"/>
                  <a:gd name="T36" fmla="*/ 45 w 60"/>
                  <a:gd name="T37" fmla="*/ 30 h 30"/>
                  <a:gd name="T38" fmla="*/ 47 w 60"/>
                  <a:gd name="T39" fmla="*/ 30 h 30"/>
                  <a:gd name="T40" fmla="*/ 50 w 60"/>
                  <a:gd name="T41" fmla="*/ 29 h 30"/>
                  <a:gd name="T42" fmla="*/ 52 w 60"/>
                  <a:gd name="T43" fmla="*/ 28 h 30"/>
                  <a:gd name="T44" fmla="*/ 54 w 60"/>
                  <a:gd name="T45" fmla="*/ 27 h 30"/>
                  <a:gd name="T46" fmla="*/ 57 w 60"/>
                  <a:gd name="T47" fmla="*/ 25 h 30"/>
                  <a:gd name="T48" fmla="*/ 58 w 60"/>
                  <a:gd name="T49" fmla="*/ 22 h 30"/>
                  <a:gd name="T50" fmla="*/ 59 w 60"/>
                  <a:gd name="T51" fmla="*/ 18 h 30"/>
                  <a:gd name="T52" fmla="*/ 60 w 60"/>
                  <a:gd name="T53" fmla="*/ 15 h 30"/>
                  <a:gd name="T54" fmla="*/ 59 w 60"/>
                  <a:gd name="T55" fmla="*/ 13 h 30"/>
                  <a:gd name="T56" fmla="*/ 58 w 60"/>
                  <a:gd name="T57" fmla="*/ 10 h 30"/>
                  <a:gd name="T58" fmla="*/ 57 w 60"/>
                  <a:gd name="T59" fmla="*/ 8 h 30"/>
                  <a:gd name="T60" fmla="*/ 54 w 60"/>
                  <a:gd name="T61" fmla="*/ 5 h 30"/>
                  <a:gd name="T62" fmla="*/ 52 w 60"/>
                  <a:gd name="T63" fmla="*/ 3 h 30"/>
                  <a:gd name="T64" fmla="*/ 50 w 60"/>
                  <a:gd name="T65" fmla="*/ 2 h 30"/>
                  <a:gd name="T66" fmla="*/ 47 w 60"/>
                  <a:gd name="T67" fmla="*/ 1 h 30"/>
                  <a:gd name="T68" fmla="*/ 45 w 60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30">
                    <a:moveTo>
                      <a:pt x="4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2"/>
                    </a:lnTo>
                    <a:lnTo>
                      <a:pt x="2" y="25"/>
                    </a:lnTo>
                    <a:lnTo>
                      <a:pt x="4" y="27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45" y="30"/>
                    </a:lnTo>
                    <a:lnTo>
                      <a:pt x="47" y="30"/>
                    </a:lnTo>
                    <a:lnTo>
                      <a:pt x="50" y="29"/>
                    </a:lnTo>
                    <a:lnTo>
                      <a:pt x="52" y="28"/>
                    </a:lnTo>
                    <a:lnTo>
                      <a:pt x="54" y="27"/>
                    </a:lnTo>
                    <a:lnTo>
                      <a:pt x="57" y="25"/>
                    </a:lnTo>
                    <a:lnTo>
                      <a:pt x="58" y="22"/>
                    </a:lnTo>
                    <a:lnTo>
                      <a:pt x="59" y="18"/>
                    </a:lnTo>
                    <a:lnTo>
                      <a:pt x="60" y="15"/>
                    </a:lnTo>
                    <a:lnTo>
                      <a:pt x="59" y="13"/>
                    </a:lnTo>
                    <a:lnTo>
                      <a:pt x="58" y="10"/>
                    </a:lnTo>
                    <a:lnTo>
                      <a:pt x="57" y="8"/>
                    </a:lnTo>
                    <a:lnTo>
                      <a:pt x="54" y="5"/>
                    </a:lnTo>
                    <a:lnTo>
                      <a:pt x="52" y="3"/>
                    </a:lnTo>
                    <a:lnTo>
                      <a:pt x="50" y="2"/>
                    </a:lnTo>
                    <a:lnTo>
                      <a:pt x="47" y="1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9" name="Freeform 67">
                <a:extLst>
                  <a:ext uri="{FF2B5EF4-FFF2-40B4-BE49-F238E27FC236}">
                    <a16:creationId xmlns:a16="http://schemas.microsoft.com/office/drawing/2014/main" id="{2D76F75E-6C10-484A-83B6-6039467DA0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3450" y="865188"/>
                <a:ext cx="257175" cy="190500"/>
              </a:xfrm>
              <a:custGeom>
                <a:avLst/>
                <a:gdLst>
                  <a:gd name="T0" fmla="*/ 174 w 808"/>
                  <a:gd name="T1" fmla="*/ 564 h 599"/>
                  <a:gd name="T2" fmla="*/ 111 w 808"/>
                  <a:gd name="T3" fmla="*/ 536 h 599"/>
                  <a:gd name="T4" fmla="*/ 62 w 808"/>
                  <a:gd name="T5" fmla="*/ 487 h 599"/>
                  <a:gd name="T6" fmla="*/ 34 w 808"/>
                  <a:gd name="T7" fmla="*/ 424 h 599"/>
                  <a:gd name="T8" fmla="*/ 34 w 808"/>
                  <a:gd name="T9" fmla="*/ 356 h 599"/>
                  <a:gd name="T10" fmla="*/ 59 w 808"/>
                  <a:gd name="T11" fmla="*/ 296 h 599"/>
                  <a:gd name="T12" fmla="*/ 105 w 808"/>
                  <a:gd name="T13" fmla="*/ 246 h 599"/>
                  <a:gd name="T14" fmla="*/ 164 w 808"/>
                  <a:gd name="T15" fmla="*/ 215 h 599"/>
                  <a:gd name="T16" fmla="*/ 205 w 808"/>
                  <a:gd name="T17" fmla="*/ 206 h 599"/>
                  <a:gd name="T18" fmla="*/ 213 w 808"/>
                  <a:gd name="T19" fmla="*/ 177 h 599"/>
                  <a:gd name="T20" fmla="*/ 233 w 808"/>
                  <a:gd name="T21" fmla="*/ 127 h 599"/>
                  <a:gd name="T22" fmla="*/ 282 w 808"/>
                  <a:gd name="T23" fmla="*/ 74 h 599"/>
                  <a:gd name="T24" fmla="*/ 348 w 808"/>
                  <a:gd name="T25" fmla="*/ 41 h 599"/>
                  <a:gd name="T26" fmla="*/ 419 w 808"/>
                  <a:gd name="T27" fmla="*/ 29 h 599"/>
                  <a:gd name="T28" fmla="*/ 479 w 808"/>
                  <a:gd name="T29" fmla="*/ 42 h 599"/>
                  <a:gd name="T30" fmla="*/ 531 w 808"/>
                  <a:gd name="T31" fmla="*/ 74 h 599"/>
                  <a:gd name="T32" fmla="*/ 573 w 808"/>
                  <a:gd name="T33" fmla="*/ 119 h 599"/>
                  <a:gd name="T34" fmla="*/ 600 w 808"/>
                  <a:gd name="T35" fmla="*/ 170 h 599"/>
                  <a:gd name="T36" fmla="*/ 615 w 808"/>
                  <a:gd name="T37" fmla="*/ 179 h 599"/>
                  <a:gd name="T38" fmla="*/ 675 w 808"/>
                  <a:gd name="T39" fmla="*/ 186 h 599"/>
                  <a:gd name="T40" fmla="*/ 709 w 808"/>
                  <a:gd name="T41" fmla="*/ 208 h 599"/>
                  <a:gd name="T42" fmla="*/ 725 w 808"/>
                  <a:gd name="T43" fmla="*/ 235 h 599"/>
                  <a:gd name="T44" fmla="*/ 727 w 808"/>
                  <a:gd name="T45" fmla="*/ 273 h 599"/>
                  <a:gd name="T46" fmla="*/ 719 w 808"/>
                  <a:gd name="T47" fmla="*/ 304 h 599"/>
                  <a:gd name="T48" fmla="*/ 737 w 808"/>
                  <a:gd name="T49" fmla="*/ 321 h 599"/>
                  <a:gd name="T50" fmla="*/ 764 w 808"/>
                  <a:gd name="T51" fmla="*/ 361 h 599"/>
                  <a:gd name="T52" fmla="*/ 778 w 808"/>
                  <a:gd name="T53" fmla="*/ 434 h 599"/>
                  <a:gd name="T54" fmla="*/ 767 w 808"/>
                  <a:gd name="T55" fmla="*/ 486 h 599"/>
                  <a:gd name="T56" fmla="*/ 738 w 808"/>
                  <a:gd name="T57" fmla="*/ 529 h 599"/>
                  <a:gd name="T58" fmla="*/ 696 w 808"/>
                  <a:gd name="T59" fmla="*/ 558 h 599"/>
                  <a:gd name="T60" fmla="*/ 642 w 808"/>
                  <a:gd name="T61" fmla="*/ 569 h 599"/>
                  <a:gd name="T62" fmla="*/ 758 w 808"/>
                  <a:gd name="T63" fmla="*/ 258 h 599"/>
                  <a:gd name="T64" fmla="*/ 747 w 808"/>
                  <a:gd name="T65" fmla="*/ 212 h 599"/>
                  <a:gd name="T66" fmla="*/ 727 w 808"/>
                  <a:gd name="T67" fmla="*/ 183 h 599"/>
                  <a:gd name="T68" fmla="*/ 700 w 808"/>
                  <a:gd name="T69" fmla="*/ 165 h 599"/>
                  <a:gd name="T70" fmla="*/ 642 w 808"/>
                  <a:gd name="T71" fmla="*/ 149 h 599"/>
                  <a:gd name="T72" fmla="*/ 601 w 808"/>
                  <a:gd name="T73" fmla="*/ 108 h 599"/>
                  <a:gd name="T74" fmla="*/ 559 w 808"/>
                  <a:gd name="T75" fmla="*/ 58 h 599"/>
                  <a:gd name="T76" fmla="*/ 503 w 808"/>
                  <a:gd name="T77" fmla="*/ 19 h 599"/>
                  <a:gd name="T78" fmla="*/ 438 w 808"/>
                  <a:gd name="T79" fmla="*/ 0 h 599"/>
                  <a:gd name="T80" fmla="*/ 349 w 808"/>
                  <a:gd name="T81" fmla="*/ 9 h 599"/>
                  <a:gd name="T82" fmla="*/ 272 w 808"/>
                  <a:gd name="T83" fmla="*/ 44 h 599"/>
                  <a:gd name="T84" fmla="*/ 216 w 808"/>
                  <a:gd name="T85" fmla="*/ 99 h 599"/>
                  <a:gd name="T86" fmla="*/ 185 w 808"/>
                  <a:gd name="T87" fmla="*/ 164 h 599"/>
                  <a:gd name="T88" fmla="*/ 128 w 808"/>
                  <a:gd name="T89" fmla="*/ 197 h 599"/>
                  <a:gd name="T90" fmla="*/ 66 w 808"/>
                  <a:gd name="T91" fmla="*/ 240 h 599"/>
                  <a:gd name="T92" fmla="*/ 22 w 808"/>
                  <a:gd name="T93" fmla="*/ 300 h 599"/>
                  <a:gd name="T94" fmla="*/ 1 w 808"/>
                  <a:gd name="T95" fmla="*/ 371 h 599"/>
                  <a:gd name="T96" fmla="*/ 3 w 808"/>
                  <a:gd name="T97" fmla="*/ 420 h 599"/>
                  <a:gd name="T98" fmla="*/ 27 w 808"/>
                  <a:gd name="T99" fmla="*/ 487 h 599"/>
                  <a:gd name="T100" fmla="*/ 78 w 808"/>
                  <a:gd name="T101" fmla="*/ 549 h 599"/>
                  <a:gd name="T102" fmla="*/ 149 w 808"/>
                  <a:gd name="T103" fmla="*/ 589 h 599"/>
                  <a:gd name="T104" fmla="*/ 199 w 808"/>
                  <a:gd name="T105" fmla="*/ 597 h 599"/>
                  <a:gd name="T106" fmla="*/ 676 w 808"/>
                  <a:gd name="T107" fmla="*/ 595 h 599"/>
                  <a:gd name="T108" fmla="*/ 735 w 808"/>
                  <a:gd name="T109" fmla="*/ 571 h 599"/>
                  <a:gd name="T110" fmla="*/ 780 w 808"/>
                  <a:gd name="T111" fmla="*/ 526 h 599"/>
                  <a:gd name="T112" fmla="*/ 805 w 808"/>
                  <a:gd name="T113" fmla="*/ 467 h 599"/>
                  <a:gd name="T114" fmla="*/ 806 w 808"/>
                  <a:gd name="T115" fmla="*/ 397 h 599"/>
                  <a:gd name="T116" fmla="*/ 788 w 808"/>
                  <a:gd name="T117" fmla="*/ 342 h 599"/>
                  <a:gd name="T118" fmla="*/ 766 w 808"/>
                  <a:gd name="T119" fmla="*/ 308 h 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8" h="599">
                    <a:moveTo>
                      <a:pt x="642" y="569"/>
                    </a:moveTo>
                    <a:lnTo>
                      <a:pt x="210" y="569"/>
                    </a:lnTo>
                    <a:lnTo>
                      <a:pt x="192" y="568"/>
                    </a:lnTo>
                    <a:lnTo>
                      <a:pt x="174" y="564"/>
                    </a:lnTo>
                    <a:lnTo>
                      <a:pt x="158" y="560"/>
                    </a:lnTo>
                    <a:lnTo>
                      <a:pt x="141" y="554"/>
                    </a:lnTo>
                    <a:lnTo>
                      <a:pt x="126" y="546"/>
                    </a:lnTo>
                    <a:lnTo>
                      <a:pt x="111" y="536"/>
                    </a:lnTo>
                    <a:lnTo>
                      <a:pt x="97" y="526"/>
                    </a:lnTo>
                    <a:lnTo>
                      <a:pt x="84" y="514"/>
                    </a:lnTo>
                    <a:lnTo>
                      <a:pt x="73" y="501"/>
                    </a:lnTo>
                    <a:lnTo>
                      <a:pt x="62" y="487"/>
                    </a:lnTo>
                    <a:lnTo>
                      <a:pt x="52" y="473"/>
                    </a:lnTo>
                    <a:lnTo>
                      <a:pt x="45" y="457"/>
                    </a:lnTo>
                    <a:lnTo>
                      <a:pt x="38" y="441"/>
                    </a:lnTo>
                    <a:lnTo>
                      <a:pt x="34" y="424"/>
                    </a:lnTo>
                    <a:lnTo>
                      <a:pt x="31" y="407"/>
                    </a:lnTo>
                    <a:lnTo>
                      <a:pt x="30" y="389"/>
                    </a:lnTo>
                    <a:lnTo>
                      <a:pt x="31" y="373"/>
                    </a:lnTo>
                    <a:lnTo>
                      <a:pt x="34" y="356"/>
                    </a:lnTo>
                    <a:lnTo>
                      <a:pt x="38" y="341"/>
                    </a:lnTo>
                    <a:lnTo>
                      <a:pt x="44" y="325"/>
                    </a:lnTo>
                    <a:lnTo>
                      <a:pt x="50" y="310"/>
                    </a:lnTo>
                    <a:lnTo>
                      <a:pt x="59" y="296"/>
                    </a:lnTo>
                    <a:lnTo>
                      <a:pt x="68" y="282"/>
                    </a:lnTo>
                    <a:lnTo>
                      <a:pt x="79" y="269"/>
                    </a:lnTo>
                    <a:lnTo>
                      <a:pt x="92" y="257"/>
                    </a:lnTo>
                    <a:lnTo>
                      <a:pt x="105" y="246"/>
                    </a:lnTo>
                    <a:lnTo>
                      <a:pt x="118" y="237"/>
                    </a:lnTo>
                    <a:lnTo>
                      <a:pt x="133" y="228"/>
                    </a:lnTo>
                    <a:lnTo>
                      <a:pt x="147" y="222"/>
                    </a:lnTo>
                    <a:lnTo>
                      <a:pt x="164" y="215"/>
                    </a:lnTo>
                    <a:lnTo>
                      <a:pt x="180" y="212"/>
                    </a:lnTo>
                    <a:lnTo>
                      <a:pt x="197" y="209"/>
                    </a:lnTo>
                    <a:lnTo>
                      <a:pt x="201" y="208"/>
                    </a:lnTo>
                    <a:lnTo>
                      <a:pt x="205" y="206"/>
                    </a:lnTo>
                    <a:lnTo>
                      <a:pt x="209" y="201"/>
                    </a:lnTo>
                    <a:lnTo>
                      <a:pt x="210" y="196"/>
                    </a:lnTo>
                    <a:lnTo>
                      <a:pt x="211" y="186"/>
                    </a:lnTo>
                    <a:lnTo>
                      <a:pt x="213" y="177"/>
                    </a:lnTo>
                    <a:lnTo>
                      <a:pt x="215" y="168"/>
                    </a:lnTo>
                    <a:lnTo>
                      <a:pt x="217" y="160"/>
                    </a:lnTo>
                    <a:lnTo>
                      <a:pt x="225" y="143"/>
                    </a:lnTo>
                    <a:lnTo>
                      <a:pt x="233" y="127"/>
                    </a:lnTo>
                    <a:lnTo>
                      <a:pt x="244" y="113"/>
                    </a:lnTo>
                    <a:lnTo>
                      <a:pt x="256" y="99"/>
                    </a:lnTo>
                    <a:lnTo>
                      <a:pt x="268" y="86"/>
                    </a:lnTo>
                    <a:lnTo>
                      <a:pt x="282" y="74"/>
                    </a:lnTo>
                    <a:lnTo>
                      <a:pt x="298" y="64"/>
                    </a:lnTo>
                    <a:lnTo>
                      <a:pt x="315" y="56"/>
                    </a:lnTo>
                    <a:lnTo>
                      <a:pt x="331" y="47"/>
                    </a:lnTo>
                    <a:lnTo>
                      <a:pt x="348" y="41"/>
                    </a:lnTo>
                    <a:lnTo>
                      <a:pt x="366" y="37"/>
                    </a:lnTo>
                    <a:lnTo>
                      <a:pt x="384" y="32"/>
                    </a:lnTo>
                    <a:lnTo>
                      <a:pt x="401" y="30"/>
                    </a:lnTo>
                    <a:lnTo>
                      <a:pt x="419" y="29"/>
                    </a:lnTo>
                    <a:lnTo>
                      <a:pt x="434" y="30"/>
                    </a:lnTo>
                    <a:lnTo>
                      <a:pt x="449" y="32"/>
                    </a:lnTo>
                    <a:lnTo>
                      <a:pt x="464" y="37"/>
                    </a:lnTo>
                    <a:lnTo>
                      <a:pt x="479" y="42"/>
                    </a:lnTo>
                    <a:lnTo>
                      <a:pt x="492" y="48"/>
                    </a:lnTo>
                    <a:lnTo>
                      <a:pt x="506" y="56"/>
                    </a:lnTo>
                    <a:lnTo>
                      <a:pt x="519" y="64"/>
                    </a:lnTo>
                    <a:lnTo>
                      <a:pt x="531" y="74"/>
                    </a:lnTo>
                    <a:lnTo>
                      <a:pt x="543" y="84"/>
                    </a:lnTo>
                    <a:lnTo>
                      <a:pt x="553" y="94"/>
                    </a:lnTo>
                    <a:lnTo>
                      <a:pt x="563" y="106"/>
                    </a:lnTo>
                    <a:lnTo>
                      <a:pt x="573" y="119"/>
                    </a:lnTo>
                    <a:lnTo>
                      <a:pt x="580" y="131"/>
                    </a:lnTo>
                    <a:lnTo>
                      <a:pt x="588" y="144"/>
                    </a:lnTo>
                    <a:lnTo>
                      <a:pt x="595" y="158"/>
                    </a:lnTo>
                    <a:lnTo>
                      <a:pt x="600" y="170"/>
                    </a:lnTo>
                    <a:lnTo>
                      <a:pt x="603" y="175"/>
                    </a:lnTo>
                    <a:lnTo>
                      <a:pt x="607" y="178"/>
                    </a:lnTo>
                    <a:lnTo>
                      <a:pt x="611" y="179"/>
                    </a:lnTo>
                    <a:lnTo>
                      <a:pt x="615" y="179"/>
                    </a:lnTo>
                    <a:lnTo>
                      <a:pt x="631" y="179"/>
                    </a:lnTo>
                    <a:lnTo>
                      <a:pt x="646" y="179"/>
                    </a:lnTo>
                    <a:lnTo>
                      <a:pt x="661" y="182"/>
                    </a:lnTo>
                    <a:lnTo>
                      <a:pt x="675" y="186"/>
                    </a:lnTo>
                    <a:lnTo>
                      <a:pt x="687" y="192"/>
                    </a:lnTo>
                    <a:lnTo>
                      <a:pt x="699" y="199"/>
                    </a:lnTo>
                    <a:lnTo>
                      <a:pt x="704" y="204"/>
                    </a:lnTo>
                    <a:lnTo>
                      <a:pt x="709" y="208"/>
                    </a:lnTo>
                    <a:lnTo>
                      <a:pt x="713" y="213"/>
                    </a:lnTo>
                    <a:lnTo>
                      <a:pt x="716" y="219"/>
                    </a:lnTo>
                    <a:lnTo>
                      <a:pt x="721" y="226"/>
                    </a:lnTo>
                    <a:lnTo>
                      <a:pt x="725" y="235"/>
                    </a:lnTo>
                    <a:lnTo>
                      <a:pt x="727" y="244"/>
                    </a:lnTo>
                    <a:lnTo>
                      <a:pt x="728" y="253"/>
                    </a:lnTo>
                    <a:lnTo>
                      <a:pt x="728" y="264"/>
                    </a:lnTo>
                    <a:lnTo>
                      <a:pt x="727" y="273"/>
                    </a:lnTo>
                    <a:lnTo>
                      <a:pt x="723" y="283"/>
                    </a:lnTo>
                    <a:lnTo>
                      <a:pt x="720" y="293"/>
                    </a:lnTo>
                    <a:lnTo>
                      <a:pt x="719" y="299"/>
                    </a:lnTo>
                    <a:lnTo>
                      <a:pt x="719" y="304"/>
                    </a:lnTo>
                    <a:lnTo>
                      <a:pt x="721" y="308"/>
                    </a:lnTo>
                    <a:lnTo>
                      <a:pt x="726" y="313"/>
                    </a:lnTo>
                    <a:lnTo>
                      <a:pt x="731" y="317"/>
                    </a:lnTo>
                    <a:lnTo>
                      <a:pt x="737" y="321"/>
                    </a:lnTo>
                    <a:lnTo>
                      <a:pt x="743" y="327"/>
                    </a:lnTo>
                    <a:lnTo>
                      <a:pt x="747" y="333"/>
                    </a:lnTo>
                    <a:lnTo>
                      <a:pt x="757" y="346"/>
                    </a:lnTo>
                    <a:lnTo>
                      <a:pt x="764" y="361"/>
                    </a:lnTo>
                    <a:lnTo>
                      <a:pt x="771" y="378"/>
                    </a:lnTo>
                    <a:lnTo>
                      <a:pt x="775" y="395"/>
                    </a:lnTo>
                    <a:lnTo>
                      <a:pt x="778" y="414"/>
                    </a:lnTo>
                    <a:lnTo>
                      <a:pt x="778" y="434"/>
                    </a:lnTo>
                    <a:lnTo>
                      <a:pt x="778" y="448"/>
                    </a:lnTo>
                    <a:lnTo>
                      <a:pt x="776" y="460"/>
                    </a:lnTo>
                    <a:lnTo>
                      <a:pt x="773" y="474"/>
                    </a:lnTo>
                    <a:lnTo>
                      <a:pt x="767" y="486"/>
                    </a:lnTo>
                    <a:lnTo>
                      <a:pt x="762" y="498"/>
                    </a:lnTo>
                    <a:lnTo>
                      <a:pt x="756" y="509"/>
                    </a:lnTo>
                    <a:lnTo>
                      <a:pt x="747" y="519"/>
                    </a:lnTo>
                    <a:lnTo>
                      <a:pt x="738" y="529"/>
                    </a:lnTo>
                    <a:lnTo>
                      <a:pt x="729" y="538"/>
                    </a:lnTo>
                    <a:lnTo>
                      <a:pt x="718" y="545"/>
                    </a:lnTo>
                    <a:lnTo>
                      <a:pt x="707" y="553"/>
                    </a:lnTo>
                    <a:lnTo>
                      <a:pt x="696" y="558"/>
                    </a:lnTo>
                    <a:lnTo>
                      <a:pt x="683" y="562"/>
                    </a:lnTo>
                    <a:lnTo>
                      <a:pt x="670" y="565"/>
                    </a:lnTo>
                    <a:lnTo>
                      <a:pt x="656" y="568"/>
                    </a:lnTo>
                    <a:lnTo>
                      <a:pt x="642" y="569"/>
                    </a:lnTo>
                    <a:close/>
                    <a:moveTo>
                      <a:pt x="751" y="295"/>
                    </a:moveTo>
                    <a:lnTo>
                      <a:pt x="756" y="282"/>
                    </a:lnTo>
                    <a:lnTo>
                      <a:pt x="758" y="270"/>
                    </a:lnTo>
                    <a:lnTo>
                      <a:pt x="758" y="258"/>
                    </a:lnTo>
                    <a:lnTo>
                      <a:pt x="758" y="245"/>
                    </a:lnTo>
                    <a:lnTo>
                      <a:pt x="756" y="235"/>
                    </a:lnTo>
                    <a:lnTo>
                      <a:pt x="752" y="223"/>
                    </a:lnTo>
                    <a:lnTo>
                      <a:pt x="747" y="212"/>
                    </a:lnTo>
                    <a:lnTo>
                      <a:pt x="742" y="201"/>
                    </a:lnTo>
                    <a:lnTo>
                      <a:pt x="737" y="195"/>
                    </a:lnTo>
                    <a:lnTo>
                      <a:pt x="732" y="189"/>
                    </a:lnTo>
                    <a:lnTo>
                      <a:pt x="727" y="183"/>
                    </a:lnTo>
                    <a:lnTo>
                      <a:pt x="720" y="178"/>
                    </a:lnTo>
                    <a:lnTo>
                      <a:pt x="714" y="173"/>
                    </a:lnTo>
                    <a:lnTo>
                      <a:pt x="707" y="168"/>
                    </a:lnTo>
                    <a:lnTo>
                      <a:pt x="700" y="165"/>
                    </a:lnTo>
                    <a:lnTo>
                      <a:pt x="692" y="161"/>
                    </a:lnTo>
                    <a:lnTo>
                      <a:pt x="676" y="155"/>
                    </a:lnTo>
                    <a:lnTo>
                      <a:pt x="660" y="151"/>
                    </a:lnTo>
                    <a:lnTo>
                      <a:pt x="642" y="149"/>
                    </a:lnTo>
                    <a:lnTo>
                      <a:pt x="624" y="149"/>
                    </a:lnTo>
                    <a:lnTo>
                      <a:pt x="618" y="135"/>
                    </a:lnTo>
                    <a:lnTo>
                      <a:pt x="609" y="122"/>
                    </a:lnTo>
                    <a:lnTo>
                      <a:pt x="601" y="108"/>
                    </a:lnTo>
                    <a:lnTo>
                      <a:pt x="592" y="95"/>
                    </a:lnTo>
                    <a:lnTo>
                      <a:pt x="581" y="83"/>
                    </a:lnTo>
                    <a:lnTo>
                      <a:pt x="570" y="70"/>
                    </a:lnTo>
                    <a:lnTo>
                      <a:pt x="559" y="58"/>
                    </a:lnTo>
                    <a:lnTo>
                      <a:pt x="546" y="47"/>
                    </a:lnTo>
                    <a:lnTo>
                      <a:pt x="532" y="37"/>
                    </a:lnTo>
                    <a:lnTo>
                      <a:pt x="518" y="28"/>
                    </a:lnTo>
                    <a:lnTo>
                      <a:pt x="503" y="19"/>
                    </a:lnTo>
                    <a:lnTo>
                      <a:pt x="488" y="13"/>
                    </a:lnTo>
                    <a:lnTo>
                      <a:pt x="471" y="8"/>
                    </a:lnTo>
                    <a:lnTo>
                      <a:pt x="455" y="3"/>
                    </a:lnTo>
                    <a:lnTo>
                      <a:pt x="438" y="0"/>
                    </a:lnTo>
                    <a:lnTo>
                      <a:pt x="419" y="0"/>
                    </a:lnTo>
                    <a:lnTo>
                      <a:pt x="395" y="0"/>
                    </a:lnTo>
                    <a:lnTo>
                      <a:pt x="371" y="3"/>
                    </a:lnTo>
                    <a:lnTo>
                      <a:pt x="349" y="9"/>
                    </a:lnTo>
                    <a:lnTo>
                      <a:pt x="328" y="15"/>
                    </a:lnTo>
                    <a:lnTo>
                      <a:pt x="308" y="24"/>
                    </a:lnTo>
                    <a:lnTo>
                      <a:pt x="289" y="33"/>
                    </a:lnTo>
                    <a:lnTo>
                      <a:pt x="272" y="44"/>
                    </a:lnTo>
                    <a:lnTo>
                      <a:pt x="256" y="57"/>
                    </a:lnTo>
                    <a:lnTo>
                      <a:pt x="241" y="70"/>
                    </a:lnTo>
                    <a:lnTo>
                      <a:pt x="228" y="84"/>
                    </a:lnTo>
                    <a:lnTo>
                      <a:pt x="216" y="99"/>
                    </a:lnTo>
                    <a:lnTo>
                      <a:pt x="206" y="115"/>
                    </a:lnTo>
                    <a:lnTo>
                      <a:pt x="198" y="131"/>
                    </a:lnTo>
                    <a:lnTo>
                      <a:pt x="190" y="147"/>
                    </a:lnTo>
                    <a:lnTo>
                      <a:pt x="185" y="164"/>
                    </a:lnTo>
                    <a:lnTo>
                      <a:pt x="182" y="181"/>
                    </a:lnTo>
                    <a:lnTo>
                      <a:pt x="162" y="184"/>
                    </a:lnTo>
                    <a:lnTo>
                      <a:pt x="145" y="191"/>
                    </a:lnTo>
                    <a:lnTo>
                      <a:pt x="128" y="197"/>
                    </a:lnTo>
                    <a:lnTo>
                      <a:pt x="111" y="207"/>
                    </a:lnTo>
                    <a:lnTo>
                      <a:pt x="95" y="216"/>
                    </a:lnTo>
                    <a:lnTo>
                      <a:pt x="80" y="228"/>
                    </a:lnTo>
                    <a:lnTo>
                      <a:pt x="66" y="240"/>
                    </a:lnTo>
                    <a:lnTo>
                      <a:pt x="53" y="254"/>
                    </a:lnTo>
                    <a:lnTo>
                      <a:pt x="42" y="269"/>
                    </a:lnTo>
                    <a:lnTo>
                      <a:pt x="32" y="284"/>
                    </a:lnTo>
                    <a:lnTo>
                      <a:pt x="22" y="300"/>
                    </a:lnTo>
                    <a:lnTo>
                      <a:pt x="15" y="317"/>
                    </a:lnTo>
                    <a:lnTo>
                      <a:pt x="8" y="334"/>
                    </a:lnTo>
                    <a:lnTo>
                      <a:pt x="4" y="352"/>
                    </a:lnTo>
                    <a:lnTo>
                      <a:pt x="1" y="371"/>
                    </a:lnTo>
                    <a:lnTo>
                      <a:pt x="0" y="389"/>
                    </a:lnTo>
                    <a:lnTo>
                      <a:pt x="1" y="399"/>
                    </a:lnTo>
                    <a:lnTo>
                      <a:pt x="2" y="409"/>
                    </a:lnTo>
                    <a:lnTo>
                      <a:pt x="3" y="420"/>
                    </a:lnTo>
                    <a:lnTo>
                      <a:pt x="5" y="431"/>
                    </a:lnTo>
                    <a:lnTo>
                      <a:pt x="10" y="450"/>
                    </a:lnTo>
                    <a:lnTo>
                      <a:pt x="17" y="469"/>
                    </a:lnTo>
                    <a:lnTo>
                      <a:pt x="27" y="487"/>
                    </a:lnTo>
                    <a:lnTo>
                      <a:pt x="37" y="504"/>
                    </a:lnTo>
                    <a:lnTo>
                      <a:pt x="49" y="520"/>
                    </a:lnTo>
                    <a:lnTo>
                      <a:pt x="63" y="535"/>
                    </a:lnTo>
                    <a:lnTo>
                      <a:pt x="78" y="549"/>
                    </a:lnTo>
                    <a:lnTo>
                      <a:pt x="94" y="561"/>
                    </a:lnTo>
                    <a:lnTo>
                      <a:pt x="112" y="572"/>
                    </a:lnTo>
                    <a:lnTo>
                      <a:pt x="130" y="581"/>
                    </a:lnTo>
                    <a:lnTo>
                      <a:pt x="149" y="589"/>
                    </a:lnTo>
                    <a:lnTo>
                      <a:pt x="169" y="594"/>
                    </a:lnTo>
                    <a:lnTo>
                      <a:pt x="179" y="595"/>
                    </a:lnTo>
                    <a:lnTo>
                      <a:pt x="189" y="597"/>
                    </a:lnTo>
                    <a:lnTo>
                      <a:pt x="199" y="597"/>
                    </a:lnTo>
                    <a:lnTo>
                      <a:pt x="210" y="599"/>
                    </a:lnTo>
                    <a:lnTo>
                      <a:pt x="642" y="599"/>
                    </a:lnTo>
                    <a:lnTo>
                      <a:pt x="659" y="597"/>
                    </a:lnTo>
                    <a:lnTo>
                      <a:pt x="676" y="595"/>
                    </a:lnTo>
                    <a:lnTo>
                      <a:pt x="692" y="591"/>
                    </a:lnTo>
                    <a:lnTo>
                      <a:pt x="707" y="586"/>
                    </a:lnTo>
                    <a:lnTo>
                      <a:pt x="721" y="578"/>
                    </a:lnTo>
                    <a:lnTo>
                      <a:pt x="735" y="571"/>
                    </a:lnTo>
                    <a:lnTo>
                      <a:pt x="748" y="561"/>
                    </a:lnTo>
                    <a:lnTo>
                      <a:pt x="760" y="550"/>
                    </a:lnTo>
                    <a:lnTo>
                      <a:pt x="771" y="539"/>
                    </a:lnTo>
                    <a:lnTo>
                      <a:pt x="780" y="526"/>
                    </a:lnTo>
                    <a:lnTo>
                      <a:pt x="789" y="512"/>
                    </a:lnTo>
                    <a:lnTo>
                      <a:pt x="795" y="498"/>
                    </a:lnTo>
                    <a:lnTo>
                      <a:pt x="801" y="483"/>
                    </a:lnTo>
                    <a:lnTo>
                      <a:pt x="805" y="467"/>
                    </a:lnTo>
                    <a:lnTo>
                      <a:pt x="808" y="451"/>
                    </a:lnTo>
                    <a:lnTo>
                      <a:pt x="808" y="434"/>
                    </a:lnTo>
                    <a:lnTo>
                      <a:pt x="808" y="417"/>
                    </a:lnTo>
                    <a:lnTo>
                      <a:pt x="806" y="397"/>
                    </a:lnTo>
                    <a:lnTo>
                      <a:pt x="802" y="379"/>
                    </a:lnTo>
                    <a:lnTo>
                      <a:pt x="796" y="360"/>
                    </a:lnTo>
                    <a:lnTo>
                      <a:pt x="792" y="351"/>
                    </a:lnTo>
                    <a:lnTo>
                      <a:pt x="788" y="342"/>
                    </a:lnTo>
                    <a:lnTo>
                      <a:pt x="783" y="333"/>
                    </a:lnTo>
                    <a:lnTo>
                      <a:pt x="778" y="325"/>
                    </a:lnTo>
                    <a:lnTo>
                      <a:pt x="773" y="316"/>
                    </a:lnTo>
                    <a:lnTo>
                      <a:pt x="766" y="308"/>
                    </a:lnTo>
                    <a:lnTo>
                      <a:pt x="759" y="301"/>
                    </a:lnTo>
                    <a:lnTo>
                      <a:pt x="751" y="2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0" name="Freeform 68">
                <a:extLst>
                  <a:ext uri="{FF2B5EF4-FFF2-40B4-BE49-F238E27FC236}">
                    <a16:creationId xmlns:a16="http://schemas.microsoft.com/office/drawing/2014/main" id="{24A5F0D3-DCB5-40D2-A027-10EDA02818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3450" y="798513"/>
                <a:ext cx="146050" cy="123825"/>
              </a:xfrm>
              <a:custGeom>
                <a:avLst/>
                <a:gdLst>
                  <a:gd name="T0" fmla="*/ 39 w 457"/>
                  <a:gd name="T1" fmla="*/ 386 h 388"/>
                  <a:gd name="T2" fmla="*/ 50 w 457"/>
                  <a:gd name="T3" fmla="*/ 388 h 388"/>
                  <a:gd name="T4" fmla="*/ 59 w 457"/>
                  <a:gd name="T5" fmla="*/ 383 h 388"/>
                  <a:gd name="T6" fmla="*/ 62 w 457"/>
                  <a:gd name="T7" fmla="*/ 374 h 388"/>
                  <a:gd name="T8" fmla="*/ 60 w 457"/>
                  <a:gd name="T9" fmla="*/ 365 h 388"/>
                  <a:gd name="T10" fmla="*/ 42 w 457"/>
                  <a:gd name="T11" fmla="*/ 326 h 388"/>
                  <a:gd name="T12" fmla="*/ 32 w 457"/>
                  <a:gd name="T13" fmla="*/ 284 h 388"/>
                  <a:gd name="T14" fmla="*/ 31 w 457"/>
                  <a:gd name="T15" fmla="*/ 243 h 388"/>
                  <a:gd name="T16" fmla="*/ 35 w 457"/>
                  <a:gd name="T17" fmla="*/ 210 h 388"/>
                  <a:gd name="T18" fmla="*/ 44 w 457"/>
                  <a:gd name="T19" fmla="*/ 178 h 388"/>
                  <a:gd name="T20" fmla="*/ 68 w 457"/>
                  <a:gd name="T21" fmla="*/ 130 h 388"/>
                  <a:gd name="T22" fmla="*/ 112 w 457"/>
                  <a:gd name="T23" fmla="*/ 82 h 388"/>
                  <a:gd name="T24" fmla="*/ 168 w 457"/>
                  <a:gd name="T25" fmla="*/ 48 h 388"/>
                  <a:gd name="T26" fmla="*/ 199 w 457"/>
                  <a:gd name="T27" fmla="*/ 37 h 388"/>
                  <a:gd name="T28" fmla="*/ 232 w 457"/>
                  <a:gd name="T29" fmla="*/ 31 h 388"/>
                  <a:gd name="T30" fmla="*/ 267 w 457"/>
                  <a:gd name="T31" fmla="*/ 30 h 388"/>
                  <a:gd name="T32" fmla="*/ 305 w 457"/>
                  <a:gd name="T33" fmla="*/ 36 h 388"/>
                  <a:gd name="T34" fmla="*/ 341 w 457"/>
                  <a:gd name="T35" fmla="*/ 48 h 388"/>
                  <a:gd name="T36" fmla="*/ 374 w 457"/>
                  <a:gd name="T37" fmla="*/ 65 h 388"/>
                  <a:gd name="T38" fmla="*/ 404 w 457"/>
                  <a:gd name="T39" fmla="*/ 87 h 388"/>
                  <a:gd name="T40" fmla="*/ 430 w 457"/>
                  <a:gd name="T41" fmla="*/ 115 h 388"/>
                  <a:gd name="T42" fmla="*/ 443 w 457"/>
                  <a:gd name="T43" fmla="*/ 121 h 388"/>
                  <a:gd name="T44" fmla="*/ 452 w 457"/>
                  <a:gd name="T45" fmla="*/ 118 h 388"/>
                  <a:gd name="T46" fmla="*/ 457 w 457"/>
                  <a:gd name="T47" fmla="*/ 105 h 388"/>
                  <a:gd name="T48" fmla="*/ 454 w 457"/>
                  <a:gd name="T49" fmla="*/ 98 h 388"/>
                  <a:gd name="T50" fmla="*/ 424 w 457"/>
                  <a:gd name="T51" fmla="*/ 66 h 388"/>
                  <a:gd name="T52" fmla="*/ 391 w 457"/>
                  <a:gd name="T53" fmla="*/ 40 h 388"/>
                  <a:gd name="T54" fmla="*/ 352 w 457"/>
                  <a:gd name="T55" fmla="*/ 20 h 388"/>
                  <a:gd name="T56" fmla="*/ 312 w 457"/>
                  <a:gd name="T57" fmla="*/ 7 h 388"/>
                  <a:gd name="T58" fmla="*/ 270 w 457"/>
                  <a:gd name="T59" fmla="*/ 0 h 388"/>
                  <a:gd name="T60" fmla="*/ 229 w 457"/>
                  <a:gd name="T61" fmla="*/ 1 h 388"/>
                  <a:gd name="T62" fmla="*/ 191 w 457"/>
                  <a:gd name="T63" fmla="*/ 8 h 388"/>
                  <a:gd name="T64" fmla="*/ 156 w 457"/>
                  <a:gd name="T65" fmla="*/ 21 h 388"/>
                  <a:gd name="T66" fmla="*/ 123 w 457"/>
                  <a:gd name="T67" fmla="*/ 37 h 388"/>
                  <a:gd name="T68" fmla="*/ 93 w 457"/>
                  <a:gd name="T69" fmla="*/ 58 h 388"/>
                  <a:gd name="T70" fmla="*/ 66 w 457"/>
                  <a:gd name="T71" fmla="*/ 84 h 388"/>
                  <a:gd name="T72" fmla="*/ 44 w 457"/>
                  <a:gd name="T73" fmla="*/ 113 h 388"/>
                  <a:gd name="T74" fmla="*/ 25 w 457"/>
                  <a:gd name="T75" fmla="*/ 145 h 388"/>
                  <a:gd name="T76" fmla="*/ 12 w 457"/>
                  <a:gd name="T77" fmla="*/ 179 h 388"/>
                  <a:gd name="T78" fmla="*/ 3 w 457"/>
                  <a:gd name="T79" fmla="*/ 217 h 388"/>
                  <a:gd name="T80" fmla="*/ 0 w 457"/>
                  <a:gd name="T81" fmla="*/ 254 h 388"/>
                  <a:gd name="T82" fmla="*/ 5 w 457"/>
                  <a:gd name="T83" fmla="*/ 304 h 388"/>
                  <a:gd name="T84" fmla="*/ 19 w 457"/>
                  <a:gd name="T85" fmla="*/ 352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57" h="388">
                    <a:moveTo>
                      <a:pt x="34" y="380"/>
                    </a:moveTo>
                    <a:lnTo>
                      <a:pt x="36" y="384"/>
                    </a:lnTo>
                    <a:lnTo>
                      <a:pt x="39" y="386"/>
                    </a:lnTo>
                    <a:lnTo>
                      <a:pt x="43" y="388"/>
                    </a:lnTo>
                    <a:lnTo>
                      <a:pt x="47" y="388"/>
                    </a:lnTo>
                    <a:lnTo>
                      <a:pt x="50" y="388"/>
                    </a:lnTo>
                    <a:lnTo>
                      <a:pt x="54" y="386"/>
                    </a:lnTo>
                    <a:lnTo>
                      <a:pt x="56" y="385"/>
                    </a:lnTo>
                    <a:lnTo>
                      <a:pt x="59" y="383"/>
                    </a:lnTo>
                    <a:lnTo>
                      <a:pt x="60" y="379"/>
                    </a:lnTo>
                    <a:lnTo>
                      <a:pt x="61" y="377"/>
                    </a:lnTo>
                    <a:lnTo>
                      <a:pt x="62" y="374"/>
                    </a:lnTo>
                    <a:lnTo>
                      <a:pt x="62" y="371"/>
                    </a:lnTo>
                    <a:lnTo>
                      <a:pt x="61" y="369"/>
                    </a:lnTo>
                    <a:lnTo>
                      <a:pt x="60" y="365"/>
                    </a:lnTo>
                    <a:lnTo>
                      <a:pt x="53" y="353"/>
                    </a:lnTo>
                    <a:lnTo>
                      <a:pt x="47" y="340"/>
                    </a:lnTo>
                    <a:lnTo>
                      <a:pt x="42" y="326"/>
                    </a:lnTo>
                    <a:lnTo>
                      <a:pt x="37" y="312"/>
                    </a:lnTo>
                    <a:lnTo>
                      <a:pt x="34" y="298"/>
                    </a:lnTo>
                    <a:lnTo>
                      <a:pt x="32" y="284"/>
                    </a:lnTo>
                    <a:lnTo>
                      <a:pt x="31" y="269"/>
                    </a:lnTo>
                    <a:lnTo>
                      <a:pt x="30" y="254"/>
                    </a:lnTo>
                    <a:lnTo>
                      <a:pt x="31" y="243"/>
                    </a:lnTo>
                    <a:lnTo>
                      <a:pt x="32" y="232"/>
                    </a:lnTo>
                    <a:lnTo>
                      <a:pt x="33" y="221"/>
                    </a:lnTo>
                    <a:lnTo>
                      <a:pt x="35" y="210"/>
                    </a:lnTo>
                    <a:lnTo>
                      <a:pt x="37" y="198"/>
                    </a:lnTo>
                    <a:lnTo>
                      <a:pt x="40" y="189"/>
                    </a:lnTo>
                    <a:lnTo>
                      <a:pt x="44" y="178"/>
                    </a:lnTo>
                    <a:lnTo>
                      <a:pt x="48" y="167"/>
                    </a:lnTo>
                    <a:lnTo>
                      <a:pt x="58" y="148"/>
                    </a:lnTo>
                    <a:lnTo>
                      <a:pt x="68" y="130"/>
                    </a:lnTo>
                    <a:lnTo>
                      <a:pt x="81" y="113"/>
                    </a:lnTo>
                    <a:lnTo>
                      <a:pt x="96" y="97"/>
                    </a:lnTo>
                    <a:lnTo>
                      <a:pt x="112" y="82"/>
                    </a:lnTo>
                    <a:lnTo>
                      <a:pt x="129" y="69"/>
                    </a:lnTo>
                    <a:lnTo>
                      <a:pt x="147" y="57"/>
                    </a:lnTo>
                    <a:lnTo>
                      <a:pt x="168" y="48"/>
                    </a:lnTo>
                    <a:lnTo>
                      <a:pt x="177" y="44"/>
                    </a:lnTo>
                    <a:lnTo>
                      <a:pt x="188" y="40"/>
                    </a:lnTo>
                    <a:lnTo>
                      <a:pt x="199" y="37"/>
                    </a:lnTo>
                    <a:lnTo>
                      <a:pt x="210" y="35"/>
                    </a:lnTo>
                    <a:lnTo>
                      <a:pt x="220" y="33"/>
                    </a:lnTo>
                    <a:lnTo>
                      <a:pt x="232" y="31"/>
                    </a:lnTo>
                    <a:lnTo>
                      <a:pt x="243" y="30"/>
                    </a:lnTo>
                    <a:lnTo>
                      <a:pt x="255" y="30"/>
                    </a:lnTo>
                    <a:lnTo>
                      <a:pt x="267" y="30"/>
                    </a:lnTo>
                    <a:lnTo>
                      <a:pt x="280" y="31"/>
                    </a:lnTo>
                    <a:lnTo>
                      <a:pt x="293" y="34"/>
                    </a:lnTo>
                    <a:lnTo>
                      <a:pt x="305" y="36"/>
                    </a:lnTo>
                    <a:lnTo>
                      <a:pt x="318" y="39"/>
                    </a:lnTo>
                    <a:lnTo>
                      <a:pt x="330" y="43"/>
                    </a:lnTo>
                    <a:lnTo>
                      <a:pt x="341" y="48"/>
                    </a:lnTo>
                    <a:lnTo>
                      <a:pt x="352" y="53"/>
                    </a:lnTo>
                    <a:lnTo>
                      <a:pt x="364" y="58"/>
                    </a:lnTo>
                    <a:lnTo>
                      <a:pt x="374" y="65"/>
                    </a:lnTo>
                    <a:lnTo>
                      <a:pt x="384" y="72"/>
                    </a:lnTo>
                    <a:lnTo>
                      <a:pt x="395" y="80"/>
                    </a:lnTo>
                    <a:lnTo>
                      <a:pt x="404" y="87"/>
                    </a:lnTo>
                    <a:lnTo>
                      <a:pt x="413" y="97"/>
                    </a:lnTo>
                    <a:lnTo>
                      <a:pt x="423" y="105"/>
                    </a:lnTo>
                    <a:lnTo>
                      <a:pt x="430" y="115"/>
                    </a:lnTo>
                    <a:lnTo>
                      <a:pt x="435" y="119"/>
                    </a:lnTo>
                    <a:lnTo>
                      <a:pt x="441" y="121"/>
                    </a:lnTo>
                    <a:lnTo>
                      <a:pt x="443" y="121"/>
                    </a:lnTo>
                    <a:lnTo>
                      <a:pt x="446" y="120"/>
                    </a:lnTo>
                    <a:lnTo>
                      <a:pt x="449" y="120"/>
                    </a:lnTo>
                    <a:lnTo>
                      <a:pt x="452" y="118"/>
                    </a:lnTo>
                    <a:lnTo>
                      <a:pt x="455" y="114"/>
                    </a:lnTo>
                    <a:lnTo>
                      <a:pt x="457" y="107"/>
                    </a:lnTo>
                    <a:lnTo>
                      <a:pt x="457" y="105"/>
                    </a:lnTo>
                    <a:lnTo>
                      <a:pt x="457" y="102"/>
                    </a:lnTo>
                    <a:lnTo>
                      <a:pt x="456" y="100"/>
                    </a:lnTo>
                    <a:lnTo>
                      <a:pt x="454" y="98"/>
                    </a:lnTo>
                    <a:lnTo>
                      <a:pt x="444" y="86"/>
                    </a:lnTo>
                    <a:lnTo>
                      <a:pt x="434" y="75"/>
                    </a:lnTo>
                    <a:lnTo>
                      <a:pt x="424" y="66"/>
                    </a:lnTo>
                    <a:lnTo>
                      <a:pt x="413" y="56"/>
                    </a:lnTo>
                    <a:lnTo>
                      <a:pt x="402" y="48"/>
                    </a:lnTo>
                    <a:lnTo>
                      <a:pt x="391" y="40"/>
                    </a:lnTo>
                    <a:lnTo>
                      <a:pt x="378" y="33"/>
                    </a:lnTo>
                    <a:lnTo>
                      <a:pt x="365" y="26"/>
                    </a:lnTo>
                    <a:lnTo>
                      <a:pt x="352" y="20"/>
                    </a:lnTo>
                    <a:lnTo>
                      <a:pt x="339" y="14"/>
                    </a:lnTo>
                    <a:lnTo>
                      <a:pt x="325" y="10"/>
                    </a:lnTo>
                    <a:lnTo>
                      <a:pt x="312" y="7"/>
                    </a:lnTo>
                    <a:lnTo>
                      <a:pt x="297" y="4"/>
                    </a:lnTo>
                    <a:lnTo>
                      <a:pt x="283" y="1"/>
                    </a:lnTo>
                    <a:lnTo>
                      <a:pt x="270" y="0"/>
                    </a:lnTo>
                    <a:lnTo>
                      <a:pt x="255" y="0"/>
                    </a:lnTo>
                    <a:lnTo>
                      <a:pt x="242" y="0"/>
                    </a:lnTo>
                    <a:lnTo>
                      <a:pt x="229" y="1"/>
                    </a:lnTo>
                    <a:lnTo>
                      <a:pt x="216" y="4"/>
                    </a:lnTo>
                    <a:lnTo>
                      <a:pt x="203" y="6"/>
                    </a:lnTo>
                    <a:lnTo>
                      <a:pt x="191" y="8"/>
                    </a:lnTo>
                    <a:lnTo>
                      <a:pt x="180" y="12"/>
                    </a:lnTo>
                    <a:lnTo>
                      <a:pt x="168" y="15"/>
                    </a:lnTo>
                    <a:lnTo>
                      <a:pt x="156" y="21"/>
                    </a:lnTo>
                    <a:lnTo>
                      <a:pt x="144" y="25"/>
                    </a:lnTo>
                    <a:lnTo>
                      <a:pt x="134" y="31"/>
                    </a:lnTo>
                    <a:lnTo>
                      <a:pt x="123" y="37"/>
                    </a:lnTo>
                    <a:lnTo>
                      <a:pt x="112" y="44"/>
                    </a:lnTo>
                    <a:lnTo>
                      <a:pt x="103" y="51"/>
                    </a:lnTo>
                    <a:lnTo>
                      <a:pt x="93" y="58"/>
                    </a:lnTo>
                    <a:lnTo>
                      <a:pt x="83" y="67"/>
                    </a:lnTo>
                    <a:lnTo>
                      <a:pt x="75" y="75"/>
                    </a:lnTo>
                    <a:lnTo>
                      <a:pt x="66" y="84"/>
                    </a:lnTo>
                    <a:lnTo>
                      <a:pt x="59" y="94"/>
                    </a:lnTo>
                    <a:lnTo>
                      <a:pt x="51" y="103"/>
                    </a:lnTo>
                    <a:lnTo>
                      <a:pt x="44" y="113"/>
                    </a:lnTo>
                    <a:lnTo>
                      <a:pt x="37" y="124"/>
                    </a:lnTo>
                    <a:lnTo>
                      <a:pt x="31" y="134"/>
                    </a:lnTo>
                    <a:lnTo>
                      <a:pt x="25" y="145"/>
                    </a:lnTo>
                    <a:lnTo>
                      <a:pt x="20" y="156"/>
                    </a:lnTo>
                    <a:lnTo>
                      <a:pt x="16" y="167"/>
                    </a:lnTo>
                    <a:lnTo>
                      <a:pt x="12" y="179"/>
                    </a:lnTo>
                    <a:lnTo>
                      <a:pt x="8" y="191"/>
                    </a:lnTo>
                    <a:lnTo>
                      <a:pt x="5" y="204"/>
                    </a:lnTo>
                    <a:lnTo>
                      <a:pt x="3" y="217"/>
                    </a:lnTo>
                    <a:lnTo>
                      <a:pt x="2" y="228"/>
                    </a:lnTo>
                    <a:lnTo>
                      <a:pt x="1" y="241"/>
                    </a:lnTo>
                    <a:lnTo>
                      <a:pt x="0" y="254"/>
                    </a:lnTo>
                    <a:lnTo>
                      <a:pt x="1" y="271"/>
                    </a:lnTo>
                    <a:lnTo>
                      <a:pt x="3" y="288"/>
                    </a:lnTo>
                    <a:lnTo>
                      <a:pt x="5" y="304"/>
                    </a:lnTo>
                    <a:lnTo>
                      <a:pt x="8" y="320"/>
                    </a:lnTo>
                    <a:lnTo>
                      <a:pt x="14" y="335"/>
                    </a:lnTo>
                    <a:lnTo>
                      <a:pt x="19" y="352"/>
                    </a:lnTo>
                    <a:lnTo>
                      <a:pt x="25" y="366"/>
                    </a:lnTo>
                    <a:lnTo>
                      <a:pt x="34" y="3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F07B712-E305-4FB7-9FC7-6E6F2204D579}"/>
              </a:ext>
            </a:extLst>
          </p:cNvPr>
          <p:cNvGrpSpPr/>
          <p:nvPr/>
        </p:nvGrpSpPr>
        <p:grpSpPr>
          <a:xfrm>
            <a:off x="4157236" y="4505048"/>
            <a:ext cx="418315" cy="418315"/>
            <a:chOff x="7762138" y="3202842"/>
            <a:chExt cx="418315" cy="418315"/>
          </a:xfrm>
        </p:grpSpPr>
        <p:sp>
          <p:nvSpPr>
            <p:cNvPr id="1818" name="Oval 1817">
              <a:extLst>
                <a:ext uri="{FF2B5EF4-FFF2-40B4-BE49-F238E27FC236}">
                  <a16:creationId xmlns:a16="http://schemas.microsoft.com/office/drawing/2014/main" id="{9E1A9D47-2B26-48C4-B838-ABD4629438CB}"/>
                </a:ext>
              </a:extLst>
            </p:cNvPr>
            <p:cNvSpPr/>
            <p:nvPr/>
          </p:nvSpPr>
          <p:spPr>
            <a:xfrm>
              <a:off x="7762138" y="3202842"/>
              <a:ext cx="418315" cy="418315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41" name="Group 1840">
              <a:extLst>
                <a:ext uri="{FF2B5EF4-FFF2-40B4-BE49-F238E27FC236}">
                  <a16:creationId xmlns:a16="http://schemas.microsoft.com/office/drawing/2014/main" id="{4734F3A5-177B-4B48-858E-568E2183C6DA}"/>
                </a:ext>
              </a:extLst>
            </p:cNvPr>
            <p:cNvGrpSpPr/>
            <p:nvPr/>
          </p:nvGrpSpPr>
          <p:grpSpPr>
            <a:xfrm>
              <a:off x="7891453" y="3323285"/>
              <a:ext cx="159685" cy="177428"/>
              <a:chOff x="4911725" y="769938"/>
              <a:chExt cx="257175" cy="285750"/>
            </a:xfrm>
            <a:solidFill>
              <a:schemeClr val="bg1"/>
            </a:solidFill>
          </p:grpSpPr>
          <p:sp>
            <p:nvSpPr>
              <p:cNvPr id="1842" name="Freeform 69">
                <a:extLst>
                  <a:ext uri="{FF2B5EF4-FFF2-40B4-BE49-F238E27FC236}">
                    <a16:creationId xmlns:a16="http://schemas.microsoft.com/office/drawing/2014/main" id="{6F2A9769-5B5E-4108-83A0-DE845E085A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11725" y="769938"/>
                <a:ext cx="257175" cy="190500"/>
              </a:xfrm>
              <a:custGeom>
                <a:avLst/>
                <a:gdLst>
                  <a:gd name="T0" fmla="*/ 175 w 809"/>
                  <a:gd name="T1" fmla="*/ 565 h 598"/>
                  <a:gd name="T2" fmla="*/ 111 w 809"/>
                  <a:gd name="T3" fmla="*/ 537 h 598"/>
                  <a:gd name="T4" fmla="*/ 61 w 809"/>
                  <a:gd name="T5" fmla="*/ 488 h 598"/>
                  <a:gd name="T6" fmla="*/ 34 w 809"/>
                  <a:gd name="T7" fmla="*/ 423 h 598"/>
                  <a:gd name="T8" fmla="*/ 34 w 809"/>
                  <a:gd name="T9" fmla="*/ 356 h 598"/>
                  <a:gd name="T10" fmla="*/ 59 w 809"/>
                  <a:gd name="T11" fmla="*/ 295 h 598"/>
                  <a:gd name="T12" fmla="*/ 104 w 809"/>
                  <a:gd name="T13" fmla="*/ 247 h 598"/>
                  <a:gd name="T14" fmla="*/ 163 w 809"/>
                  <a:gd name="T15" fmla="*/ 216 h 598"/>
                  <a:gd name="T16" fmla="*/ 205 w 809"/>
                  <a:gd name="T17" fmla="*/ 205 h 598"/>
                  <a:gd name="T18" fmla="*/ 212 w 809"/>
                  <a:gd name="T19" fmla="*/ 177 h 598"/>
                  <a:gd name="T20" fmla="*/ 233 w 809"/>
                  <a:gd name="T21" fmla="*/ 127 h 598"/>
                  <a:gd name="T22" fmla="*/ 282 w 809"/>
                  <a:gd name="T23" fmla="*/ 74 h 598"/>
                  <a:gd name="T24" fmla="*/ 348 w 809"/>
                  <a:gd name="T25" fmla="*/ 41 h 598"/>
                  <a:gd name="T26" fmla="*/ 419 w 809"/>
                  <a:gd name="T27" fmla="*/ 29 h 598"/>
                  <a:gd name="T28" fmla="*/ 479 w 809"/>
                  <a:gd name="T29" fmla="*/ 41 h 598"/>
                  <a:gd name="T30" fmla="*/ 530 w 809"/>
                  <a:gd name="T31" fmla="*/ 73 h 598"/>
                  <a:gd name="T32" fmla="*/ 572 w 809"/>
                  <a:gd name="T33" fmla="*/ 118 h 598"/>
                  <a:gd name="T34" fmla="*/ 600 w 809"/>
                  <a:gd name="T35" fmla="*/ 170 h 598"/>
                  <a:gd name="T36" fmla="*/ 616 w 809"/>
                  <a:gd name="T37" fmla="*/ 179 h 598"/>
                  <a:gd name="T38" fmla="*/ 675 w 809"/>
                  <a:gd name="T39" fmla="*/ 186 h 598"/>
                  <a:gd name="T40" fmla="*/ 708 w 809"/>
                  <a:gd name="T41" fmla="*/ 208 h 598"/>
                  <a:gd name="T42" fmla="*/ 724 w 809"/>
                  <a:gd name="T43" fmla="*/ 235 h 598"/>
                  <a:gd name="T44" fmla="*/ 726 w 809"/>
                  <a:gd name="T45" fmla="*/ 272 h 598"/>
                  <a:gd name="T46" fmla="*/ 719 w 809"/>
                  <a:gd name="T47" fmla="*/ 303 h 598"/>
                  <a:gd name="T48" fmla="*/ 737 w 809"/>
                  <a:gd name="T49" fmla="*/ 322 h 598"/>
                  <a:gd name="T50" fmla="*/ 764 w 809"/>
                  <a:gd name="T51" fmla="*/ 361 h 598"/>
                  <a:gd name="T52" fmla="*/ 779 w 809"/>
                  <a:gd name="T53" fmla="*/ 433 h 598"/>
                  <a:gd name="T54" fmla="*/ 768 w 809"/>
                  <a:gd name="T55" fmla="*/ 485 h 598"/>
                  <a:gd name="T56" fmla="*/ 738 w 809"/>
                  <a:gd name="T57" fmla="*/ 528 h 598"/>
                  <a:gd name="T58" fmla="*/ 695 w 809"/>
                  <a:gd name="T59" fmla="*/ 557 h 598"/>
                  <a:gd name="T60" fmla="*/ 643 w 809"/>
                  <a:gd name="T61" fmla="*/ 568 h 598"/>
                  <a:gd name="T62" fmla="*/ 757 w 809"/>
                  <a:gd name="T63" fmla="*/ 257 h 598"/>
                  <a:gd name="T64" fmla="*/ 748 w 809"/>
                  <a:gd name="T65" fmla="*/ 211 h 598"/>
                  <a:gd name="T66" fmla="*/ 726 w 809"/>
                  <a:gd name="T67" fmla="*/ 183 h 598"/>
                  <a:gd name="T68" fmla="*/ 699 w 809"/>
                  <a:gd name="T69" fmla="*/ 164 h 598"/>
                  <a:gd name="T70" fmla="*/ 642 w 809"/>
                  <a:gd name="T71" fmla="*/ 149 h 598"/>
                  <a:gd name="T72" fmla="*/ 601 w 809"/>
                  <a:gd name="T73" fmla="*/ 108 h 598"/>
                  <a:gd name="T74" fmla="*/ 558 w 809"/>
                  <a:gd name="T75" fmla="*/ 57 h 598"/>
                  <a:gd name="T76" fmla="*/ 502 w 809"/>
                  <a:gd name="T77" fmla="*/ 20 h 598"/>
                  <a:gd name="T78" fmla="*/ 437 w 809"/>
                  <a:gd name="T79" fmla="*/ 1 h 598"/>
                  <a:gd name="T80" fmla="*/ 348 w 809"/>
                  <a:gd name="T81" fmla="*/ 8 h 598"/>
                  <a:gd name="T82" fmla="*/ 271 w 809"/>
                  <a:gd name="T83" fmla="*/ 44 h 598"/>
                  <a:gd name="T84" fmla="*/ 216 w 809"/>
                  <a:gd name="T85" fmla="*/ 99 h 598"/>
                  <a:gd name="T86" fmla="*/ 184 w 809"/>
                  <a:gd name="T87" fmla="*/ 163 h 598"/>
                  <a:gd name="T88" fmla="*/ 128 w 809"/>
                  <a:gd name="T89" fmla="*/ 198 h 598"/>
                  <a:gd name="T90" fmla="*/ 66 w 809"/>
                  <a:gd name="T91" fmla="*/ 240 h 598"/>
                  <a:gd name="T92" fmla="*/ 22 w 809"/>
                  <a:gd name="T93" fmla="*/ 300 h 598"/>
                  <a:gd name="T94" fmla="*/ 1 w 809"/>
                  <a:gd name="T95" fmla="*/ 370 h 598"/>
                  <a:gd name="T96" fmla="*/ 2 w 809"/>
                  <a:gd name="T97" fmla="*/ 419 h 598"/>
                  <a:gd name="T98" fmla="*/ 26 w 809"/>
                  <a:gd name="T99" fmla="*/ 487 h 598"/>
                  <a:gd name="T100" fmla="*/ 77 w 809"/>
                  <a:gd name="T101" fmla="*/ 549 h 598"/>
                  <a:gd name="T102" fmla="*/ 149 w 809"/>
                  <a:gd name="T103" fmla="*/ 588 h 598"/>
                  <a:gd name="T104" fmla="*/ 199 w 809"/>
                  <a:gd name="T105" fmla="*/ 598 h 598"/>
                  <a:gd name="T106" fmla="*/ 676 w 809"/>
                  <a:gd name="T107" fmla="*/ 595 h 598"/>
                  <a:gd name="T108" fmla="*/ 735 w 809"/>
                  <a:gd name="T109" fmla="*/ 570 h 598"/>
                  <a:gd name="T110" fmla="*/ 780 w 809"/>
                  <a:gd name="T111" fmla="*/ 525 h 598"/>
                  <a:gd name="T112" fmla="*/ 804 w 809"/>
                  <a:gd name="T113" fmla="*/ 466 h 598"/>
                  <a:gd name="T114" fmla="*/ 805 w 809"/>
                  <a:gd name="T115" fmla="*/ 398 h 598"/>
                  <a:gd name="T116" fmla="*/ 787 w 809"/>
                  <a:gd name="T117" fmla="*/ 342 h 598"/>
                  <a:gd name="T118" fmla="*/ 766 w 809"/>
                  <a:gd name="T119" fmla="*/ 308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9" h="598">
                    <a:moveTo>
                      <a:pt x="643" y="568"/>
                    </a:moveTo>
                    <a:lnTo>
                      <a:pt x="209" y="568"/>
                    </a:lnTo>
                    <a:lnTo>
                      <a:pt x="192" y="567"/>
                    </a:lnTo>
                    <a:lnTo>
                      <a:pt x="175" y="565"/>
                    </a:lnTo>
                    <a:lnTo>
                      <a:pt x="158" y="559"/>
                    </a:lnTo>
                    <a:lnTo>
                      <a:pt x="141" y="554"/>
                    </a:lnTo>
                    <a:lnTo>
                      <a:pt x="126" y="545"/>
                    </a:lnTo>
                    <a:lnTo>
                      <a:pt x="111" y="537"/>
                    </a:lnTo>
                    <a:lnTo>
                      <a:pt x="97" y="526"/>
                    </a:lnTo>
                    <a:lnTo>
                      <a:pt x="84" y="514"/>
                    </a:lnTo>
                    <a:lnTo>
                      <a:pt x="72" y="502"/>
                    </a:lnTo>
                    <a:lnTo>
                      <a:pt x="61" y="488"/>
                    </a:lnTo>
                    <a:lnTo>
                      <a:pt x="53" y="473"/>
                    </a:lnTo>
                    <a:lnTo>
                      <a:pt x="44" y="457"/>
                    </a:lnTo>
                    <a:lnTo>
                      <a:pt x="38" y="441"/>
                    </a:lnTo>
                    <a:lnTo>
                      <a:pt x="34" y="423"/>
                    </a:lnTo>
                    <a:lnTo>
                      <a:pt x="31" y="406"/>
                    </a:lnTo>
                    <a:lnTo>
                      <a:pt x="30" y="388"/>
                    </a:lnTo>
                    <a:lnTo>
                      <a:pt x="30" y="372"/>
                    </a:lnTo>
                    <a:lnTo>
                      <a:pt x="34" y="356"/>
                    </a:lnTo>
                    <a:lnTo>
                      <a:pt x="38" y="340"/>
                    </a:lnTo>
                    <a:lnTo>
                      <a:pt x="43" y="325"/>
                    </a:lnTo>
                    <a:lnTo>
                      <a:pt x="51" y="310"/>
                    </a:lnTo>
                    <a:lnTo>
                      <a:pt x="59" y="295"/>
                    </a:lnTo>
                    <a:lnTo>
                      <a:pt x="69" y="282"/>
                    </a:lnTo>
                    <a:lnTo>
                      <a:pt x="80" y="269"/>
                    </a:lnTo>
                    <a:lnTo>
                      <a:pt x="91" y="257"/>
                    </a:lnTo>
                    <a:lnTo>
                      <a:pt x="104" y="247"/>
                    </a:lnTo>
                    <a:lnTo>
                      <a:pt x="117" y="237"/>
                    </a:lnTo>
                    <a:lnTo>
                      <a:pt x="132" y="229"/>
                    </a:lnTo>
                    <a:lnTo>
                      <a:pt x="147" y="221"/>
                    </a:lnTo>
                    <a:lnTo>
                      <a:pt x="163" y="216"/>
                    </a:lnTo>
                    <a:lnTo>
                      <a:pt x="179" y="211"/>
                    </a:lnTo>
                    <a:lnTo>
                      <a:pt x="196" y="209"/>
                    </a:lnTo>
                    <a:lnTo>
                      <a:pt x="201" y="208"/>
                    </a:lnTo>
                    <a:lnTo>
                      <a:pt x="205" y="205"/>
                    </a:lnTo>
                    <a:lnTo>
                      <a:pt x="208" y="201"/>
                    </a:lnTo>
                    <a:lnTo>
                      <a:pt x="209" y="195"/>
                    </a:lnTo>
                    <a:lnTo>
                      <a:pt x="210" y="186"/>
                    </a:lnTo>
                    <a:lnTo>
                      <a:pt x="212" y="177"/>
                    </a:lnTo>
                    <a:lnTo>
                      <a:pt x="214" y="168"/>
                    </a:lnTo>
                    <a:lnTo>
                      <a:pt x="217" y="159"/>
                    </a:lnTo>
                    <a:lnTo>
                      <a:pt x="224" y="142"/>
                    </a:lnTo>
                    <a:lnTo>
                      <a:pt x="233" y="127"/>
                    </a:lnTo>
                    <a:lnTo>
                      <a:pt x="243" y="112"/>
                    </a:lnTo>
                    <a:lnTo>
                      <a:pt x="255" y="98"/>
                    </a:lnTo>
                    <a:lnTo>
                      <a:pt x="268" y="85"/>
                    </a:lnTo>
                    <a:lnTo>
                      <a:pt x="282" y="74"/>
                    </a:lnTo>
                    <a:lnTo>
                      <a:pt x="298" y="64"/>
                    </a:lnTo>
                    <a:lnTo>
                      <a:pt x="314" y="55"/>
                    </a:lnTo>
                    <a:lnTo>
                      <a:pt x="330" y="48"/>
                    </a:lnTo>
                    <a:lnTo>
                      <a:pt x="348" y="41"/>
                    </a:lnTo>
                    <a:lnTo>
                      <a:pt x="365" y="36"/>
                    </a:lnTo>
                    <a:lnTo>
                      <a:pt x="384" y="33"/>
                    </a:lnTo>
                    <a:lnTo>
                      <a:pt x="402" y="31"/>
                    </a:lnTo>
                    <a:lnTo>
                      <a:pt x="419" y="29"/>
                    </a:lnTo>
                    <a:lnTo>
                      <a:pt x="435" y="31"/>
                    </a:lnTo>
                    <a:lnTo>
                      <a:pt x="450" y="33"/>
                    </a:lnTo>
                    <a:lnTo>
                      <a:pt x="464" y="36"/>
                    </a:lnTo>
                    <a:lnTo>
                      <a:pt x="479" y="41"/>
                    </a:lnTo>
                    <a:lnTo>
                      <a:pt x="493" y="48"/>
                    </a:lnTo>
                    <a:lnTo>
                      <a:pt x="506" y="55"/>
                    </a:lnTo>
                    <a:lnTo>
                      <a:pt x="519" y="64"/>
                    </a:lnTo>
                    <a:lnTo>
                      <a:pt x="530" y="73"/>
                    </a:lnTo>
                    <a:lnTo>
                      <a:pt x="542" y="84"/>
                    </a:lnTo>
                    <a:lnTo>
                      <a:pt x="553" y="95"/>
                    </a:lnTo>
                    <a:lnTo>
                      <a:pt x="562" y="107"/>
                    </a:lnTo>
                    <a:lnTo>
                      <a:pt x="572" y="118"/>
                    </a:lnTo>
                    <a:lnTo>
                      <a:pt x="581" y="131"/>
                    </a:lnTo>
                    <a:lnTo>
                      <a:pt x="587" y="144"/>
                    </a:lnTo>
                    <a:lnTo>
                      <a:pt x="595" y="157"/>
                    </a:lnTo>
                    <a:lnTo>
                      <a:pt x="600" y="170"/>
                    </a:lnTo>
                    <a:lnTo>
                      <a:pt x="602" y="174"/>
                    </a:lnTo>
                    <a:lnTo>
                      <a:pt x="606" y="177"/>
                    </a:lnTo>
                    <a:lnTo>
                      <a:pt x="611" y="179"/>
                    </a:lnTo>
                    <a:lnTo>
                      <a:pt x="616" y="179"/>
                    </a:lnTo>
                    <a:lnTo>
                      <a:pt x="631" y="178"/>
                    </a:lnTo>
                    <a:lnTo>
                      <a:pt x="646" y="179"/>
                    </a:lnTo>
                    <a:lnTo>
                      <a:pt x="661" y="181"/>
                    </a:lnTo>
                    <a:lnTo>
                      <a:pt x="675" y="186"/>
                    </a:lnTo>
                    <a:lnTo>
                      <a:pt x="688" y="192"/>
                    </a:lnTo>
                    <a:lnTo>
                      <a:pt x="698" y="200"/>
                    </a:lnTo>
                    <a:lnTo>
                      <a:pt x="704" y="203"/>
                    </a:lnTo>
                    <a:lnTo>
                      <a:pt x="708" y="208"/>
                    </a:lnTo>
                    <a:lnTo>
                      <a:pt x="712" y="213"/>
                    </a:lnTo>
                    <a:lnTo>
                      <a:pt x="717" y="218"/>
                    </a:lnTo>
                    <a:lnTo>
                      <a:pt x="721" y="226"/>
                    </a:lnTo>
                    <a:lnTo>
                      <a:pt x="724" y="235"/>
                    </a:lnTo>
                    <a:lnTo>
                      <a:pt x="726" y="244"/>
                    </a:lnTo>
                    <a:lnTo>
                      <a:pt x="727" y="253"/>
                    </a:lnTo>
                    <a:lnTo>
                      <a:pt x="727" y="263"/>
                    </a:lnTo>
                    <a:lnTo>
                      <a:pt x="726" y="272"/>
                    </a:lnTo>
                    <a:lnTo>
                      <a:pt x="723" y="282"/>
                    </a:lnTo>
                    <a:lnTo>
                      <a:pt x="720" y="293"/>
                    </a:lnTo>
                    <a:lnTo>
                      <a:pt x="719" y="298"/>
                    </a:lnTo>
                    <a:lnTo>
                      <a:pt x="719" y="303"/>
                    </a:lnTo>
                    <a:lnTo>
                      <a:pt x="721" y="308"/>
                    </a:lnTo>
                    <a:lnTo>
                      <a:pt x="725" y="312"/>
                    </a:lnTo>
                    <a:lnTo>
                      <a:pt x="731" y="316"/>
                    </a:lnTo>
                    <a:lnTo>
                      <a:pt x="737" y="322"/>
                    </a:lnTo>
                    <a:lnTo>
                      <a:pt x="742" y="327"/>
                    </a:lnTo>
                    <a:lnTo>
                      <a:pt x="747" y="332"/>
                    </a:lnTo>
                    <a:lnTo>
                      <a:pt x="756" y="346"/>
                    </a:lnTo>
                    <a:lnTo>
                      <a:pt x="764" y="361"/>
                    </a:lnTo>
                    <a:lnTo>
                      <a:pt x="770" y="377"/>
                    </a:lnTo>
                    <a:lnTo>
                      <a:pt x="774" y="396"/>
                    </a:lnTo>
                    <a:lnTo>
                      <a:pt x="778" y="414"/>
                    </a:lnTo>
                    <a:lnTo>
                      <a:pt x="779" y="433"/>
                    </a:lnTo>
                    <a:lnTo>
                      <a:pt x="778" y="447"/>
                    </a:lnTo>
                    <a:lnTo>
                      <a:pt x="775" y="461"/>
                    </a:lnTo>
                    <a:lnTo>
                      <a:pt x="772" y="474"/>
                    </a:lnTo>
                    <a:lnTo>
                      <a:pt x="768" y="485"/>
                    </a:lnTo>
                    <a:lnTo>
                      <a:pt x="762" y="498"/>
                    </a:lnTo>
                    <a:lnTo>
                      <a:pt x="755" y="509"/>
                    </a:lnTo>
                    <a:lnTo>
                      <a:pt x="748" y="520"/>
                    </a:lnTo>
                    <a:lnTo>
                      <a:pt x="738" y="528"/>
                    </a:lnTo>
                    <a:lnTo>
                      <a:pt x="728" y="538"/>
                    </a:lnTo>
                    <a:lnTo>
                      <a:pt x="719" y="545"/>
                    </a:lnTo>
                    <a:lnTo>
                      <a:pt x="707" y="552"/>
                    </a:lnTo>
                    <a:lnTo>
                      <a:pt x="695" y="557"/>
                    </a:lnTo>
                    <a:lnTo>
                      <a:pt x="682" y="563"/>
                    </a:lnTo>
                    <a:lnTo>
                      <a:pt x="669" y="566"/>
                    </a:lnTo>
                    <a:lnTo>
                      <a:pt x="657" y="568"/>
                    </a:lnTo>
                    <a:lnTo>
                      <a:pt x="643" y="568"/>
                    </a:lnTo>
                    <a:close/>
                    <a:moveTo>
                      <a:pt x="752" y="294"/>
                    </a:moveTo>
                    <a:lnTo>
                      <a:pt x="755" y="282"/>
                    </a:lnTo>
                    <a:lnTo>
                      <a:pt x="757" y="269"/>
                    </a:lnTo>
                    <a:lnTo>
                      <a:pt x="757" y="257"/>
                    </a:lnTo>
                    <a:lnTo>
                      <a:pt x="757" y="246"/>
                    </a:lnTo>
                    <a:lnTo>
                      <a:pt x="755" y="234"/>
                    </a:lnTo>
                    <a:lnTo>
                      <a:pt x="752" y="222"/>
                    </a:lnTo>
                    <a:lnTo>
                      <a:pt x="748" y="211"/>
                    </a:lnTo>
                    <a:lnTo>
                      <a:pt x="741" y="202"/>
                    </a:lnTo>
                    <a:lnTo>
                      <a:pt x="737" y="195"/>
                    </a:lnTo>
                    <a:lnTo>
                      <a:pt x="732" y="189"/>
                    </a:lnTo>
                    <a:lnTo>
                      <a:pt x="726" y="183"/>
                    </a:lnTo>
                    <a:lnTo>
                      <a:pt x="720" y="177"/>
                    </a:lnTo>
                    <a:lnTo>
                      <a:pt x="713" y="173"/>
                    </a:lnTo>
                    <a:lnTo>
                      <a:pt x="707" y="169"/>
                    </a:lnTo>
                    <a:lnTo>
                      <a:pt x="699" y="164"/>
                    </a:lnTo>
                    <a:lnTo>
                      <a:pt x="692" y="161"/>
                    </a:lnTo>
                    <a:lnTo>
                      <a:pt x="676" y="155"/>
                    </a:lnTo>
                    <a:lnTo>
                      <a:pt x="660" y="150"/>
                    </a:lnTo>
                    <a:lnTo>
                      <a:pt x="642" y="149"/>
                    </a:lnTo>
                    <a:lnTo>
                      <a:pt x="623" y="149"/>
                    </a:lnTo>
                    <a:lnTo>
                      <a:pt x="617" y="135"/>
                    </a:lnTo>
                    <a:lnTo>
                      <a:pt x="610" y="122"/>
                    </a:lnTo>
                    <a:lnTo>
                      <a:pt x="601" y="108"/>
                    </a:lnTo>
                    <a:lnTo>
                      <a:pt x="591" y="95"/>
                    </a:lnTo>
                    <a:lnTo>
                      <a:pt x="581" y="82"/>
                    </a:lnTo>
                    <a:lnTo>
                      <a:pt x="570" y="69"/>
                    </a:lnTo>
                    <a:lnTo>
                      <a:pt x="558" y="57"/>
                    </a:lnTo>
                    <a:lnTo>
                      <a:pt x="545" y="47"/>
                    </a:lnTo>
                    <a:lnTo>
                      <a:pt x="531" y="37"/>
                    </a:lnTo>
                    <a:lnTo>
                      <a:pt x="517" y="27"/>
                    </a:lnTo>
                    <a:lnTo>
                      <a:pt x="502" y="20"/>
                    </a:lnTo>
                    <a:lnTo>
                      <a:pt x="487" y="12"/>
                    </a:lnTo>
                    <a:lnTo>
                      <a:pt x="471" y="7"/>
                    </a:lnTo>
                    <a:lnTo>
                      <a:pt x="454" y="3"/>
                    </a:lnTo>
                    <a:lnTo>
                      <a:pt x="437" y="1"/>
                    </a:lnTo>
                    <a:lnTo>
                      <a:pt x="419" y="0"/>
                    </a:lnTo>
                    <a:lnTo>
                      <a:pt x="394" y="1"/>
                    </a:lnTo>
                    <a:lnTo>
                      <a:pt x="371" y="4"/>
                    </a:lnTo>
                    <a:lnTo>
                      <a:pt x="348" y="8"/>
                    </a:lnTo>
                    <a:lnTo>
                      <a:pt x="328" y="16"/>
                    </a:lnTo>
                    <a:lnTo>
                      <a:pt x="308" y="23"/>
                    </a:lnTo>
                    <a:lnTo>
                      <a:pt x="288" y="33"/>
                    </a:lnTo>
                    <a:lnTo>
                      <a:pt x="271" y="44"/>
                    </a:lnTo>
                    <a:lnTo>
                      <a:pt x="255" y="56"/>
                    </a:lnTo>
                    <a:lnTo>
                      <a:pt x="241" y="69"/>
                    </a:lnTo>
                    <a:lnTo>
                      <a:pt x="227" y="84"/>
                    </a:lnTo>
                    <a:lnTo>
                      <a:pt x="216" y="99"/>
                    </a:lnTo>
                    <a:lnTo>
                      <a:pt x="206" y="114"/>
                    </a:lnTo>
                    <a:lnTo>
                      <a:pt x="197" y="130"/>
                    </a:lnTo>
                    <a:lnTo>
                      <a:pt x="190" y="147"/>
                    </a:lnTo>
                    <a:lnTo>
                      <a:pt x="184" y="163"/>
                    </a:lnTo>
                    <a:lnTo>
                      <a:pt x="181" y="180"/>
                    </a:lnTo>
                    <a:lnTo>
                      <a:pt x="163" y="185"/>
                    </a:lnTo>
                    <a:lnTo>
                      <a:pt x="145" y="190"/>
                    </a:lnTo>
                    <a:lnTo>
                      <a:pt x="128" y="198"/>
                    </a:lnTo>
                    <a:lnTo>
                      <a:pt x="111" y="206"/>
                    </a:lnTo>
                    <a:lnTo>
                      <a:pt x="95" y="216"/>
                    </a:lnTo>
                    <a:lnTo>
                      <a:pt x="81" y="227"/>
                    </a:lnTo>
                    <a:lnTo>
                      <a:pt x="66" y="240"/>
                    </a:lnTo>
                    <a:lnTo>
                      <a:pt x="53" y="253"/>
                    </a:lnTo>
                    <a:lnTo>
                      <a:pt x="41" y="268"/>
                    </a:lnTo>
                    <a:lnTo>
                      <a:pt x="31" y="283"/>
                    </a:lnTo>
                    <a:lnTo>
                      <a:pt x="22" y="300"/>
                    </a:lnTo>
                    <a:lnTo>
                      <a:pt x="14" y="316"/>
                    </a:lnTo>
                    <a:lnTo>
                      <a:pt x="8" y="335"/>
                    </a:lnTo>
                    <a:lnTo>
                      <a:pt x="4" y="352"/>
                    </a:lnTo>
                    <a:lnTo>
                      <a:pt x="1" y="370"/>
                    </a:lnTo>
                    <a:lnTo>
                      <a:pt x="0" y="388"/>
                    </a:lnTo>
                    <a:lnTo>
                      <a:pt x="0" y="399"/>
                    </a:lnTo>
                    <a:lnTo>
                      <a:pt x="1" y="409"/>
                    </a:lnTo>
                    <a:lnTo>
                      <a:pt x="2" y="419"/>
                    </a:lnTo>
                    <a:lnTo>
                      <a:pt x="5" y="430"/>
                    </a:lnTo>
                    <a:lnTo>
                      <a:pt x="10" y="449"/>
                    </a:lnTo>
                    <a:lnTo>
                      <a:pt x="17" y="468"/>
                    </a:lnTo>
                    <a:lnTo>
                      <a:pt x="26" y="487"/>
                    </a:lnTo>
                    <a:lnTo>
                      <a:pt x="37" y="504"/>
                    </a:lnTo>
                    <a:lnTo>
                      <a:pt x="50" y="521"/>
                    </a:lnTo>
                    <a:lnTo>
                      <a:pt x="62" y="536"/>
                    </a:lnTo>
                    <a:lnTo>
                      <a:pt x="77" y="549"/>
                    </a:lnTo>
                    <a:lnTo>
                      <a:pt x="95" y="561"/>
                    </a:lnTo>
                    <a:lnTo>
                      <a:pt x="112" y="572"/>
                    </a:lnTo>
                    <a:lnTo>
                      <a:pt x="130" y="581"/>
                    </a:lnTo>
                    <a:lnTo>
                      <a:pt x="149" y="588"/>
                    </a:lnTo>
                    <a:lnTo>
                      <a:pt x="168" y="594"/>
                    </a:lnTo>
                    <a:lnTo>
                      <a:pt x="178" y="596"/>
                    </a:lnTo>
                    <a:lnTo>
                      <a:pt x="189" y="597"/>
                    </a:lnTo>
                    <a:lnTo>
                      <a:pt x="199" y="598"/>
                    </a:lnTo>
                    <a:lnTo>
                      <a:pt x="209" y="598"/>
                    </a:lnTo>
                    <a:lnTo>
                      <a:pt x="643" y="598"/>
                    </a:lnTo>
                    <a:lnTo>
                      <a:pt x="659" y="597"/>
                    </a:lnTo>
                    <a:lnTo>
                      <a:pt x="676" y="595"/>
                    </a:lnTo>
                    <a:lnTo>
                      <a:pt x="692" y="590"/>
                    </a:lnTo>
                    <a:lnTo>
                      <a:pt x="707" y="585"/>
                    </a:lnTo>
                    <a:lnTo>
                      <a:pt x="721" y="579"/>
                    </a:lnTo>
                    <a:lnTo>
                      <a:pt x="735" y="570"/>
                    </a:lnTo>
                    <a:lnTo>
                      <a:pt x="748" y="560"/>
                    </a:lnTo>
                    <a:lnTo>
                      <a:pt x="759" y="550"/>
                    </a:lnTo>
                    <a:lnTo>
                      <a:pt x="770" y="538"/>
                    </a:lnTo>
                    <a:lnTo>
                      <a:pt x="780" y="525"/>
                    </a:lnTo>
                    <a:lnTo>
                      <a:pt x="788" y="512"/>
                    </a:lnTo>
                    <a:lnTo>
                      <a:pt x="795" y="497"/>
                    </a:lnTo>
                    <a:lnTo>
                      <a:pt x="801" y="482"/>
                    </a:lnTo>
                    <a:lnTo>
                      <a:pt x="804" y="466"/>
                    </a:lnTo>
                    <a:lnTo>
                      <a:pt x="808" y="450"/>
                    </a:lnTo>
                    <a:lnTo>
                      <a:pt x="809" y="433"/>
                    </a:lnTo>
                    <a:lnTo>
                      <a:pt x="808" y="416"/>
                    </a:lnTo>
                    <a:lnTo>
                      <a:pt x="805" y="398"/>
                    </a:lnTo>
                    <a:lnTo>
                      <a:pt x="801" y="378"/>
                    </a:lnTo>
                    <a:lnTo>
                      <a:pt x="796" y="360"/>
                    </a:lnTo>
                    <a:lnTo>
                      <a:pt x="792" y="351"/>
                    </a:lnTo>
                    <a:lnTo>
                      <a:pt x="787" y="342"/>
                    </a:lnTo>
                    <a:lnTo>
                      <a:pt x="783" y="332"/>
                    </a:lnTo>
                    <a:lnTo>
                      <a:pt x="778" y="324"/>
                    </a:lnTo>
                    <a:lnTo>
                      <a:pt x="772" y="316"/>
                    </a:lnTo>
                    <a:lnTo>
                      <a:pt x="766" y="308"/>
                    </a:lnTo>
                    <a:lnTo>
                      <a:pt x="759" y="301"/>
                    </a:lnTo>
                    <a:lnTo>
                      <a:pt x="752" y="2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3" name="Freeform 70">
                <a:extLst>
                  <a:ext uri="{FF2B5EF4-FFF2-40B4-BE49-F238E27FC236}">
                    <a16:creationId xmlns:a16="http://schemas.microsoft.com/office/drawing/2014/main" id="{3CCF76B9-7BB0-404E-AE07-ECD3C0887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8413" y="9890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2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8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2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8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2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4" name="Freeform 71">
                <a:extLst>
                  <a:ext uri="{FF2B5EF4-FFF2-40B4-BE49-F238E27FC236}">
                    <a16:creationId xmlns:a16="http://schemas.microsoft.com/office/drawing/2014/main" id="{9E4EB6DE-80BF-499F-AB68-64B67E3144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0788" y="9890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2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8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2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8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2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5" name="Freeform 72">
                <a:extLst>
                  <a:ext uri="{FF2B5EF4-FFF2-40B4-BE49-F238E27FC236}">
                    <a16:creationId xmlns:a16="http://schemas.microsoft.com/office/drawing/2014/main" id="{804A5D51-9D1F-4484-82E9-79D84E3F49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3163" y="9890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2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3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1 w 30"/>
                  <a:gd name="T37" fmla="*/ 29 h 30"/>
                  <a:gd name="T38" fmla="*/ 24 w 30"/>
                  <a:gd name="T39" fmla="*/ 28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2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3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1" y="29"/>
                    </a:lnTo>
                    <a:lnTo>
                      <a:pt x="24" y="28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2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6" name="Freeform 73">
                <a:extLst>
                  <a:ext uri="{FF2B5EF4-FFF2-40B4-BE49-F238E27FC236}">
                    <a16:creationId xmlns:a16="http://schemas.microsoft.com/office/drawing/2014/main" id="{C9E14D6D-134C-41AD-876E-BB8735F7D1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8413" y="10271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7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7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7" name="Freeform 74">
                <a:extLst>
                  <a:ext uri="{FF2B5EF4-FFF2-40B4-BE49-F238E27FC236}">
                    <a16:creationId xmlns:a16="http://schemas.microsoft.com/office/drawing/2014/main" id="{B04CCC23-9BA7-4EBE-A0F0-4F707AF719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0788" y="10271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7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7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8" name="Freeform 75">
                <a:extLst>
                  <a:ext uri="{FF2B5EF4-FFF2-40B4-BE49-F238E27FC236}">
                    <a16:creationId xmlns:a16="http://schemas.microsoft.com/office/drawing/2014/main" id="{C7D3167F-6D31-4B59-9C5B-0CF98D7E99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3163" y="10271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3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1 w 30"/>
                  <a:gd name="T37" fmla="*/ 29 h 30"/>
                  <a:gd name="T38" fmla="*/ 24 w 30"/>
                  <a:gd name="T39" fmla="*/ 27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2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1" y="29"/>
                    </a:lnTo>
                    <a:lnTo>
                      <a:pt x="24" y="27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9" name="Freeform 76">
                <a:extLst>
                  <a:ext uri="{FF2B5EF4-FFF2-40B4-BE49-F238E27FC236}">
                    <a16:creationId xmlns:a16="http://schemas.microsoft.com/office/drawing/2014/main" id="{C132F448-C6B2-4C04-A328-4897334508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9363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8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8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0" name="Freeform 77">
                <a:extLst>
                  <a:ext uri="{FF2B5EF4-FFF2-40B4-BE49-F238E27FC236}">
                    <a16:creationId xmlns:a16="http://schemas.microsoft.com/office/drawing/2014/main" id="{CC581D82-81C5-4284-A11F-B3BA6D3078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6988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7 w 30"/>
                  <a:gd name="T35" fmla="*/ 30 h 30"/>
                  <a:gd name="T36" fmla="*/ 20 w 30"/>
                  <a:gd name="T37" fmla="*/ 29 h 30"/>
                  <a:gd name="T38" fmla="*/ 22 w 30"/>
                  <a:gd name="T39" fmla="*/ 28 h 30"/>
                  <a:gd name="T40" fmla="*/ 24 w 30"/>
                  <a:gd name="T41" fmla="*/ 25 h 30"/>
                  <a:gd name="T42" fmla="*/ 27 w 30"/>
                  <a:gd name="T43" fmla="*/ 23 h 30"/>
                  <a:gd name="T44" fmla="*/ 28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8 w 30"/>
                  <a:gd name="T53" fmla="*/ 9 h 30"/>
                  <a:gd name="T54" fmla="*/ 27 w 30"/>
                  <a:gd name="T55" fmla="*/ 6 h 30"/>
                  <a:gd name="T56" fmla="*/ 24 w 30"/>
                  <a:gd name="T57" fmla="*/ 4 h 30"/>
                  <a:gd name="T58" fmla="*/ 22 w 30"/>
                  <a:gd name="T59" fmla="*/ 3 h 30"/>
                  <a:gd name="T60" fmla="*/ 20 w 30"/>
                  <a:gd name="T61" fmla="*/ 1 h 30"/>
                  <a:gd name="T62" fmla="*/ 17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7" y="30"/>
                    </a:lnTo>
                    <a:lnTo>
                      <a:pt x="20" y="29"/>
                    </a:lnTo>
                    <a:lnTo>
                      <a:pt x="22" y="28"/>
                    </a:lnTo>
                    <a:lnTo>
                      <a:pt x="24" y="25"/>
                    </a:lnTo>
                    <a:lnTo>
                      <a:pt x="27" y="23"/>
                    </a:lnTo>
                    <a:lnTo>
                      <a:pt x="28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8" y="9"/>
                    </a:lnTo>
                    <a:lnTo>
                      <a:pt x="27" y="6"/>
                    </a:lnTo>
                    <a:lnTo>
                      <a:pt x="24" y="4"/>
                    </a:lnTo>
                    <a:lnTo>
                      <a:pt x="22" y="3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1" name="Freeform 78">
                <a:extLst>
                  <a:ext uri="{FF2B5EF4-FFF2-40B4-BE49-F238E27FC236}">
                    <a16:creationId xmlns:a16="http://schemas.microsoft.com/office/drawing/2014/main" id="{DC6F259D-D9A9-4F05-85BF-86F7871EA3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738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4 w 30"/>
                  <a:gd name="T39" fmla="*/ 28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4" y="28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2" name="Freeform 79">
                <a:extLst>
                  <a:ext uri="{FF2B5EF4-FFF2-40B4-BE49-F238E27FC236}">
                    <a16:creationId xmlns:a16="http://schemas.microsoft.com/office/drawing/2014/main" id="{719193C8-3DD1-4F12-AD33-168F30BADB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113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7 w 30"/>
                  <a:gd name="T7" fmla="*/ 3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3 w 30"/>
                  <a:gd name="T23" fmla="*/ 23 h 30"/>
                  <a:gd name="T24" fmla="*/ 4 w 30"/>
                  <a:gd name="T25" fmla="*/ 25 h 30"/>
                  <a:gd name="T26" fmla="*/ 7 w 30"/>
                  <a:gd name="T27" fmla="*/ 28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1 w 30"/>
                  <a:gd name="T37" fmla="*/ 29 h 30"/>
                  <a:gd name="T38" fmla="*/ 24 w 30"/>
                  <a:gd name="T39" fmla="*/ 28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3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7" y="3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7" y="28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1" y="29"/>
                    </a:lnTo>
                    <a:lnTo>
                      <a:pt x="24" y="28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3" name="Freeform 80">
                <a:extLst>
                  <a:ext uri="{FF2B5EF4-FFF2-40B4-BE49-F238E27FC236}">
                    <a16:creationId xmlns:a16="http://schemas.microsoft.com/office/drawing/2014/main" id="{8136B628-7F4B-4B7F-A389-9E076A0254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9363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8 w 30"/>
                  <a:gd name="T35" fmla="*/ 28 h 30"/>
                  <a:gd name="T36" fmla="*/ 20 w 30"/>
                  <a:gd name="T37" fmla="*/ 28 h 30"/>
                  <a:gd name="T38" fmla="*/ 23 w 30"/>
                  <a:gd name="T39" fmla="*/ 27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0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3" y="27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0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4" name="Freeform 81">
                <a:extLst>
                  <a:ext uri="{FF2B5EF4-FFF2-40B4-BE49-F238E27FC236}">
                    <a16:creationId xmlns:a16="http://schemas.microsoft.com/office/drawing/2014/main" id="{9063BE07-6597-4F97-ABCC-45B7BAD341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6988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7 w 30"/>
                  <a:gd name="T35" fmla="*/ 28 h 30"/>
                  <a:gd name="T36" fmla="*/ 20 w 30"/>
                  <a:gd name="T37" fmla="*/ 28 h 30"/>
                  <a:gd name="T38" fmla="*/ 22 w 30"/>
                  <a:gd name="T39" fmla="*/ 27 h 30"/>
                  <a:gd name="T40" fmla="*/ 24 w 30"/>
                  <a:gd name="T41" fmla="*/ 25 h 30"/>
                  <a:gd name="T42" fmla="*/ 27 w 30"/>
                  <a:gd name="T43" fmla="*/ 23 h 30"/>
                  <a:gd name="T44" fmla="*/ 28 w 30"/>
                  <a:gd name="T45" fmla="*/ 20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8 w 30"/>
                  <a:gd name="T53" fmla="*/ 9 h 30"/>
                  <a:gd name="T54" fmla="*/ 27 w 30"/>
                  <a:gd name="T55" fmla="*/ 6 h 30"/>
                  <a:gd name="T56" fmla="*/ 24 w 30"/>
                  <a:gd name="T57" fmla="*/ 4 h 30"/>
                  <a:gd name="T58" fmla="*/ 22 w 30"/>
                  <a:gd name="T59" fmla="*/ 2 h 30"/>
                  <a:gd name="T60" fmla="*/ 20 w 30"/>
                  <a:gd name="T61" fmla="*/ 1 h 30"/>
                  <a:gd name="T62" fmla="*/ 17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7" y="28"/>
                    </a:lnTo>
                    <a:lnTo>
                      <a:pt x="20" y="28"/>
                    </a:lnTo>
                    <a:lnTo>
                      <a:pt x="22" y="27"/>
                    </a:lnTo>
                    <a:lnTo>
                      <a:pt x="24" y="25"/>
                    </a:lnTo>
                    <a:lnTo>
                      <a:pt x="27" y="23"/>
                    </a:lnTo>
                    <a:lnTo>
                      <a:pt x="28" y="20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8" y="9"/>
                    </a:lnTo>
                    <a:lnTo>
                      <a:pt x="27" y="6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5" name="Freeform 82">
                <a:extLst>
                  <a:ext uri="{FF2B5EF4-FFF2-40B4-BE49-F238E27FC236}">
                    <a16:creationId xmlns:a16="http://schemas.microsoft.com/office/drawing/2014/main" id="{69B59590-201D-44B7-971A-942328CB0B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738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10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8 w 30"/>
                  <a:gd name="T35" fmla="*/ 28 h 30"/>
                  <a:gd name="T36" fmla="*/ 20 w 30"/>
                  <a:gd name="T37" fmla="*/ 28 h 30"/>
                  <a:gd name="T38" fmla="*/ 24 w 30"/>
                  <a:gd name="T39" fmla="*/ 27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0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10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4" y="27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0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6" name="Freeform 83">
                <a:extLst>
                  <a:ext uri="{FF2B5EF4-FFF2-40B4-BE49-F238E27FC236}">
                    <a16:creationId xmlns:a16="http://schemas.microsoft.com/office/drawing/2014/main" id="{3515D810-FDA2-4B74-A987-0D36BA5DD5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113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7 w 30"/>
                  <a:gd name="T7" fmla="*/ 2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3 w 30"/>
                  <a:gd name="T23" fmla="*/ 23 h 30"/>
                  <a:gd name="T24" fmla="*/ 4 w 30"/>
                  <a:gd name="T25" fmla="*/ 25 h 30"/>
                  <a:gd name="T26" fmla="*/ 7 w 30"/>
                  <a:gd name="T27" fmla="*/ 27 h 30"/>
                  <a:gd name="T28" fmla="*/ 10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8 w 30"/>
                  <a:gd name="T35" fmla="*/ 28 h 30"/>
                  <a:gd name="T36" fmla="*/ 21 w 30"/>
                  <a:gd name="T37" fmla="*/ 28 h 30"/>
                  <a:gd name="T38" fmla="*/ 24 w 30"/>
                  <a:gd name="T39" fmla="*/ 27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0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2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7" y="27"/>
                    </a:lnTo>
                    <a:lnTo>
                      <a:pt x="10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8" y="28"/>
                    </a:lnTo>
                    <a:lnTo>
                      <a:pt x="21" y="28"/>
                    </a:lnTo>
                    <a:lnTo>
                      <a:pt x="24" y="27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0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895" name="Group 1894">
            <a:extLst>
              <a:ext uri="{FF2B5EF4-FFF2-40B4-BE49-F238E27FC236}">
                <a16:creationId xmlns:a16="http://schemas.microsoft.com/office/drawing/2014/main" id="{8F5D856C-6F34-4998-A8DB-B11BF04C53AE}"/>
              </a:ext>
            </a:extLst>
          </p:cNvPr>
          <p:cNvGrpSpPr/>
          <p:nvPr/>
        </p:nvGrpSpPr>
        <p:grpSpPr>
          <a:xfrm>
            <a:off x="3275926" y="2520416"/>
            <a:ext cx="418315" cy="418315"/>
            <a:chOff x="3103103" y="1741116"/>
            <a:chExt cx="418315" cy="418315"/>
          </a:xfrm>
        </p:grpSpPr>
        <p:sp>
          <p:nvSpPr>
            <p:cNvPr id="1896" name="Oval 1895">
              <a:extLst>
                <a:ext uri="{FF2B5EF4-FFF2-40B4-BE49-F238E27FC236}">
                  <a16:creationId xmlns:a16="http://schemas.microsoft.com/office/drawing/2014/main" id="{2043B5E5-9FBD-4766-81A6-123B553725AF}"/>
                </a:ext>
              </a:extLst>
            </p:cNvPr>
            <p:cNvSpPr/>
            <p:nvPr/>
          </p:nvSpPr>
          <p:spPr>
            <a:xfrm>
              <a:off x="3103103" y="1741116"/>
              <a:ext cx="418315" cy="418315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97" name="Group 1896">
              <a:extLst>
                <a:ext uri="{FF2B5EF4-FFF2-40B4-BE49-F238E27FC236}">
                  <a16:creationId xmlns:a16="http://schemas.microsoft.com/office/drawing/2014/main" id="{F9D89489-FBDF-4801-9C8B-9C53FE24B9BC}"/>
                </a:ext>
              </a:extLst>
            </p:cNvPr>
            <p:cNvGrpSpPr/>
            <p:nvPr/>
          </p:nvGrpSpPr>
          <p:grpSpPr>
            <a:xfrm>
              <a:off x="3226503" y="1864516"/>
              <a:ext cx="171514" cy="171514"/>
              <a:chOff x="334963" y="769938"/>
              <a:chExt cx="276225" cy="276225"/>
            </a:xfrm>
            <a:solidFill>
              <a:schemeClr val="bg1"/>
            </a:solidFill>
          </p:grpSpPr>
          <p:sp>
            <p:nvSpPr>
              <p:cNvPr id="1898" name="Freeform 54">
                <a:extLst>
                  <a:ext uri="{FF2B5EF4-FFF2-40B4-BE49-F238E27FC236}">
                    <a16:creationId xmlns:a16="http://schemas.microsoft.com/office/drawing/2014/main" id="{33DDE7D8-88C0-4C13-A8C9-3B86307A8B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7825" y="812800"/>
                <a:ext cx="190500" cy="190500"/>
              </a:xfrm>
              <a:custGeom>
                <a:avLst/>
                <a:gdLst>
                  <a:gd name="T0" fmla="*/ 245 w 599"/>
                  <a:gd name="T1" fmla="*/ 563 h 599"/>
                  <a:gd name="T2" fmla="*/ 182 w 599"/>
                  <a:gd name="T3" fmla="*/ 542 h 599"/>
                  <a:gd name="T4" fmla="*/ 128 w 599"/>
                  <a:gd name="T5" fmla="*/ 508 h 599"/>
                  <a:gd name="T6" fmla="*/ 84 w 599"/>
                  <a:gd name="T7" fmla="*/ 461 h 599"/>
                  <a:gd name="T8" fmla="*/ 52 w 599"/>
                  <a:gd name="T9" fmla="*/ 405 h 599"/>
                  <a:gd name="T10" fmla="*/ 33 w 599"/>
                  <a:gd name="T11" fmla="*/ 341 h 599"/>
                  <a:gd name="T12" fmla="*/ 31 w 599"/>
                  <a:gd name="T13" fmla="*/ 272 h 599"/>
                  <a:gd name="T14" fmla="*/ 46 w 599"/>
                  <a:gd name="T15" fmla="*/ 207 h 599"/>
                  <a:gd name="T16" fmla="*/ 76 w 599"/>
                  <a:gd name="T17" fmla="*/ 149 h 599"/>
                  <a:gd name="T18" fmla="*/ 118 w 599"/>
                  <a:gd name="T19" fmla="*/ 100 h 599"/>
                  <a:gd name="T20" fmla="*/ 171 w 599"/>
                  <a:gd name="T21" fmla="*/ 62 h 599"/>
                  <a:gd name="T22" fmla="*/ 233 w 599"/>
                  <a:gd name="T23" fmla="*/ 39 h 599"/>
                  <a:gd name="T24" fmla="*/ 299 w 599"/>
                  <a:gd name="T25" fmla="*/ 30 h 599"/>
                  <a:gd name="T26" fmla="*/ 366 w 599"/>
                  <a:gd name="T27" fmla="*/ 39 h 599"/>
                  <a:gd name="T28" fmla="*/ 427 w 599"/>
                  <a:gd name="T29" fmla="*/ 62 h 599"/>
                  <a:gd name="T30" fmla="*/ 480 w 599"/>
                  <a:gd name="T31" fmla="*/ 100 h 599"/>
                  <a:gd name="T32" fmla="*/ 523 w 599"/>
                  <a:gd name="T33" fmla="*/ 149 h 599"/>
                  <a:gd name="T34" fmla="*/ 553 w 599"/>
                  <a:gd name="T35" fmla="*/ 207 h 599"/>
                  <a:gd name="T36" fmla="*/ 568 w 599"/>
                  <a:gd name="T37" fmla="*/ 272 h 599"/>
                  <a:gd name="T38" fmla="*/ 566 w 599"/>
                  <a:gd name="T39" fmla="*/ 341 h 599"/>
                  <a:gd name="T40" fmla="*/ 547 w 599"/>
                  <a:gd name="T41" fmla="*/ 405 h 599"/>
                  <a:gd name="T42" fmla="*/ 515 w 599"/>
                  <a:gd name="T43" fmla="*/ 461 h 599"/>
                  <a:gd name="T44" fmla="*/ 470 w 599"/>
                  <a:gd name="T45" fmla="*/ 508 h 599"/>
                  <a:gd name="T46" fmla="*/ 416 w 599"/>
                  <a:gd name="T47" fmla="*/ 542 h 599"/>
                  <a:gd name="T48" fmla="*/ 354 w 599"/>
                  <a:gd name="T49" fmla="*/ 563 h 599"/>
                  <a:gd name="T50" fmla="*/ 299 w 599"/>
                  <a:gd name="T51" fmla="*/ 0 h 599"/>
                  <a:gd name="T52" fmla="*/ 225 w 599"/>
                  <a:gd name="T53" fmla="*/ 10 h 599"/>
                  <a:gd name="T54" fmla="*/ 157 w 599"/>
                  <a:gd name="T55" fmla="*/ 37 h 599"/>
                  <a:gd name="T56" fmla="*/ 98 w 599"/>
                  <a:gd name="T57" fmla="*/ 79 h 599"/>
                  <a:gd name="T58" fmla="*/ 52 w 599"/>
                  <a:gd name="T59" fmla="*/ 132 h 599"/>
                  <a:gd name="T60" fmla="*/ 18 w 599"/>
                  <a:gd name="T61" fmla="*/ 196 h 599"/>
                  <a:gd name="T62" fmla="*/ 1 w 599"/>
                  <a:gd name="T63" fmla="*/ 269 h 599"/>
                  <a:gd name="T64" fmla="*/ 3 w 599"/>
                  <a:gd name="T65" fmla="*/ 345 h 599"/>
                  <a:gd name="T66" fmla="*/ 24 w 599"/>
                  <a:gd name="T67" fmla="*/ 416 h 599"/>
                  <a:gd name="T68" fmla="*/ 59 w 599"/>
                  <a:gd name="T69" fmla="*/ 479 h 599"/>
                  <a:gd name="T70" fmla="*/ 109 w 599"/>
                  <a:gd name="T71" fmla="*/ 530 h 599"/>
                  <a:gd name="T72" fmla="*/ 169 w 599"/>
                  <a:gd name="T73" fmla="*/ 570 h 599"/>
                  <a:gd name="T74" fmla="*/ 239 w 599"/>
                  <a:gd name="T75" fmla="*/ 592 h 599"/>
                  <a:gd name="T76" fmla="*/ 315 w 599"/>
                  <a:gd name="T77" fmla="*/ 599 h 599"/>
                  <a:gd name="T78" fmla="*/ 388 w 599"/>
                  <a:gd name="T79" fmla="*/ 585 h 599"/>
                  <a:gd name="T80" fmla="*/ 454 w 599"/>
                  <a:gd name="T81" fmla="*/ 556 h 599"/>
                  <a:gd name="T82" fmla="*/ 511 w 599"/>
                  <a:gd name="T83" fmla="*/ 511 h 599"/>
                  <a:gd name="T84" fmla="*/ 555 w 599"/>
                  <a:gd name="T85" fmla="*/ 455 h 599"/>
                  <a:gd name="T86" fmla="*/ 585 w 599"/>
                  <a:gd name="T87" fmla="*/ 389 h 599"/>
                  <a:gd name="T88" fmla="*/ 599 w 599"/>
                  <a:gd name="T89" fmla="*/ 315 h 599"/>
                  <a:gd name="T90" fmla="*/ 592 w 599"/>
                  <a:gd name="T91" fmla="*/ 239 h 599"/>
                  <a:gd name="T92" fmla="*/ 569 w 599"/>
                  <a:gd name="T93" fmla="*/ 169 h 599"/>
                  <a:gd name="T94" fmla="*/ 530 w 599"/>
                  <a:gd name="T95" fmla="*/ 110 h 599"/>
                  <a:gd name="T96" fmla="*/ 479 w 599"/>
                  <a:gd name="T97" fmla="*/ 59 h 599"/>
                  <a:gd name="T98" fmla="*/ 416 w 599"/>
                  <a:gd name="T99" fmla="*/ 24 h 599"/>
                  <a:gd name="T100" fmla="*/ 345 w 599"/>
                  <a:gd name="T101" fmla="*/ 4 h 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99" h="599">
                    <a:moveTo>
                      <a:pt x="299" y="569"/>
                    </a:moveTo>
                    <a:lnTo>
                      <a:pt x="285" y="569"/>
                    </a:lnTo>
                    <a:lnTo>
                      <a:pt x="272" y="568"/>
                    </a:lnTo>
                    <a:lnTo>
                      <a:pt x="258" y="566"/>
                    </a:lnTo>
                    <a:lnTo>
                      <a:pt x="245" y="563"/>
                    </a:lnTo>
                    <a:lnTo>
                      <a:pt x="233" y="560"/>
                    </a:lnTo>
                    <a:lnTo>
                      <a:pt x="220" y="557"/>
                    </a:lnTo>
                    <a:lnTo>
                      <a:pt x="207" y="553"/>
                    </a:lnTo>
                    <a:lnTo>
                      <a:pt x="194" y="547"/>
                    </a:lnTo>
                    <a:lnTo>
                      <a:pt x="182" y="542"/>
                    </a:lnTo>
                    <a:lnTo>
                      <a:pt x="171" y="537"/>
                    </a:lnTo>
                    <a:lnTo>
                      <a:pt x="160" y="530"/>
                    </a:lnTo>
                    <a:lnTo>
                      <a:pt x="149" y="523"/>
                    </a:lnTo>
                    <a:lnTo>
                      <a:pt x="138" y="515"/>
                    </a:lnTo>
                    <a:lnTo>
                      <a:pt x="128" y="508"/>
                    </a:lnTo>
                    <a:lnTo>
                      <a:pt x="118" y="499"/>
                    </a:lnTo>
                    <a:lnTo>
                      <a:pt x="108" y="491"/>
                    </a:lnTo>
                    <a:lnTo>
                      <a:pt x="100" y="481"/>
                    </a:lnTo>
                    <a:lnTo>
                      <a:pt x="91" y="471"/>
                    </a:lnTo>
                    <a:lnTo>
                      <a:pt x="84" y="461"/>
                    </a:lnTo>
                    <a:lnTo>
                      <a:pt x="76" y="450"/>
                    </a:lnTo>
                    <a:lnTo>
                      <a:pt x="69" y="439"/>
                    </a:lnTo>
                    <a:lnTo>
                      <a:pt x="62" y="429"/>
                    </a:lnTo>
                    <a:lnTo>
                      <a:pt x="57" y="417"/>
                    </a:lnTo>
                    <a:lnTo>
                      <a:pt x="52" y="405"/>
                    </a:lnTo>
                    <a:lnTo>
                      <a:pt x="46" y="392"/>
                    </a:lnTo>
                    <a:lnTo>
                      <a:pt x="42" y="379"/>
                    </a:lnTo>
                    <a:lnTo>
                      <a:pt x="39" y="368"/>
                    </a:lnTo>
                    <a:lnTo>
                      <a:pt x="36" y="354"/>
                    </a:lnTo>
                    <a:lnTo>
                      <a:pt x="33" y="341"/>
                    </a:lnTo>
                    <a:lnTo>
                      <a:pt x="31" y="327"/>
                    </a:lnTo>
                    <a:lnTo>
                      <a:pt x="30" y="313"/>
                    </a:lnTo>
                    <a:lnTo>
                      <a:pt x="30" y="299"/>
                    </a:lnTo>
                    <a:lnTo>
                      <a:pt x="30" y="285"/>
                    </a:lnTo>
                    <a:lnTo>
                      <a:pt x="31" y="272"/>
                    </a:lnTo>
                    <a:lnTo>
                      <a:pt x="33" y="258"/>
                    </a:lnTo>
                    <a:lnTo>
                      <a:pt x="36" y="245"/>
                    </a:lnTo>
                    <a:lnTo>
                      <a:pt x="39" y="233"/>
                    </a:lnTo>
                    <a:lnTo>
                      <a:pt x="42" y="220"/>
                    </a:lnTo>
                    <a:lnTo>
                      <a:pt x="46" y="207"/>
                    </a:lnTo>
                    <a:lnTo>
                      <a:pt x="52" y="195"/>
                    </a:lnTo>
                    <a:lnTo>
                      <a:pt x="57" y="182"/>
                    </a:lnTo>
                    <a:lnTo>
                      <a:pt x="62" y="172"/>
                    </a:lnTo>
                    <a:lnTo>
                      <a:pt x="69" y="160"/>
                    </a:lnTo>
                    <a:lnTo>
                      <a:pt x="76" y="149"/>
                    </a:lnTo>
                    <a:lnTo>
                      <a:pt x="84" y="138"/>
                    </a:lnTo>
                    <a:lnTo>
                      <a:pt x="91" y="129"/>
                    </a:lnTo>
                    <a:lnTo>
                      <a:pt x="100" y="118"/>
                    </a:lnTo>
                    <a:lnTo>
                      <a:pt x="108" y="110"/>
                    </a:lnTo>
                    <a:lnTo>
                      <a:pt x="118" y="100"/>
                    </a:lnTo>
                    <a:lnTo>
                      <a:pt x="128" y="91"/>
                    </a:lnTo>
                    <a:lnTo>
                      <a:pt x="138" y="84"/>
                    </a:lnTo>
                    <a:lnTo>
                      <a:pt x="149" y="76"/>
                    </a:lnTo>
                    <a:lnTo>
                      <a:pt x="160" y="69"/>
                    </a:lnTo>
                    <a:lnTo>
                      <a:pt x="171" y="62"/>
                    </a:lnTo>
                    <a:lnTo>
                      <a:pt x="182" y="57"/>
                    </a:lnTo>
                    <a:lnTo>
                      <a:pt x="194" y="52"/>
                    </a:lnTo>
                    <a:lnTo>
                      <a:pt x="207" y="46"/>
                    </a:lnTo>
                    <a:lnTo>
                      <a:pt x="220" y="42"/>
                    </a:lnTo>
                    <a:lnTo>
                      <a:pt x="233" y="39"/>
                    </a:lnTo>
                    <a:lnTo>
                      <a:pt x="245" y="36"/>
                    </a:lnTo>
                    <a:lnTo>
                      <a:pt x="258" y="34"/>
                    </a:lnTo>
                    <a:lnTo>
                      <a:pt x="272" y="31"/>
                    </a:lnTo>
                    <a:lnTo>
                      <a:pt x="285" y="30"/>
                    </a:lnTo>
                    <a:lnTo>
                      <a:pt x="299" y="30"/>
                    </a:lnTo>
                    <a:lnTo>
                      <a:pt x="313" y="30"/>
                    </a:lnTo>
                    <a:lnTo>
                      <a:pt x="327" y="31"/>
                    </a:lnTo>
                    <a:lnTo>
                      <a:pt x="341" y="34"/>
                    </a:lnTo>
                    <a:lnTo>
                      <a:pt x="354" y="36"/>
                    </a:lnTo>
                    <a:lnTo>
                      <a:pt x="366" y="39"/>
                    </a:lnTo>
                    <a:lnTo>
                      <a:pt x="379" y="42"/>
                    </a:lnTo>
                    <a:lnTo>
                      <a:pt x="392" y="46"/>
                    </a:lnTo>
                    <a:lnTo>
                      <a:pt x="404" y="52"/>
                    </a:lnTo>
                    <a:lnTo>
                      <a:pt x="416" y="57"/>
                    </a:lnTo>
                    <a:lnTo>
                      <a:pt x="427" y="62"/>
                    </a:lnTo>
                    <a:lnTo>
                      <a:pt x="439" y="69"/>
                    </a:lnTo>
                    <a:lnTo>
                      <a:pt x="450" y="76"/>
                    </a:lnTo>
                    <a:lnTo>
                      <a:pt x="461" y="84"/>
                    </a:lnTo>
                    <a:lnTo>
                      <a:pt x="470" y="91"/>
                    </a:lnTo>
                    <a:lnTo>
                      <a:pt x="480" y="100"/>
                    </a:lnTo>
                    <a:lnTo>
                      <a:pt x="490" y="110"/>
                    </a:lnTo>
                    <a:lnTo>
                      <a:pt x="499" y="118"/>
                    </a:lnTo>
                    <a:lnTo>
                      <a:pt x="507" y="129"/>
                    </a:lnTo>
                    <a:lnTo>
                      <a:pt x="515" y="138"/>
                    </a:lnTo>
                    <a:lnTo>
                      <a:pt x="523" y="149"/>
                    </a:lnTo>
                    <a:lnTo>
                      <a:pt x="530" y="160"/>
                    </a:lnTo>
                    <a:lnTo>
                      <a:pt x="537" y="172"/>
                    </a:lnTo>
                    <a:lnTo>
                      <a:pt x="542" y="182"/>
                    </a:lnTo>
                    <a:lnTo>
                      <a:pt x="547" y="195"/>
                    </a:lnTo>
                    <a:lnTo>
                      <a:pt x="553" y="207"/>
                    </a:lnTo>
                    <a:lnTo>
                      <a:pt x="557" y="220"/>
                    </a:lnTo>
                    <a:lnTo>
                      <a:pt x="560" y="233"/>
                    </a:lnTo>
                    <a:lnTo>
                      <a:pt x="563" y="245"/>
                    </a:lnTo>
                    <a:lnTo>
                      <a:pt x="566" y="258"/>
                    </a:lnTo>
                    <a:lnTo>
                      <a:pt x="568" y="272"/>
                    </a:lnTo>
                    <a:lnTo>
                      <a:pt x="569" y="285"/>
                    </a:lnTo>
                    <a:lnTo>
                      <a:pt x="569" y="299"/>
                    </a:lnTo>
                    <a:lnTo>
                      <a:pt x="569" y="313"/>
                    </a:lnTo>
                    <a:lnTo>
                      <a:pt x="568" y="327"/>
                    </a:lnTo>
                    <a:lnTo>
                      <a:pt x="566" y="341"/>
                    </a:lnTo>
                    <a:lnTo>
                      <a:pt x="563" y="354"/>
                    </a:lnTo>
                    <a:lnTo>
                      <a:pt x="560" y="368"/>
                    </a:lnTo>
                    <a:lnTo>
                      <a:pt x="557" y="379"/>
                    </a:lnTo>
                    <a:lnTo>
                      <a:pt x="553" y="392"/>
                    </a:lnTo>
                    <a:lnTo>
                      <a:pt x="547" y="405"/>
                    </a:lnTo>
                    <a:lnTo>
                      <a:pt x="542" y="417"/>
                    </a:lnTo>
                    <a:lnTo>
                      <a:pt x="537" y="429"/>
                    </a:lnTo>
                    <a:lnTo>
                      <a:pt x="530" y="439"/>
                    </a:lnTo>
                    <a:lnTo>
                      <a:pt x="523" y="450"/>
                    </a:lnTo>
                    <a:lnTo>
                      <a:pt x="515" y="461"/>
                    </a:lnTo>
                    <a:lnTo>
                      <a:pt x="507" y="471"/>
                    </a:lnTo>
                    <a:lnTo>
                      <a:pt x="499" y="481"/>
                    </a:lnTo>
                    <a:lnTo>
                      <a:pt x="490" y="491"/>
                    </a:lnTo>
                    <a:lnTo>
                      <a:pt x="480" y="499"/>
                    </a:lnTo>
                    <a:lnTo>
                      <a:pt x="470" y="508"/>
                    </a:lnTo>
                    <a:lnTo>
                      <a:pt x="461" y="515"/>
                    </a:lnTo>
                    <a:lnTo>
                      <a:pt x="450" y="523"/>
                    </a:lnTo>
                    <a:lnTo>
                      <a:pt x="439" y="530"/>
                    </a:lnTo>
                    <a:lnTo>
                      <a:pt x="427" y="537"/>
                    </a:lnTo>
                    <a:lnTo>
                      <a:pt x="416" y="542"/>
                    </a:lnTo>
                    <a:lnTo>
                      <a:pt x="404" y="547"/>
                    </a:lnTo>
                    <a:lnTo>
                      <a:pt x="392" y="553"/>
                    </a:lnTo>
                    <a:lnTo>
                      <a:pt x="379" y="557"/>
                    </a:lnTo>
                    <a:lnTo>
                      <a:pt x="366" y="560"/>
                    </a:lnTo>
                    <a:lnTo>
                      <a:pt x="354" y="563"/>
                    </a:lnTo>
                    <a:lnTo>
                      <a:pt x="341" y="566"/>
                    </a:lnTo>
                    <a:lnTo>
                      <a:pt x="327" y="568"/>
                    </a:lnTo>
                    <a:lnTo>
                      <a:pt x="313" y="569"/>
                    </a:lnTo>
                    <a:lnTo>
                      <a:pt x="299" y="569"/>
                    </a:lnTo>
                    <a:close/>
                    <a:moveTo>
                      <a:pt x="299" y="0"/>
                    </a:moveTo>
                    <a:lnTo>
                      <a:pt x="284" y="0"/>
                    </a:lnTo>
                    <a:lnTo>
                      <a:pt x="269" y="1"/>
                    </a:lnTo>
                    <a:lnTo>
                      <a:pt x="254" y="4"/>
                    </a:lnTo>
                    <a:lnTo>
                      <a:pt x="239" y="6"/>
                    </a:lnTo>
                    <a:lnTo>
                      <a:pt x="225" y="10"/>
                    </a:lnTo>
                    <a:lnTo>
                      <a:pt x="210" y="13"/>
                    </a:lnTo>
                    <a:lnTo>
                      <a:pt x="196" y="19"/>
                    </a:lnTo>
                    <a:lnTo>
                      <a:pt x="183" y="24"/>
                    </a:lnTo>
                    <a:lnTo>
                      <a:pt x="169" y="29"/>
                    </a:lnTo>
                    <a:lnTo>
                      <a:pt x="157" y="37"/>
                    </a:lnTo>
                    <a:lnTo>
                      <a:pt x="144" y="43"/>
                    </a:lnTo>
                    <a:lnTo>
                      <a:pt x="132" y="52"/>
                    </a:lnTo>
                    <a:lnTo>
                      <a:pt x="120" y="59"/>
                    </a:lnTo>
                    <a:lnTo>
                      <a:pt x="109" y="69"/>
                    </a:lnTo>
                    <a:lnTo>
                      <a:pt x="98" y="79"/>
                    </a:lnTo>
                    <a:lnTo>
                      <a:pt x="88" y="88"/>
                    </a:lnTo>
                    <a:lnTo>
                      <a:pt x="77" y="99"/>
                    </a:lnTo>
                    <a:lnTo>
                      <a:pt x="69" y="110"/>
                    </a:lnTo>
                    <a:lnTo>
                      <a:pt x="59" y="120"/>
                    </a:lnTo>
                    <a:lnTo>
                      <a:pt x="52" y="132"/>
                    </a:lnTo>
                    <a:lnTo>
                      <a:pt x="43" y="145"/>
                    </a:lnTo>
                    <a:lnTo>
                      <a:pt x="37" y="157"/>
                    </a:lnTo>
                    <a:lnTo>
                      <a:pt x="29" y="169"/>
                    </a:lnTo>
                    <a:lnTo>
                      <a:pt x="24" y="183"/>
                    </a:lnTo>
                    <a:lnTo>
                      <a:pt x="18" y="196"/>
                    </a:lnTo>
                    <a:lnTo>
                      <a:pt x="13" y="210"/>
                    </a:lnTo>
                    <a:lnTo>
                      <a:pt x="10" y="225"/>
                    </a:lnTo>
                    <a:lnTo>
                      <a:pt x="6" y="239"/>
                    </a:lnTo>
                    <a:lnTo>
                      <a:pt x="3" y="254"/>
                    </a:lnTo>
                    <a:lnTo>
                      <a:pt x="1" y="269"/>
                    </a:lnTo>
                    <a:lnTo>
                      <a:pt x="0" y="284"/>
                    </a:lnTo>
                    <a:lnTo>
                      <a:pt x="0" y="299"/>
                    </a:lnTo>
                    <a:lnTo>
                      <a:pt x="0" y="315"/>
                    </a:lnTo>
                    <a:lnTo>
                      <a:pt x="1" y="330"/>
                    </a:lnTo>
                    <a:lnTo>
                      <a:pt x="3" y="345"/>
                    </a:lnTo>
                    <a:lnTo>
                      <a:pt x="6" y="360"/>
                    </a:lnTo>
                    <a:lnTo>
                      <a:pt x="10" y="374"/>
                    </a:lnTo>
                    <a:lnTo>
                      <a:pt x="13" y="389"/>
                    </a:lnTo>
                    <a:lnTo>
                      <a:pt x="18" y="403"/>
                    </a:lnTo>
                    <a:lnTo>
                      <a:pt x="24" y="416"/>
                    </a:lnTo>
                    <a:lnTo>
                      <a:pt x="29" y="430"/>
                    </a:lnTo>
                    <a:lnTo>
                      <a:pt x="37" y="442"/>
                    </a:lnTo>
                    <a:lnTo>
                      <a:pt x="43" y="455"/>
                    </a:lnTo>
                    <a:lnTo>
                      <a:pt x="52" y="467"/>
                    </a:lnTo>
                    <a:lnTo>
                      <a:pt x="59" y="479"/>
                    </a:lnTo>
                    <a:lnTo>
                      <a:pt x="69" y="491"/>
                    </a:lnTo>
                    <a:lnTo>
                      <a:pt x="77" y="501"/>
                    </a:lnTo>
                    <a:lnTo>
                      <a:pt x="88" y="511"/>
                    </a:lnTo>
                    <a:lnTo>
                      <a:pt x="98" y="522"/>
                    </a:lnTo>
                    <a:lnTo>
                      <a:pt x="109" y="530"/>
                    </a:lnTo>
                    <a:lnTo>
                      <a:pt x="120" y="540"/>
                    </a:lnTo>
                    <a:lnTo>
                      <a:pt x="132" y="547"/>
                    </a:lnTo>
                    <a:lnTo>
                      <a:pt x="144" y="556"/>
                    </a:lnTo>
                    <a:lnTo>
                      <a:pt x="157" y="562"/>
                    </a:lnTo>
                    <a:lnTo>
                      <a:pt x="169" y="570"/>
                    </a:lnTo>
                    <a:lnTo>
                      <a:pt x="183" y="575"/>
                    </a:lnTo>
                    <a:lnTo>
                      <a:pt x="196" y="581"/>
                    </a:lnTo>
                    <a:lnTo>
                      <a:pt x="210" y="585"/>
                    </a:lnTo>
                    <a:lnTo>
                      <a:pt x="225" y="589"/>
                    </a:lnTo>
                    <a:lnTo>
                      <a:pt x="239" y="592"/>
                    </a:lnTo>
                    <a:lnTo>
                      <a:pt x="254" y="596"/>
                    </a:lnTo>
                    <a:lnTo>
                      <a:pt x="269" y="598"/>
                    </a:lnTo>
                    <a:lnTo>
                      <a:pt x="284" y="599"/>
                    </a:lnTo>
                    <a:lnTo>
                      <a:pt x="299" y="599"/>
                    </a:lnTo>
                    <a:lnTo>
                      <a:pt x="315" y="599"/>
                    </a:lnTo>
                    <a:lnTo>
                      <a:pt x="330" y="598"/>
                    </a:lnTo>
                    <a:lnTo>
                      <a:pt x="345" y="596"/>
                    </a:lnTo>
                    <a:lnTo>
                      <a:pt x="360" y="592"/>
                    </a:lnTo>
                    <a:lnTo>
                      <a:pt x="374" y="589"/>
                    </a:lnTo>
                    <a:lnTo>
                      <a:pt x="388" y="585"/>
                    </a:lnTo>
                    <a:lnTo>
                      <a:pt x="402" y="581"/>
                    </a:lnTo>
                    <a:lnTo>
                      <a:pt x="416" y="575"/>
                    </a:lnTo>
                    <a:lnTo>
                      <a:pt x="429" y="570"/>
                    </a:lnTo>
                    <a:lnTo>
                      <a:pt x="442" y="562"/>
                    </a:lnTo>
                    <a:lnTo>
                      <a:pt x="454" y="556"/>
                    </a:lnTo>
                    <a:lnTo>
                      <a:pt x="467" y="547"/>
                    </a:lnTo>
                    <a:lnTo>
                      <a:pt x="479" y="540"/>
                    </a:lnTo>
                    <a:lnTo>
                      <a:pt x="490" y="530"/>
                    </a:lnTo>
                    <a:lnTo>
                      <a:pt x="500" y="522"/>
                    </a:lnTo>
                    <a:lnTo>
                      <a:pt x="511" y="511"/>
                    </a:lnTo>
                    <a:lnTo>
                      <a:pt x="521" y="501"/>
                    </a:lnTo>
                    <a:lnTo>
                      <a:pt x="530" y="491"/>
                    </a:lnTo>
                    <a:lnTo>
                      <a:pt x="539" y="479"/>
                    </a:lnTo>
                    <a:lnTo>
                      <a:pt x="547" y="467"/>
                    </a:lnTo>
                    <a:lnTo>
                      <a:pt x="555" y="455"/>
                    </a:lnTo>
                    <a:lnTo>
                      <a:pt x="562" y="442"/>
                    </a:lnTo>
                    <a:lnTo>
                      <a:pt x="569" y="430"/>
                    </a:lnTo>
                    <a:lnTo>
                      <a:pt x="575" y="416"/>
                    </a:lnTo>
                    <a:lnTo>
                      <a:pt x="581" y="403"/>
                    </a:lnTo>
                    <a:lnTo>
                      <a:pt x="585" y="389"/>
                    </a:lnTo>
                    <a:lnTo>
                      <a:pt x="589" y="374"/>
                    </a:lnTo>
                    <a:lnTo>
                      <a:pt x="592" y="360"/>
                    </a:lnTo>
                    <a:lnTo>
                      <a:pt x="596" y="345"/>
                    </a:lnTo>
                    <a:lnTo>
                      <a:pt x="598" y="330"/>
                    </a:lnTo>
                    <a:lnTo>
                      <a:pt x="599" y="315"/>
                    </a:lnTo>
                    <a:lnTo>
                      <a:pt x="599" y="299"/>
                    </a:lnTo>
                    <a:lnTo>
                      <a:pt x="599" y="284"/>
                    </a:lnTo>
                    <a:lnTo>
                      <a:pt x="598" y="269"/>
                    </a:lnTo>
                    <a:lnTo>
                      <a:pt x="596" y="254"/>
                    </a:lnTo>
                    <a:lnTo>
                      <a:pt x="592" y="239"/>
                    </a:lnTo>
                    <a:lnTo>
                      <a:pt x="589" y="225"/>
                    </a:lnTo>
                    <a:lnTo>
                      <a:pt x="585" y="210"/>
                    </a:lnTo>
                    <a:lnTo>
                      <a:pt x="581" y="196"/>
                    </a:lnTo>
                    <a:lnTo>
                      <a:pt x="575" y="183"/>
                    </a:lnTo>
                    <a:lnTo>
                      <a:pt x="569" y="169"/>
                    </a:lnTo>
                    <a:lnTo>
                      <a:pt x="562" y="157"/>
                    </a:lnTo>
                    <a:lnTo>
                      <a:pt x="555" y="145"/>
                    </a:lnTo>
                    <a:lnTo>
                      <a:pt x="547" y="132"/>
                    </a:lnTo>
                    <a:lnTo>
                      <a:pt x="539" y="120"/>
                    </a:lnTo>
                    <a:lnTo>
                      <a:pt x="530" y="110"/>
                    </a:lnTo>
                    <a:lnTo>
                      <a:pt x="521" y="99"/>
                    </a:lnTo>
                    <a:lnTo>
                      <a:pt x="511" y="88"/>
                    </a:lnTo>
                    <a:lnTo>
                      <a:pt x="500" y="79"/>
                    </a:lnTo>
                    <a:lnTo>
                      <a:pt x="490" y="69"/>
                    </a:lnTo>
                    <a:lnTo>
                      <a:pt x="479" y="59"/>
                    </a:lnTo>
                    <a:lnTo>
                      <a:pt x="467" y="52"/>
                    </a:lnTo>
                    <a:lnTo>
                      <a:pt x="454" y="43"/>
                    </a:lnTo>
                    <a:lnTo>
                      <a:pt x="442" y="37"/>
                    </a:lnTo>
                    <a:lnTo>
                      <a:pt x="429" y="29"/>
                    </a:lnTo>
                    <a:lnTo>
                      <a:pt x="416" y="24"/>
                    </a:lnTo>
                    <a:lnTo>
                      <a:pt x="402" y="19"/>
                    </a:lnTo>
                    <a:lnTo>
                      <a:pt x="388" y="13"/>
                    </a:lnTo>
                    <a:lnTo>
                      <a:pt x="374" y="10"/>
                    </a:lnTo>
                    <a:lnTo>
                      <a:pt x="360" y="6"/>
                    </a:lnTo>
                    <a:lnTo>
                      <a:pt x="345" y="4"/>
                    </a:lnTo>
                    <a:lnTo>
                      <a:pt x="330" y="1"/>
                    </a:lnTo>
                    <a:lnTo>
                      <a:pt x="315" y="0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9" name="Freeform 55">
                <a:extLst>
                  <a:ext uri="{FF2B5EF4-FFF2-40B4-BE49-F238E27FC236}">
                    <a16:creationId xmlns:a16="http://schemas.microsoft.com/office/drawing/2014/main" id="{9C387119-7F69-4F2E-890F-53393FA943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613" y="903288"/>
                <a:ext cx="28575" cy="9525"/>
              </a:xfrm>
              <a:custGeom>
                <a:avLst/>
                <a:gdLst>
                  <a:gd name="T0" fmla="*/ 75 w 90"/>
                  <a:gd name="T1" fmla="*/ 0 h 30"/>
                  <a:gd name="T2" fmla="*/ 15 w 90"/>
                  <a:gd name="T3" fmla="*/ 0 h 30"/>
                  <a:gd name="T4" fmla="*/ 12 w 90"/>
                  <a:gd name="T5" fmla="*/ 1 h 30"/>
                  <a:gd name="T6" fmla="*/ 8 w 90"/>
                  <a:gd name="T7" fmla="*/ 2 h 30"/>
                  <a:gd name="T8" fmla="*/ 6 w 90"/>
                  <a:gd name="T9" fmla="*/ 3 h 30"/>
                  <a:gd name="T10" fmla="*/ 4 w 90"/>
                  <a:gd name="T11" fmla="*/ 5 h 30"/>
                  <a:gd name="T12" fmla="*/ 2 w 90"/>
                  <a:gd name="T13" fmla="*/ 8 h 30"/>
                  <a:gd name="T14" fmla="*/ 1 w 90"/>
                  <a:gd name="T15" fmla="*/ 10 h 30"/>
                  <a:gd name="T16" fmla="*/ 0 w 90"/>
                  <a:gd name="T17" fmla="*/ 13 h 30"/>
                  <a:gd name="T18" fmla="*/ 0 w 90"/>
                  <a:gd name="T19" fmla="*/ 15 h 30"/>
                  <a:gd name="T20" fmla="*/ 0 w 90"/>
                  <a:gd name="T21" fmla="*/ 18 h 30"/>
                  <a:gd name="T22" fmla="*/ 1 w 90"/>
                  <a:gd name="T23" fmla="*/ 21 h 30"/>
                  <a:gd name="T24" fmla="*/ 2 w 90"/>
                  <a:gd name="T25" fmla="*/ 24 h 30"/>
                  <a:gd name="T26" fmla="*/ 4 w 90"/>
                  <a:gd name="T27" fmla="*/ 26 h 30"/>
                  <a:gd name="T28" fmla="*/ 6 w 90"/>
                  <a:gd name="T29" fmla="*/ 28 h 30"/>
                  <a:gd name="T30" fmla="*/ 8 w 90"/>
                  <a:gd name="T31" fmla="*/ 29 h 30"/>
                  <a:gd name="T32" fmla="*/ 12 w 90"/>
                  <a:gd name="T33" fmla="*/ 30 h 30"/>
                  <a:gd name="T34" fmla="*/ 15 w 90"/>
                  <a:gd name="T35" fmla="*/ 30 h 30"/>
                  <a:gd name="T36" fmla="*/ 75 w 90"/>
                  <a:gd name="T37" fmla="*/ 30 h 30"/>
                  <a:gd name="T38" fmla="*/ 78 w 90"/>
                  <a:gd name="T39" fmla="*/ 30 h 30"/>
                  <a:gd name="T40" fmla="*/ 80 w 90"/>
                  <a:gd name="T41" fmla="*/ 29 h 30"/>
                  <a:gd name="T42" fmla="*/ 83 w 90"/>
                  <a:gd name="T43" fmla="*/ 28 h 30"/>
                  <a:gd name="T44" fmla="*/ 85 w 90"/>
                  <a:gd name="T45" fmla="*/ 26 h 30"/>
                  <a:gd name="T46" fmla="*/ 86 w 90"/>
                  <a:gd name="T47" fmla="*/ 24 h 30"/>
                  <a:gd name="T48" fmla="*/ 89 w 90"/>
                  <a:gd name="T49" fmla="*/ 21 h 30"/>
                  <a:gd name="T50" fmla="*/ 90 w 90"/>
                  <a:gd name="T51" fmla="*/ 18 h 30"/>
                  <a:gd name="T52" fmla="*/ 90 w 90"/>
                  <a:gd name="T53" fmla="*/ 15 h 30"/>
                  <a:gd name="T54" fmla="*/ 90 w 90"/>
                  <a:gd name="T55" fmla="*/ 13 h 30"/>
                  <a:gd name="T56" fmla="*/ 89 w 90"/>
                  <a:gd name="T57" fmla="*/ 10 h 30"/>
                  <a:gd name="T58" fmla="*/ 86 w 90"/>
                  <a:gd name="T59" fmla="*/ 8 h 30"/>
                  <a:gd name="T60" fmla="*/ 85 w 90"/>
                  <a:gd name="T61" fmla="*/ 5 h 30"/>
                  <a:gd name="T62" fmla="*/ 83 w 90"/>
                  <a:gd name="T63" fmla="*/ 3 h 30"/>
                  <a:gd name="T64" fmla="*/ 80 w 90"/>
                  <a:gd name="T65" fmla="*/ 2 h 30"/>
                  <a:gd name="T66" fmla="*/ 78 w 90"/>
                  <a:gd name="T67" fmla="*/ 1 h 30"/>
                  <a:gd name="T68" fmla="*/ 75 w 90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0" h="30">
                    <a:moveTo>
                      <a:pt x="7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75" y="30"/>
                    </a:lnTo>
                    <a:lnTo>
                      <a:pt x="78" y="30"/>
                    </a:lnTo>
                    <a:lnTo>
                      <a:pt x="80" y="29"/>
                    </a:lnTo>
                    <a:lnTo>
                      <a:pt x="83" y="28"/>
                    </a:lnTo>
                    <a:lnTo>
                      <a:pt x="85" y="26"/>
                    </a:lnTo>
                    <a:lnTo>
                      <a:pt x="86" y="24"/>
                    </a:lnTo>
                    <a:lnTo>
                      <a:pt x="89" y="21"/>
                    </a:lnTo>
                    <a:lnTo>
                      <a:pt x="90" y="18"/>
                    </a:lnTo>
                    <a:lnTo>
                      <a:pt x="90" y="15"/>
                    </a:lnTo>
                    <a:lnTo>
                      <a:pt x="90" y="13"/>
                    </a:lnTo>
                    <a:lnTo>
                      <a:pt x="89" y="10"/>
                    </a:lnTo>
                    <a:lnTo>
                      <a:pt x="86" y="8"/>
                    </a:lnTo>
                    <a:lnTo>
                      <a:pt x="85" y="5"/>
                    </a:lnTo>
                    <a:lnTo>
                      <a:pt x="83" y="3"/>
                    </a:lnTo>
                    <a:lnTo>
                      <a:pt x="80" y="2"/>
                    </a:lnTo>
                    <a:lnTo>
                      <a:pt x="78" y="1"/>
                    </a:lnTo>
                    <a:lnTo>
                      <a:pt x="7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0" name="Freeform 56">
                <a:extLst>
                  <a:ext uri="{FF2B5EF4-FFF2-40B4-BE49-F238E27FC236}">
                    <a16:creationId xmlns:a16="http://schemas.microsoft.com/office/drawing/2014/main" id="{A6AD6C70-8645-4B93-880A-D6F3F9B610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313" y="769938"/>
                <a:ext cx="9525" cy="28575"/>
              </a:xfrm>
              <a:custGeom>
                <a:avLst/>
                <a:gdLst>
                  <a:gd name="T0" fmla="*/ 15 w 30"/>
                  <a:gd name="T1" fmla="*/ 89 h 89"/>
                  <a:gd name="T2" fmla="*/ 18 w 30"/>
                  <a:gd name="T3" fmla="*/ 89 h 89"/>
                  <a:gd name="T4" fmla="*/ 21 w 30"/>
                  <a:gd name="T5" fmla="*/ 88 h 89"/>
                  <a:gd name="T6" fmla="*/ 24 w 30"/>
                  <a:gd name="T7" fmla="*/ 87 h 89"/>
                  <a:gd name="T8" fmla="*/ 26 w 30"/>
                  <a:gd name="T9" fmla="*/ 85 h 89"/>
                  <a:gd name="T10" fmla="*/ 28 w 30"/>
                  <a:gd name="T11" fmla="*/ 83 h 89"/>
                  <a:gd name="T12" fmla="*/ 29 w 30"/>
                  <a:gd name="T13" fmla="*/ 81 h 89"/>
                  <a:gd name="T14" fmla="*/ 30 w 30"/>
                  <a:gd name="T15" fmla="*/ 78 h 89"/>
                  <a:gd name="T16" fmla="*/ 30 w 30"/>
                  <a:gd name="T17" fmla="*/ 74 h 89"/>
                  <a:gd name="T18" fmla="*/ 30 w 30"/>
                  <a:gd name="T19" fmla="*/ 14 h 89"/>
                  <a:gd name="T20" fmla="*/ 30 w 30"/>
                  <a:gd name="T21" fmla="*/ 11 h 89"/>
                  <a:gd name="T22" fmla="*/ 29 w 30"/>
                  <a:gd name="T23" fmla="*/ 9 h 89"/>
                  <a:gd name="T24" fmla="*/ 28 w 30"/>
                  <a:gd name="T25" fmla="*/ 6 h 89"/>
                  <a:gd name="T26" fmla="*/ 26 w 30"/>
                  <a:gd name="T27" fmla="*/ 4 h 89"/>
                  <a:gd name="T28" fmla="*/ 24 w 30"/>
                  <a:gd name="T29" fmla="*/ 2 h 89"/>
                  <a:gd name="T30" fmla="*/ 21 w 30"/>
                  <a:gd name="T31" fmla="*/ 1 h 89"/>
                  <a:gd name="T32" fmla="*/ 18 w 30"/>
                  <a:gd name="T33" fmla="*/ 0 h 89"/>
                  <a:gd name="T34" fmla="*/ 15 w 30"/>
                  <a:gd name="T35" fmla="*/ 0 h 89"/>
                  <a:gd name="T36" fmla="*/ 13 w 30"/>
                  <a:gd name="T37" fmla="*/ 0 h 89"/>
                  <a:gd name="T38" fmla="*/ 10 w 30"/>
                  <a:gd name="T39" fmla="*/ 1 h 89"/>
                  <a:gd name="T40" fmla="*/ 7 w 30"/>
                  <a:gd name="T41" fmla="*/ 2 h 89"/>
                  <a:gd name="T42" fmla="*/ 4 w 30"/>
                  <a:gd name="T43" fmla="*/ 4 h 89"/>
                  <a:gd name="T44" fmla="*/ 3 w 30"/>
                  <a:gd name="T45" fmla="*/ 6 h 89"/>
                  <a:gd name="T46" fmla="*/ 1 w 30"/>
                  <a:gd name="T47" fmla="*/ 9 h 89"/>
                  <a:gd name="T48" fmla="*/ 1 w 30"/>
                  <a:gd name="T49" fmla="*/ 11 h 89"/>
                  <a:gd name="T50" fmla="*/ 0 w 30"/>
                  <a:gd name="T51" fmla="*/ 14 h 89"/>
                  <a:gd name="T52" fmla="*/ 0 w 30"/>
                  <a:gd name="T53" fmla="*/ 74 h 89"/>
                  <a:gd name="T54" fmla="*/ 1 w 30"/>
                  <a:gd name="T55" fmla="*/ 78 h 89"/>
                  <a:gd name="T56" fmla="*/ 1 w 30"/>
                  <a:gd name="T57" fmla="*/ 81 h 89"/>
                  <a:gd name="T58" fmla="*/ 3 w 30"/>
                  <a:gd name="T59" fmla="*/ 83 h 89"/>
                  <a:gd name="T60" fmla="*/ 4 w 30"/>
                  <a:gd name="T61" fmla="*/ 85 h 89"/>
                  <a:gd name="T62" fmla="*/ 7 w 30"/>
                  <a:gd name="T63" fmla="*/ 87 h 89"/>
                  <a:gd name="T64" fmla="*/ 10 w 30"/>
                  <a:gd name="T65" fmla="*/ 88 h 89"/>
                  <a:gd name="T66" fmla="*/ 13 w 30"/>
                  <a:gd name="T67" fmla="*/ 89 h 89"/>
                  <a:gd name="T68" fmla="*/ 15 w 30"/>
                  <a:gd name="T69" fmla="*/ 8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89">
                    <a:moveTo>
                      <a:pt x="15" y="89"/>
                    </a:moveTo>
                    <a:lnTo>
                      <a:pt x="18" y="89"/>
                    </a:lnTo>
                    <a:lnTo>
                      <a:pt x="21" y="88"/>
                    </a:lnTo>
                    <a:lnTo>
                      <a:pt x="24" y="87"/>
                    </a:lnTo>
                    <a:lnTo>
                      <a:pt x="26" y="85"/>
                    </a:lnTo>
                    <a:lnTo>
                      <a:pt x="28" y="83"/>
                    </a:lnTo>
                    <a:lnTo>
                      <a:pt x="29" y="81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0" y="14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1" y="11"/>
                    </a:lnTo>
                    <a:lnTo>
                      <a:pt x="0" y="14"/>
                    </a:lnTo>
                    <a:lnTo>
                      <a:pt x="0" y="74"/>
                    </a:lnTo>
                    <a:lnTo>
                      <a:pt x="1" y="78"/>
                    </a:lnTo>
                    <a:lnTo>
                      <a:pt x="1" y="81"/>
                    </a:lnTo>
                    <a:lnTo>
                      <a:pt x="3" y="83"/>
                    </a:lnTo>
                    <a:lnTo>
                      <a:pt x="4" y="85"/>
                    </a:lnTo>
                    <a:lnTo>
                      <a:pt x="7" y="87"/>
                    </a:lnTo>
                    <a:lnTo>
                      <a:pt x="10" y="88"/>
                    </a:lnTo>
                    <a:lnTo>
                      <a:pt x="13" y="89"/>
                    </a:lnTo>
                    <a:lnTo>
                      <a:pt x="15" y="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1" name="Freeform 57">
                <a:extLst>
                  <a:ext uri="{FF2B5EF4-FFF2-40B4-BE49-F238E27FC236}">
                    <a16:creationId xmlns:a16="http://schemas.microsoft.com/office/drawing/2014/main" id="{3BB3D28B-36D9-433E-A26E-C0386DB15F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963" y="903288"/>
                <a:ext cx="28575" cy="9525"/>
              </a:xfrm>
              <a:custGeom>
                <a:avLst/>
                <a:gdLst>
                  <a:gd name="T0" fmla="*/ 75 w 90"/>
                  <a:gd name="T1" fmla="*/ 0 h 30"/>
                  <a:gd name="T2" fmla="*/ 15 w 90"/>
                  <a:gd name="T3" fmla="*/ 0 h 30"/>
                  <a:gd name="T4" fmla="*/ 12 w 90"/>
                  <a:gd name="T5" fmla="*/ 1 h 30"/>
                  <a:gd name="T6" fmla="*/ 9 w 90"/>
                  <a:gd name="T7" fmla="*/ 2 h 30"/>
                  <a:gd name="T8" fmla="*/ 7 w 90"/>
                  <a:gd name="T9" fmla="*/ 3 h 30"/>
                  <a:gd name="T10" fmla="*/ 5 w 90"/>
                  <a:gd name="T11" fmla="*/ 5 h 30"/>
                  <a:gd name="T12" fmla="*/ 3 w 90"/>
                  <a:gd name="T13" fmla="*/ 8 h 30"/>
                  <a:gd name="T14" fmla="*/ 1 w 90"/>
                  <a:gd name="T15" fmla="*/ 10 h 30"/>
                  <a:gd name="T16" fmla="*/ 0 w 90"/>
                  <a:gd name="T17" fmla="*/ 13 h 30"/>
                  <a:gd name="T18" fmla="*/ 0 w 90"/>
                  <a:gd name="T19" fmla="*/ 15 h 30"/>
                  <a:gd name="T20" fmla="*/ 0 w 90"/>
                  <a:gd name="T21" fmla="*/ 18 h 30"/>
                  <a:gd name="T22" fmla="*/ 1 w 90"/>
                  <a:gd name="T23" fmla="*/ 21 h 30"/>
                  <a:gd name="T24" fmla="*/ 3 w 90"/>
                  <a:gd name="T25" fmla="*/ 24 h 30"/>
                  <a:gd name="T26" fmla="*/ 5 w 90"/>
                  <a:gd name="T27" fmla="*/ 26 h 30"/>
                  <a:gd name="T28" fmla="*/ 7 w 90"/>
                  <a:gd name="T29" fmla="*/ 28 h 30"/>
                  <a:gd name="T30" fmla="*/ 9 w 90"/>
                  <a:gd name="T31" fmla="*/ 29 h 30"/>
                  <a:gd name="T32" fmla="*/ 12 w 90"/>
                  <a:gd name="T33" fmla="*/ 30 h 30"/>
                  <a:gd name="T34" fmla="*/ 15 w 90"/>
                  <a:gd name="T35" fmla="*/ 30 h 30"/>
                  <a:gd name="T36" fmla="*/ 75 w 90"/>
                  <a:gd name="T37" fmla="*/ 30 h 30"/>
                  <a:gd name="T38" fmla="*/ 79 w 90"/>
                  <a:gd name="T39" fmla="*/ 30 h 30"/>
                  <a:gd name="T40" fmla="*/ 81 w 90"/>
                  <a:gd name="T41" fmla="*/ 29 h 30"/>
                  <a:gd name="T42" fmla="*/ 84 w 90"/>
                  <a:gd name="T43" fmla="*/ 28 h 30"/>
                  <a:gd name="T44" fmla="*/ 86 w 90"/>
                  <a:gd name="T45" fmla="*/ 26 h 30"/>
                  <a:gd name="T46" fmla="*/ 87 w 90"/>
                  <a:gd name="T47" fmla="*/ 24 h 30"/>
                  <a:gd name="T48" fmla="*/ 89 w 90"/>
                  <a:gd name="T49" fmla="*/ 21 h 30"/>
                  <a:gd name="T50" fmla="*/ 90 w 90"/>
                  <a:gd name="T51" fmla="*/ 18 h 30"/>
                  <a:gd name="T52" fmla="*/ 90 w 90"/>
                  <a:gd name="T53" fmla="*/ 15 h 30"/>
                  <a:gd name="T54" fmla="*/ 90 w 90"/>
                  <a:gd name="T55" fmla="*/ 13 h 30"/>
                  <a:gd name="T56" fmla="*/ 89 w 90"/>
                  <a:gd name="T57" fmla="*/ 10 h 30"/>
                  <a:gd name="T58" fmla="*/ 87 w 90"/>
                  <a:gd name="T59" fmla="*/ 8 h 30"/>
                  <a:gd name="T60" fmla="*/ 86 w 90"/>
                  <a:gd name="T61" fmla="*/ 5 h 30"/>
                  <a:gd name="T62" fmla="*/ 84 w 90"/>
                  <a:gd name="T63" fmla="*/ 3 h 30"/>
                  <a:gd name="T64" fmla="*/ 81 w 90"/>
                  <a:gd name="T65" fmla="*/ 2 h 30"/>
                  <a:gd name="T66" fmla="*/ 79 w 90"/>
                  <a:gd name="T67" fmla="*/ 1 h 30"/>
                  <a:gd name="T68" fmla="*/ 75 w 90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0" h="30">
                    <a:moveTo>
                      <a:pt x="7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9" y="2"/>
                    </a:lnTo>
                    <a:lnTo>
                      <a:pt x="7" y="3"/>
                    </a:lnTo>
                    <a:lnTo>
                      <a:pt x="5" y="5"/>
                    </a:lnTo>
                    <a:lnTo>
                      <a:pt x="3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4"/>
                    </a:lnTo>
                    <a:lnTo>
                      <a:pt x="5" y="26"/>
                    </a:lnTo>
                    <a:lnTo>
                      <a:pt x="7" y="28"/>
                    </a:lnTo>
                    <a:lnTo>
                      <a:pt x="9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75" y="30"/>
                    </a:lnTo>
                    <a:lnTo>
                      <a:pt x="79" y="30"/>
                    </a:lnTo>
                    <a:lnTo>
                      <a:pt x="81" y="29"/>
                    </a:lnTo>
                    <a:lnTo>
                      <a:pt x="84" y="28"/>
                    </a:lnTo>
                    <a:lnTo>
                      <a:pt x="86" y="26"/>
                    </a:lnTo>
                    <a:lnTo>
                      <a:pt x="87" y="24"/>
                    </a:lnTo>
                    <a:lnTo>
                      <a:pt x="89" y="21"/>
                    </a:lnTo>
                    <a:lnTo>
                      <a:pt x="90" y="18"/>
                    </a:lnTo>
                    <a:lnTo>
                      <a:pt x="90" y="15"/>
                    </a:lnTo>
                    <a:lnTo>
                      <a:pt x="90" y="13"/>
                    </a:lnTo>
                    <a:lnTo>
                      <a:pt x="89" y="10"/>
                    </a:lnTo>
                    <a:lnTo>
                      <a:pt x="87" y="8"/>
                    </a:lnTo>
                    <a:lnTo>
                      <a:pt x="86" y="5"/>
                    </a:lnTo>
                    <a:lnTo>
                      <a:pt x="84" y="3"/>
                    </a:lnTo>
                    <a:lnTo>
                      <a:pt x="81" y="2"/>
                    </a:lnTo>
                    <a:lnTo>
                      <a:pt x="79" y="1"/>
                    </a:lnTo>
                    <a:lnTo>
                      <a:pt x="7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2" name="Freeform 58">
                <a:extLst>
                  <a:ext uri="{FF2B5EF4-FFF2-40B4-BE49-F238E27FC236}">
                    <a16:creationId xmlns:a16="http://schemas.microsoft.com/office/drawing/2014/main" id="{BA23CF60-E748-4BF1-BF78-8956D083AA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313" y="1017588"/>
                <a:ext cx="9525" cy="28575"/>
              </a:xfrm>
              <a:custGeom>
                <a:avLst/>
                <a:gdLst>
                  <a:gd name="T0" fmla="*/ 15 w 30"/>
                  <a:gd name="T1" fmla="*/ 0 h 90"/>
                  <a:gd name="T2" fmla="*/ 13 w 30"/>
                  <a:gd name="T3" fmla="*/ 0 h 90"/>
                  <a:gd name="T4" fmla="*/ 10 w 30"/>
                  <a:gd name="T5" fmla="*/ 1 h 90"/>
                  <a:gd name="T6" fmla="*/ 7 w 30"/>
                  <a:gd name="T7" fmla="*/ 2 h 90"/>
                  <a:gd name="T8" fmla="*/ 4 w 30"/>
                  <a:gd name="T9" fmla="*/ 4 h 90"/>
                  <a:gd name="T10" fmla="*/ 3 w 30"/>
                  <a:gd name="T11" fmla="*/ 6 h 90"/>
                  <a:gd name="T12" fmla="*/ 1 w 30"/>
                  <a:gd name="T13" fmla="*/ 9 h 90"/>
                  <a:gd name="T14" fmla="*/ 1 w 30"/>
                  <a:gd name="T15" fmla="*/ 11 h 90"/>
                  <a:gd name="T16" fmla="*/ 0 w 30"/>
                  <a:gd name="T17" fmla="*/ 15 h 90"/>
                  <a:gd name="T18" fmla="*/ 0 w 30"/>
                  <a:gd name="T19" fmla="*/ 75 h 90"/>
                  <a:gd name="T20" fmla="*/ 1 w 30"/>
                  <a:gd name="T21" fmla="*/ 78 h 90"/>
                  <a:gd name="T22" fmla="*/ 1 w 30"/>
                  <a:gd name="T23" fmla="*/ 81 h 90"/>
                  <a:gd name="T24" fmla="*/ 3 w 30"/>
                  <a:gd name="T25" fmla="*/ 83 h 90"/>
                  <a:gd name="T26" fmla="*/ 4 w 30"/>
                  <a:gd name="T27" fmla="*/ 85 h 90"/>
                  <a:gd name="T28" fmla="*/ 7 w 30"/>
                  <a:gd name="T29" fmla="*/ 87 h 90"/>
                  <a:gd name="T30" fmla="*/ 10 w 30"/>
                  <a:gd name="T31" fmla="*/ 89 h 90"/>
                  <a:gd name="T32" fmla="*/ 13 w 30"/>
                  <a:gd name="T33" fmla="*/ 90 h 90"/>
                  <a:gd name="T34" fmla="*/ 15 w 30"/>
                  <a:gd name="T35" fmla="*/ 90 h 90"/>
                  <a:gd name="T36" fmla="*/ 18 w 30"/>
                  <a:gd name="T37" fmla="*/ 90 h 90"/>
                  <a:gd name="T38" fmla="*/ 21 w 30"/>
                  <a:gd name="T39" fmla="*/ 89 h 90"/>
                  <a:gd name="T40" fmla="*/ 24 w 30"/>
                  <a:gd name="T41" fmla="*/ 87 h 90"/>
                  <a:gd name="T42" fmla="*/ 26 w 30"/>
                  <a:gd name="T43" fmla="*/ 85 h 90"/>
                  <a:gd name="T44" fmla="*/ 28 w 30"/>
                  <a:gd name="T45" fmla="*/ 83 h 90"/>
                  <a:gd name="T46" fmla="*/ 29 w 30"/>
                  <a:gd name="T47" fmla="*/ 81 h 90"/>
                  <a:gd name="T48" fmla="*/ 30 w 30"/>
                  <a:gd name="T49" fmla="*/ 78 h 90"/>
                  <a:gd name="T50" fmla="*/ 30 w 30"/>
                  <a:gd name="T51" fmla="*/ 75 h 90"/>
                  <a:gd name="T52" fmla="*/ 30 w 30"/>
                  <a:gd name="T53" fmla="*/ 15 h 90"/>
                  <a:gd name="T54" fmla="*/ 30 w 30"/>
                  <a:gd name="T55" fmla="*/ 11 h 90"/>
                  <a:gd name="T56" fmla="*/ 29 w 30"/>
                  <a:gd name="T57" fmla="*/ 9 h 90"/>
                  <a:gd name="T58" fmla="*/ 28 w 30"/>
                  <a:gd name="T59" fmla="*/ 6 h 90"/>
                  <a:gd name="T60" fmla="*/ 26 w 30"/>
                  <a:gd name="T61" fmla="*/ 4 h 90"/>
                  <a:gd name="T62" fmla="*/ 24 w 30"/>
                  <a:gd name="T63" fmla="*/ 2 h 90"/>
                  <a:gd name="T64" fmla="*/ 21 w 30"/>
                  <a:gd name="T65" fmla="*/ 1 h 90"/>
                  <a:gd name="T66" fmla="*/ 18 w 30"/>
                  <a:gd name="T67" fmla="*/ 0 h 90"/>
                  <a:gd name="T68" fmla="*/ 15 w 30"/>
                  <a:gd name="T69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90">
                    <a:moveTo>
                      <a:pt x="15" y="0"/>
                    </a:moveTo>
                    <a:lnTo>
                      <a:pt x="13" y="0"/>
                    </a:lnTo>
                    <a:lnTo>
                      <a:pt x="10" y="1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75"/>
                    </a:lnTo>
                    <a:lnTo>
                      <a:pt x="1" y="78"/>
                    </a:lnTo>
                    <a:lnTo>
                      <a:pt x="1" y="81"/>
                    </a:lnTo>
                    <a:lnTo>
                      <a:pt x="3" y="83"/>
                    </a:lnTo>
                    <a:lnTo>
                      <a:pt x="4" y="85"/>
                    </a:lnTo>
                    <a:lnTo>
                      <a:pt x="7" y="87"/>
                    </a:lnTo>
                    <a:lnTo>
                      <a:pt x="10" y="89"/>
                    </a:lnTo>
                    <a:lnTo>
                      <a:pt x="13" y="90"/>
                    </a:lnTo>
                    <a:lnTo>
                      <a:pt x="15" y="90"/>
                    </a:lnTo>
                    <a:lnTo>
                      <a:pt x="18" y="90"/>
                    </a:lnTo>
                    <a:lnTo>
                      <a:pt x="21" y="89"/>
                    </a:lnTo>
                    <a:lnTo>
                      <a:pt x="24" y="87"/>
                    </a:lnTo>
                    <a:lnTo>
                      <a:pt x="26" y="85"/>
                    </a:lnTo>
                    <a:lnTo>
                      <a:pt x="28" y="83"/>
                    </a:lnTo>
                    <a:lnTo>
                      <a:pt x="29" y="81"/>
                    </a:lnTo>
                    <a:lnTo>
                      <a:pt x="30" y="78"/>
                    </a:lnTo>
                    <a:lnTo>
                      <a:pt x="30" y="75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3" name="Freeform 59">
                <a:extLst>
                  <a:ext uri="{FF2B5EF4-FFF2-40B4-BE49-F238E27FC236}">
                    <a16:creationId xmlns:a16="http://schemas.microsoft.com/office/drawing/2014/main" id="{C10ADFDA-7680-41F4-AA2C-18BA4351B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75" y="809625"/>
                <a:ext cx="22225" cy="22225"/>
              </a:xfrm>
              <a:custGeom>
                <a:avLst/>
                <a:gdLst>
                  <a:gd name="T0" fmla="*/ 46 w 72"/>
                  <a:gd name="T1" fmla="*/ 4 h 72"/>
                  <a:gd name="T2" fmla="*/ 4 w 72"/>
                  <a:gd name="T3" fmla="*/ 47 h 72"/>
                  <a:gd name="T4" fmla="*/ 2 w 72"/>
                  <a:gd name="T5" fmla="*/ 49 h 72"/>
                  <a:gd name="T6" fmla="*/ 1 w 72"/>
                  <a:gd name="T7" fmla="*/ 52 h 72"/>
                  <a:gd name="T8" fmla="*/ 0 w 72"/>
                  <a:gd name="T9" fmla="*/ 54 h 72"/>
                  <a:gd name="T10" fmla="*/ 0 w 72"/>
                  <a:gd name="T11" fmla="*/ 57 h 72"/>
                  <a:gd name="T12" fmla="*/ 0 w 72"/>
                  <a:gd name="T13" fmla="*/ 61 h 72"/>
                  <a:gd name="T14" fmla="*/ 1 w 72"/>
                  <a:gd name="T15" fmla="*/ 63 h 72"/>
                  <a:gd name="T16" fmla="*/ 2 w 72"/>
                  <a:gd name="T17" fmla="*/ 66 h 72"/>
                  <a:gd name="T18" fmla="*/ 4 w 72"/>
                  <a:gd name="T19" fmla="*/ 68 h 72"/>
                  <a:gd name="T20" fmla="*/ 6 w 72"/>
                  <a:gd name="T21" fmla="*/ 70 h 72"/>
                  <a:gd name="T22" fmla="*/ 8 w 72"/>
                  <a:gd name="T23" fmla="*/ 71 h 72"/>
                  <a:gd name="T24" fmla="*/ 12 w 72"/>
                  <a:gd name="T25" fmla="*/ 72 h 72"/>
                  <a:gd name="T26" fmla="*/ 15 w 72"/>
                  <a:gd name="T27" fmla="*/ 72 h 72"/>
                  <a:gd name="T28" fmla="*/ 17 w 72"/>
                  <a:gd name="T29" fmla="*/ 72 h 72"/>
                  <a:gd name="T30" fmla="*/ 20 w 72"/>
                  <a:gd name="T31" fmla="*/ 71 h 72"/>
                  <a:gd name="T32" fmla="*/ 22 w 72"/>
                  <a:gd name="T33" fmla="*/ 70 h 72"/>
                  <a:gd name="T34" fmla="*/ 25 w 72"/>
                  <a:gd name="T35" fmla="*/ 68 h 72"/>
                  <a:gd name="T36" fmla="*/ 67 w 72"/>
                  <a:gd name="T37" fmla="*/ 24 h 72"/>
                  <a:gd name="T38" fmla="*/ 69 w 72"/>
                  <a:gd name="T39" fmla="*/ 22 h 72"/>
                  <a:gd name="T40" fmla="*/ 70 w 72"/>
                  <a:gd name="T41" fmla="*/ 20 h 72"/>
                  <a:gd name="T42" fmla="*/ 72 w 72"/>
                  <a:gd name="T43" fmla="*/ 18 h 72"/>
                  <a:gd name="T44" fmla="*/ 72 w 72"/>
                  <a:gd name="T45" fmla="*/ 15 h 72"/>
                  <a:gd name="T46" fmla="*/ 72 w 72"/>
                  <a:gd name="T47" fmla="*/ 11 h 72"/>
                  <a:gd name="T48" fmla="*/ 70 w 72"/>
                  <a:gd name="T49" fmla="*/ 9 h 72"/>
                  <a:gd name="T50" fmla="*/ 69 w 72"/>
                  <a:gd name="T51" fmla="*/ 6 h 72"/>
                  <a:gd name="T52" fmla="*/ 67 w 72"/>
                  <a:gd name="T53" fmla="*/ 4 h 72"/>
                  <a:gd name="T54" fmla="*/ 65 w 72"/>
                  <a:gd name="T55" fmla="*/ 2 h 72"/>
                  <a:gd name="T56" fmla="*/ 62 w 72"/>
                  <a:gd name="T57" fmla="*/ 1 h 72"/>
                  <a:gd name="T58" fmla="*/ 60 w 72"/>
                  <a:gd name="T59" fmla="*/ 0 h 72"/>
                  <a:gd name="T60" fmla="*/ 57 w 72"/>
                  <a:gd name="T61" fmla="*/ 0 h 72"/>
                  <a:gd name="T62" fmla="*/ 53 w 72"/>
                  <a:gd name="T63" fmla="*/ 0 h 72"/>
                  <a:gd name="T64" fmla="*/ 51 w 72"/>
                  <a:gd name="T65" fmla="*/ 1 h 72"/>
                  <a:gd name="T66" fmla="*/ 48 w 72"/>
                  <a:gd name="T67" fmla="*/ 2 h 72"/>
                  <a:gd name="T68" fmla="*/ 46 w 72"/>
                  <a:gd name="T69" fmla="*/ 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2" h="72">
                    <a:moveTo>
                      <a:pt x="46" y="4"/>
                    </a:moveTo>
                    <a:lnTo>
                      <a:pt x="4" y="47"/>
                    </a:lnTo>
                    <a:lnTo>
                      <a:pt x="2" y="49"/>
                    </a:lnTo>
                    <a:lnTo>
                      <a:pt x="1" y="52"/>
                    </a:lnTo>
                    <a:lnTo>
                      <a:pt x="0" y="54"/>
                    </a:lnTo>
                    <a:lnTo>
                      <a:pt x="0" y="57"/>
                    </a:lnTo>
                    <a:lnTo>
                      <a:pt x="0" y="61"/>
                    </a:lnTo>
                    <a:lnTo>
                      <a:pt x="1" y="63"/>
                    </a:lnTo>
                    <a:lnTo>
                      <a:pt x="2" y="66"/>
                    </a:lnTo>
                    <a:lnTo>
                      <a:pt x="4" y="68"/>
                    </a:lnTo>
                    <a:lnTo>
                      <a:pt x="6" y="70"/>
                    </a:lnTo>
                    <a:lnTo>
                      <a:pt x="8" y="71"/>
                    </a:lnTo>
                    <a:lnTo>
                      <a:pt x="12" y="72"/>
                    </a:lnTo>
                    <a:lnTo>
                      <a:pt x="15" y="72"/>
                    </a:lnTo>
                    <a:lnTo>
                      <a:pt x="17" y="72"/>
                    </a:lnTo>
                    <a:lnTo>
                      <a:pt x="20" y="71"/>
                    </a:lnTo>
                    <a:lnTo>
                      <a:pt x="22" y="70"/>
                    </a:lnTo>
                    <a:lnTo>
                      <a:pt x="25" y="68"/>
                    </a:lnTo>
                    <a:lnTo>
                      <a:pt x="67" y="24"/>
                    </a:lnTo>
                    <a:lnTo>
                      <a:pt x="69" y="22"/>
                    </a:lnTo>
                    <a:lnTo>
                      <a:pt x="70" y="20"/>
                    </a:lnTo>
                    <a:lnTo>
                      <a:pt x="72" y="18"/>
                    </a:lnTo>
                    <a:lnTo>
                      <a:pt x="72" y="15"/>
                    </a:lnTo>
                    <a:lnTo>
                      <a:pt x="72" y="11"/>
                    </a:lnTo>
                    <a:lnTo>
                      <a:pt x="70" y="9"/>
                    </a:lnTo>
                    <a:lnTo>
                      <a:pt x="69" y="6"/>
                    </a:lnTo>
                    <a:lnTo>
                      <a:pt x="67" y="4"/>
                    </a:lnTo>
                    <a:lnTo>
                      <a:pt x="65" y="2"/>
                    </a:lnTo>
                    <a:lnTo>
                      <a:pt x="62" y="1"/>
                    </a:lnTo>
                    <a:lnTo>
                      <a:pt x="60" y="0"/>
                    </a:lnTo>
                    <a:lnTo>
                      <a:pt x="57" y="0"/>
                    </a:lnTo>
                    <a:lnTo>
                      <a:pt x="53" y="0"/>
                    </a:lnTo>
                    <a:lnTo>
                      <a:pt x="51" y="1"/>
                    </a:lnTo>
                    <a:lnTo>
                      <a:pt x="48" y="2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4" name="Freeform 60">
                <a:extLst>
                  <a:ext uri="{FF2B5EF4-FFF2-40B4-BE49-F238E27FC236}">
                    <a16:creationId xmlns:a16="http://schemas.microsoft.com/office/drawing/2014/main" id="{859F8BBD-66B7-4991-850C-55D6941E51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650" y="809625"/>
                <a:ext cx="22225" cy="22225"/>
              </a:xfrm>
              <a:custGeom>
                <a:avLst/>
                <a:gdLst>
                  <a:gd name="T0" fmla="*/ 46 w 71"/>
                  <a:gd name="T1" fmla="*/ 68 h 72"/>
                  <a:gd name="T2" fmla="*/ 48 w 71"/>
                  <a:gd name="T3" fmla="*/ 70 h 72"/>
                  <a:gd name="T4" fmla="*/ 51 w 71"/>
                  <a:gd name="T5" fmla="*/ 71 h 72"/>
                  <a:gd name="T6" fmla="*/ 53 w 71"/>
                  <a:gd name="T7" fmla="*/ 72 h 72"/>
                  <a:gd name="T8" fmla="*/ 56 w 71"/>
                  <a:gd name="T9" fmla="*/ 72 h 72"/>
                  <a:gd name="T10" fmla="*/ 59 w 71"/>
                  <a:gd name="T11" fmla="*/ 72 h 72"/>
                  <a:gd name="T12" fmla="*/ 62 w 71"/>
                  <a:gd name="T13" fmla="*/ 71 h 72"/>
                  <a:gd name="T14" fmla="*/ 65 w 71"/>
                  <a:gd name="T15" fmla="*/ 70 h 72"/>
                  <a:gd name="T16" fmla="*/ 67 w 71"/>
                  <a:gd name="T17" fmla="*/ 68 h 72"/>
                  <a:gd name="T18" fmla="*/ 69 w 71"/>
                  <a:gd name="T19" fmla="*/ 66 h 72"/>
                  <a:gd name="T20" fmla="*/ 70 w 71"/>
                  <a:gd name="T21" fmla="*/ 63 h 72"/>
                  <a:gd name="T22" fmla="*/ 71 w 71"/>
                  <a:gd name="T23" fmla="*/ 61 h 72"/>
                  <a:gd name="T24" fmla="*/ 71 w 71"/>
                  <a:gd name="T25" fmla="*/ 57 h 72"/>
                  <a:gd name="T26" fmla="*/ 71 w 71"/>
                  <a:gd name="T27" fmla="*/ 54 h 72"/>
                  <a:gd name="T28" fmla="*/ 70 w 71"/>
                  <a:gd name="T29" fmla="*/ 52 h 72"/>
                  <a:gd name="T30" fmla="*/ 69 w 71"/>
                  <a:gd name="T31" fmla="*/ 50 h 72"/>
                  <a:gd name="T32" fmla="*/ 67 w 71"/>
                  <a:gd name="T33" fmla="*/ 47 h 72"/>
                  <a:gd name="T34" fmla="*/ 24 w 71"/>
                  <a:gd name="T35" fmla="*/ 4 h 72"/>
                  <a:gd name="T36" fmla="*/ 22 w 71"/>
                  <a:gd name="T37" fmla="*/ 2 h 72"/>
                  <a:gd name="T38" fmla="*/ 20 w 71"/>
                  <a:gd name="T39" fmla="*/ 1 h 72"/>
                  <a:gd name="T40" fmla="*/ 17 w 71"/>
                  <a:gd name="T41" fmla="*/ 0 h 72"/>
                  <a:gd name="T42" fmla="*/ 14 w 71"/>
                  <a:gd name="T43" fmla="*/ 0 h 72"/>
                  <a:gd name="T44" fmla="*/ 11 w 71"/>
                  <a:gd name="T45" fmla="*/ 0 h 72"/>
                  <a:gd name="T46" fmla="*/ 8 w 71"/>
                  <a:gd name="T47" fmla="*/ 1 h 72"/>
                  <a:gd name="T48" fmla="*/ 6 w 71"/>
                  <a:gd name="T49" fmla="*/ 2 h 72"/>
                  <a:gd name="T50" fmla="*/ 4 w 71"/>
                  <a:gd name="T51" fmla="*/ 4 h 72"/>
                  <a:gd name="T52" fmla="*/ 2 w 71"/>
                  <a:gd name="T53" fmla="*/ 6 h 72"/>
                  <a:gd name="T54" fmla="*/ 1 w 71"/>
                  <a:gd name="T55" fmla="*/ 9 h 72"/>
                  <a:gd name="T56" fmla="*/ 0 w 71"/>
                  <a:gd name="T57" fmla="*/ 11 h 72"/>
                  <a:gd name="T58" fmla="*/ 0 w 71"/>
                  <a:gd name="T59" fmla="*/ 15 h 72"/>
                  <a:gd name="T60" fmla="*/ 0 w 71"/>
                  <a:gd name="T61" fmla="*/ 18 h 72"/>
                  <a:gd name="T62" fmla="*/ 1 w 71"/>
                  <a:gd name="T63" fmla="*/ 20 h 72"/>
                  <a:gd name="T64" fmla="*/ 2 w 71"/>
                  <a:gd name="T65" fmla="*/ 23 h 72"/>
                  <a:gd name="T66" fmla="*/ 4 w 71"/>
                  <a:gd name="T67" fmla="*/ 24 h 72"/>
                  <a:gd name="T68" fmla="*/ 46 w 71"/>
                  <a:gd name="T69" fmla="*/ 68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1" h="72">
                    <a:moveTo>
                      <a:pt x="46" y="68"/>
                    </a:moveTo>
                    <a:lnTo>
                      <a:pt x="48" y="70"/>
                    </a:lnTo>
                    <a:lnTo>
                      <a:pt x="51" y="71"/>
                    </a:lnTo>
                    <a:lnTo>
                      <a:pt x="53" y="72"/>
                    </a:lnTo>
                    <a:lnTo>
                      <a:pt x="56" y="72"/>
                    </a:lnTo>
                    <a:lnTo>
                      <a:pt x="59" y="72"/>
                    </a:lnTo>
                    <a:lnTo>
                      <a:pt x="62" y="71"/>
                    </a:lnTo>
                    <a:lnTo>
                      <a:pt x="65" y="70"/>
                    </a:lnTo>
                    <a:lnTo>
                      <a:pt x="67" y="68"/>
                    </a:lnTo>
                    <a:lnTo>
                      <a:pt x="69" y="66"/>
                    </a:lnTo>
                    <a:lnTo>
                      <a:pt x="70" y="63"/>
                    </a:lnTo>
                    <a:lnTo>
                      <a:pt x="71" y="61"/>
                    </a:lnTo>
                    <a:lnTo>
                      <a:pt x="71" y="57"/>
                    </a:lnTo>
                    <a:lnTo>
                      <a:pt x="71" y="54"/>
                    </a:lnTo>
                    <a:lnTo>
                      <a:pt x="70" y="52"/>
                    </a:lnTo>
                    <a:lnTo>
                      <a:pt x="69" y="50"/>
                    </a:lnTo>
                    <a:lnTo>
                      <a:pt x="67" y="47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4"/>
                    </a:lnTo>
                    <a:lnTo>
                      <a:pt x="46" y="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5" name="Freeform 61">
                <a:extLst>
                  <a:ext uri="{FF2B5EF4-FFF2-40B4-BE49-F238E27FC236}">
                    <a16:creationId xmlns:a16="http://schemas.microsoft.com/office/drawing/2014/main" id="{EFD0A90C-943A-4C06-B8DC-CBD1F0A6E4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650" y="984250"/>
                <a:ext cx="22225" cy="22225"/>
              </a:xfrm>
              <a:custGeom>
                <a:avLst/>
                <a:gdLst>
                  <a:gd name="T0" fmla="*/ 46 w 71"/>
                  <a:gd name="T1" fmla="*/ 4 h 71"/>
                  <a:gd name="T2" fmla="*/ 4 w 71"/>
                  <a:gd name="T3" fmla="*/ 46 h 71"/>
                  <a:gd name="T4" fmla="*/ 2 w 71"/>
                  <a:gd name="T5" fmla="*/ 49 h 71"/>
                  <a:gd name="T6" fmla="*/ 1 w 71"/>
                  <a:gd name="T7" fmla="*/ 51 h 71"/>
                  <a:gd name="T8" fmla="*/ 0 w 71"/>
                  <a:gd name="T9" fmla="*/ 54 h 71"/>
                  <a:gd name="T10" fmla="*/ 0 w 71"/>
                  <a:gd name="T11" fmla="*/ 58 h 71"/>
                  <a:gd name="T12" fmla="*/ 0 w 71"/>
                  <a:gd name="T13" fmla="*/ 60 h 71"/>
                  <a:gd name="T14" fmla="*/ 1 w 71"/>
                  <a:gd name="T15" fmla="*/ 63 h 71"/>
                  <a:gd name="T16" fmla="*/ 2 w 71"/>
                  <a:gd name="T17" fmla="*/ 65 h 71"/>
                  <a:gd name="T18" fmla="*/ 4 w 71"/>
                  <a:gd name="T19" fmla="*/ 67 h 71"/>
                  <a:gd name="T20" fmla="*/ 6 w 71"/>
                  <a:gd name="T21" fmla="*/ 69 h 71"/>
                  <a:gd name="T22" fmla="*/ 8 w 71"/>
                  <a:gd name="T23" fmla="*/ 70 h 71"/>
                  <a:gd name="T24" fmla="*/ 11 w 71"/>
                  <a:gd name="T25" fmla="*/ 71 h 71"/>
                  <a:gd name="T26" fmla="*/ 14 w 71"/>
                  <a:gd name="T27" fmla="*/ 71 h 71"/>
                  <a:gd name="T28" fmla="*/ 17 w 71"/>
                  <a:gd name="T29" fmla="*/ 71 h 71"/>
                  <a:gd name="T30" fmla="*/ 20 w 71"/>
                  <a:gd name="T31" fmla="*/ 70 h 71"/>
                  <a:gd name="T32" fmla="*/ 22 w 71"/>
                  <a:gd name="T33" fmla="*/ 69 h 71"/>
                  <a:gd name="T34" fmla="*/ 24 w 71"/>
                  <a:gd name="T35" fmla="*/ 67 h 71"/>
                  <a:gd name="T36" fmla="*/ 67 w 71"/>
                  <a:gd name="T37" fmla="*/ 25 h 71"/>
                  <a:gd name="T38" fmla="*/ 69 w 71"/>
                  <a:gd name="T39" fmla="*/ 23 h 71"/>
                  <a:gd name="T40" fmla="*/ 70 w 71"/>
                  <a:gd name="T41" fmla="*/ 20 h 71"/>
                  <a:gd name="T42" fmla="*/ 71 w 71"/>
                  <a:gd name="T43" fmla="*/ 18 h 71"/>
                  <a:gd name="T44" fmla="*/ 71 w 71"/>
                  <a:gd name="T45" fmla="*/ 15 h 71"/>
                  <a:gd name="T46" fmla="*/ 71 w 71"/>
                  <a:gd name="T47" fmla="*/ 12 h 71"/>
                  <a:gd name="T48" fmla="*/ 70 w 71"/>
                  <a:gd name="T49" fmla="*/ 9 h 71"/>
                  <a:gd name="T50" fmla="*/ 69 w 71"/>
                  <a:gd name="T51" fmla="*/ 6 h 71"/>
                  <a:gd name="T52" fmla="*/ 67 w 71"/>
                  <a:gd name="T53" fmla="*/ 4 h 71"/>
                  <a:gd name="T54" fmla="*/ 65 w 71"/>
                  <a:gd name="T55" fmla="*/ 2 h 71"/>
                  <a:gd name="T56" fmla="*/ 62 w 71"/>
                  <a:gd name="T57" fmla="*/ 1 h 71"/>
                  <a:gd name="T58" fmla="*/ 59 w 71"/>
                  <a:gd name="T59" fmla="*/ 0 h 71"/>
                  <a:gd name="T60" fmla="*/ 56 w 71"/>
                  <a:gd name="T61" fmla="*/ 0 h 71"/>
                  <a:gd name="T62" fmla="*/ 53 w 71"/>
                  <a:gd name="T63" fmla="*/ 0 h 71"/>
                  <a:gd name="T64" fmla="*/ 51 w 71"/>
                  <a:gd name="T65" fmla="*/ 1 h 71"/>
                  <a:gd name="T66" fmla="*/ 48 w 71"/>
                  <a:gd name="T67" fmla="*/ 2 h 71"/>
                  <a:gd name="T68" fmla="*/ 46 w 71"/>
                  <a:gd name="T69" fmla="*/ 4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1" h="71">
                    <a:moveTo>
                      <a:pt x="46" y="4"/>
                    </a:moveTo>
                    <a:lnTo>
                      <a:pt x="4" y="46"/>
                    </a:lnTo>
                    <a:lnTo>
                      <a:pt x="2" y="49"/>
                    </a:lnTo>
                    <a:lnTo>
                      <a:pt x="1" y="51"/>
                    </a:lnTo>
                    <a:lnTo>
                      <a:pt x="0" y="54"/>
                    </a:lnTo>
                    <a:lnTo>
                      <a:pt x="0" y="58"/>
                    </a:lnTo>
                    <a:lnTo>
                      <a:pt x="0" y="60"/>
                    </a:lnTo>
                    <a:lnTo>
                      <a:pt x="1" y="63"/>
                    </a:lnTo>
                    <a:lnTo>
                      <a:pt x="2" y="65"/>
                    </a:lnTo>
                    <a:lnTo>
                      <a:pt x="4" y="67"/>
                    </a:lnTo>
                    <a:lnTo>
                      <a:pt x="6" y="69"/>
                    </a:lnTo>
                    <a:lnTo>
                      <a:pt x="8" y="70"/>
                    </a:lnTo>
                    <a:lnTo>
                      <a:pt x="11" y="71"/>
                    </a:lnTo>
                    <a:lnTo>
                      <a:pt x="14" y="71"/>
                    </a:lnTo>
                    <a:lnTo>
                      <a:pt x="17" y="71"/>
                    </a:lnTo>
                    <a:lnTo>
                      <a:pt x="20" y="70"/>
                    </a:lnTo>
                    <a:lnTo>
                      <a:pt x="22" y="69"/>
                    </a:lnTo>
                    <a:lnTo>
                      <a:pt x="24" y="67"/>
                    </a:lnTo>
                    <a:lnTo>
                      <a:pt x="67" y="25"/>
                    </a:lnTo>
                    <a:lnTo>
                      <a:pt x="69" y="23"/>
                    </a:lnTo>
                    <a:lnTo>
                      <a:pt x="70" y="20"/>
                    </a:lnTo>
                    <a:lnTo>
                      <a:pt x="71" y="18"/>
                    </a:lnTo>
                    <a:lnTo>
                      <a:pt x="71" y="15"/>
                    </a:lnTo>
                    <a:lnTo>
                      <a:pt x="71" y="12"/>
                    </a:lnTo>
                    <a:lnTo>
                      <a:pt x="70" y="9"/>
                    </a:lnTo>
                    <a:lnTo>
                      <a:pt x="69" y="6"/>
                    </a:lnTo>
                    <a:lnTo>
                      <a:pt x="67" y="4"/>
                    </a:lnTo>
                    <a:lnTo>
                      <a:pt x="65" y="2"/>
                    </a:lnTo>
                    <a:lnTo>
                      <a:pt x="62" y="1"/>
                    </a:lnTo>
                    <a:lnTo>
                      <a:pt x="59" y="0"/>
                    </a:lnTo>
                    <a:lnTo>
                      <a:pt x="56" y="0"/>
                    </a:lnTo>
                    <a:lnTo>
                      <a:pt x="53" y="0"/>
                    </a:lnTo>
                    <a:lnTo>
                      <a:pt x="51" y="1"/>
                    </a:lnTo>
                    <a:lnTo>
                      <a:pt x="48" y="2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6" name="Freeform 62">
                <a:extLst>
                  <a:ext uri="{FF2B5EF4-FFF2-40B4-BE49-F238E27FC236}">
                    <a16:creationId xmlns:a16="http://schemas.microsoft.com/office/drawing/2014/main" id="{4C46BAAD-642B-4A99-92D9-28689D8B22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75" y="984250"/>
                <a:ext cx="22225" cy="22225"/>
              </a:xfrm>
              <a:custGeom>
                <a:avLst/>
                <a:gdLst>
                  <a:gd name="T0" fmla="*/ 25 w 72"/>
                  <a:gd name="T1" fmla="*/ 4 h 71"/>
                  <a:gd name="T2" fmla="*/ 22 w 72"/>
                  <a:gd name="T3" fmla="*/ 2 h 71"/>
                  <a:gd name="T4" fmla="*/ 20 w 72"/>
                  <a:gd name="T5" fmla="*/ 1 h 71"/>
                  <a:gd name="T6" fmla="*/ 17 w 72"/>
                  <a:gd name="T7" fmla="*/ 0 h 71"/>
                  <a:gd name="T8" fmla="*/ 15 w 72"/>
                  <a:gd name="T9" fmla="*/ 0 h 71"/>
                  <a:gd name="T10" fmla="*/ 12 w 72"/>
                  <a:gd name="T11" fmla="*/ 0 h 71"/>
                  <a:gd name="T12" fmla="*/ 8 w 72"/>
                  <a:gd name="T13" fmla="*/ 1 h 71"/>
                  <a:gd name="T14" fmla="*/ 6 w 72"/>
                  <a:gd name="T15" fmla="*/ 2 h 71"/>
                  <a:gd name="T16" fmla="*/ 4 w 72"/>
                  <a:gd name="T17" fmla="*/ 4 h 71"/>
                  <a:gd name="T18" fmla="*/ 2 w 72"/>
                  <a:gd name="T19" fmla="*/ 6 h 71"/>
                  <a:gd name="T20" fmla="*/ 1 w 72"/>
                  <a:gd name="T21" fmla="*/ 9 h 71"/>
                  <a:gd name="T22" fmla="*/ 0 w 72"/>
                  <a:gd name="T23" fmla="*/ 12 h 71"/>
                  <a:gd name="T24" fmla="*/ 0 w 72"/>
                  <a:gd name="T25" fmla="*/ 15 h 71"/>
                  <a:gd name="T26" fmla="*/ 0 w 72"/>
                  <a:gd name="T27" fmla="*/ 18 h 71"/>
                  <a:gd name="T28" fmla="*/ 1 w 72"/>
                  <a:gd name="T29" fmla="*/ 20 h 71"/>
                  <a:gd name="T30" fmla="*/ 2 w 72"/>
                  <a:gd name="T31" fmla="*/ 23 h 71"/>
                  <a:gd name="T32" fmla="*/ 4 w 72"/>
                  <a:gd name="T33" fmla="*/ 25 h 71"/>
                  <a:gd name="T34" fmla="*/ 46 w 72"/>
                  <a:gd name="T35" fmla="*/ 67 h 71"/>
                  <a:gd name="T36" fmla="*/ 48 w 72"/>
                  <a:gd name="T37" fmla="*/ 69 h 71"/>
                  <a:gd name="T38" fmla="*/ 51 w 72"/>
                  <a:gd name="T39" fmla="*/ 70 h 71"/>
                  <a:gd name="T40" fmla="*/ 53 w 72"/>
                  <a:gd name="T41" fmla="*/ 71 h 71"/>
                  <a:gd name="T42" fmla="*/ 57 w 72"/>
                  <a:gd name="T43" fmla="*/ 71 h 71"/>
                  <a:gd name="T44" fmla="*/ 60 w 72"/>
                  <a:gd name="T45" fmla="*/ 71 h 71"/>
                  <a:gd name="T46" fmla="*/ 62 w 72"/>
                  <a:gd name="T47" fmla="*/ 70 h 71"/>
                  <a:gd name="T48" fmla="*/ 65 w 72"/>
                  <a:gd name="T49" fmla="*/ 69 h 71"/>
                  <a:gd name="T50" fmla="*/ 67 w 72"/>
                  <a:gd name="T51" fmla="*/ 67 h 71"/>
                  <a:gd name="T52" fmla="*/ 69 w 72"/>
                  <a:gd name="T53" fmla="*/ 65 h 71"/>
                  <a:gd name="T54" fmla="*/ 70 w 72"/>
                  <a:gd name="T55" fmla="*/ 63 h 71"/>
                  <a:gd name="T56" fmla="*/ 72 w 72"/>
                  <a:gd name="T57" fmla="*/ 60 h 71"/>
                  <a:gd name="T58" fmla="*/ 72 w 72"/>
                  <a:gd name="T59" fmla="*/ 58 h 71"/>
                  <a:gd name="T60" fmla="*/ 72 w 72"/>
                  <a:gd name="T61" fmla="*/ 54 h 71"/>
                  <a:gd name="T62" fmla="*/ 70 w 72"/>
                  <a:gd name="T63" fmla="*/ 51 h 71"/>
                  <a:gd name="T64" fmla="*/ 69 w 72"/>
                  <a:gd name="T65" fmla="*/ 49 h 71"/>
                  <a:gd name="T66" fmla="*/ 67 w 72"/>
                  <a:gd name="T67" fmla="*/ 46 h 71"/>
                  <a:gd name="T68" fmla="*/ 25 w 72"/>
                  <a:gd name="T69" fmla="*/ 4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2" h="71">
                    <a:moveTo>
                      <a:pt x="25" y="4"/>
                    </a:moveTo>
                    <a:lnTo>
                      <a:pt x="22" y="2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46" y="67"/>
                    </a:lnTo>
                    <a:lnTo>
                      <a:pt x="48" y="69"/>
                    </a:lnTo>
                    <a:lnTo>
                      <a:pt x="51" y="70"/>
                    </a:lnTo>
                    <a:lnTo>
                      <a:pt x="53" y="71"/>
                    </a:lnTo>
                    <a:lnTo>
                      <a:pt x="57" y="71"/>
                    </a:lnTo>
                    <a:lnTo>
                      <a:pt x="60" y="71"/>
                    </a:lnTo>
                    <a:lnTo>
                      <a:pt x="62" y="70"/>
                    </a:lnTo>
                    <a:lnTo>
                      <a:pt x="65" y="69"/>
                    </a:lnTo>
                    <a:lnTo>
                      <a:pt x="67" y="67"/>
                    </a:lnTo>
                    <a:lnTo>
                      <a:pt x="69" y="65"/>
                    </a:lnTo>
                    <a:lnTo>
                      <a:pt x="70" y="63"/>
                    </a:lnTo>
                    <a:lnTo>
                      <a:pt x="72" y="60"/>
                    </a:lnTo>
                    <a:lnTo>
                      <a:pt x="72" y="58"/>
                    </a:lnTo>
                    <a:lnTo>
                      <a:pt x="72" y="54"/>
                    </a:lnTo>
                    <a:lnTo>
                      <a:pt x="70" y="51"/>
                    </a:lnTo>
                    <a:lnTo>
                      <a:pt x="69" y="49"/>
                    </a:lnTo>
                    <a:lnTo>
                      <a:pt x="67" y="46"/>
                    </a:lnTo>
                    <a:lnTo>
                      <a:pt x="25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907" name="Group 1906">
            <a:extLst>
              <a:ext uri="{FF2B5EF4-FFF2-40B4-BE49-F238E27FC236}">
                <a16:creationId xmlns:a16="http://schemas.microsoft.com/office/drawing/2014/main" id="{AEA02536-E35E-4EC6-817E-2BEC221CD3DB}"/>
              </a:ext>
            </a:extLst>
          </p:cNvPr>
          <p:cNvGrpSpPr/>
          <p:nvPr/>
        </p:nvGrpSpPr>
        <p:grpSpPr>
          <a:xfrm>
            <a:off x="2254054" y="4589238"/>
            <a:ext cx="418315" cy="418315"/>
            <a:chOff x="4747002" y="3515391"/>
            <a:chExt cx="418315" cy="418315"/>
          </a:xfrm>
        </p:grpSpPr>
        <p:sp>
          <p:nvSpPr>
            <p:cNvPr id="1908" name="Oval 1907">
              <a:extLst>
                <a:ext uri="{FF2B5EF4-FFF2-40B4-BE49-F238E27FC236}">
                  <a16:creationId xmlns:a16="http://schemas.microsoft.com/office/drawing/2014/main" id="{141F8E61-A62F-4E9F-BAF6-008A374158F0}"/>
                </a:ext>
              </a:extLst>
            </p:cNvPr>
            <p:cNvSpPr/>
            <p:nvPr/>
          </p:nvSpPr>
          <p:spPr>
            <a:xfrm>
              <a:off x="4747002" y="3515391"/>
              <a:ext cx="418315" cy="418315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909" name="Group 1908">
              <a:extLst>
                <a:ext uri="{FF2B5EF4-FFF2-40B4-BE49-F238E27FC236}">
                  <a16:creationId xmlns:a16="http://schemas.microsoft.com/office/drawing/2014/main" id="{8261B7F8-BAB9-464B-B050-1456F31B9560}"/>
                </a:ext>
              </a:extLst>
            </p:cNvPr>
            <p:cNvGrpSpPr/>
            <p:nvPr/>
          </p:nvGrpSpPr>
          <p:grpSpPr>
            <a:xfrm>
              <a:off x="4867938" y="3635834"/>
              <a:ext cx="176442" cy="177428"/>
              <a:chOff x="906463" y="769938"/>
              <a:chExt cx="284162" cy="285750"/>
            </a:xfrm>
            <a:solidFill>
              <a:schemeClr val="bg1"/>
            </a:solidFill>
          </p:grpSpPr>
          <p:sp>
            <p:nvSpPr>
              <p:cNvPr id="1910" name="Freeform 63">
                <a:extLst>
                  <a:ext uri="{FF2B5EF4-FFF2-40B4-BE49-F238E27FC236}">
                    <a16:creationId xmlns:a16="http://schemas.microsoft.com/office/drawing/2014/main" id="{42F0073C-6D55-41BE-8D1C-B1FABD148F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650" y="769938"/>
                <a:ext cx="9525" cy="19050"/>
              </a:xfrm>
              <a:custGeom>
                <a:avLst/>
                <a:gdLst>
                  <a:gd name="T0" fmla="*/ 15 w 30"/>
                  <a:gd name="T1" fmla="*/ 59 h 59"/>
                  <a:gd name="T2" fmla="*/ 18 w 30"/>
                  <a:gd name="T3" fmla="*/ 59 h 59"/>
                  <a:gd name="T4" fmla="*/ 21 w 30"/>
                  <a:gd name="T5" fmla="*/ 58 h 59"/>
                  <a:gd name="T6" fmla="*/ 23 w 30"/>
                  <a:gd name="T7" fmla="*/ 57 h 59"/>
                  <a:gd name="T8" fmla="*/ 25 w 30"/>
                  <a:gd name="T9" fmla="*/ 55 h 59"/>
                  <a:gd name="T10" fmla="*/ 27 w 30"/>
                  <a:gd name="T11" fmla="*/ 53 h 59"/>
                  <a:gd name="T12" fmla="*/ 28 w 30"/>
                  <a:gd name="T13" fmla="*/ 51 h 59"/>
                  <a:gd name="T14" fmla="*/ 30 w 30"/>
                  <a:gd name="T15" fmla="*/ 48 h 59"/>
                  <a:gd name="T16" fmla="*/ 30 w 30"/>
                  <a:gd name="T17" fmla="*/ 44 h 59"/>
                  <a:gd name="T18" fmla="*/ 30 w 30"/>
                  <a:gd name="T19" fmla="*/ 14 h 59"/>
                  <a:gd name="T20" fmla="*/ 30 w 30"/>
                  <a:gd name="T21" fmla="*/ 11 h 59"/>
                  <a:gd name="T22" fmla="*/ 28 w 30"/>
                  <a:gd name="T23" fmla="*/ 9 h 59"/>
                  <a:gd name="T24" fmla="*/ 27 w 30"/>
                  <a:gd name="T25" fmla="*/ 6 h 59"/>
                  <a:gd name="T26" fmla="*/ 25 w 30"/>
                  <a:gd name="T27" fmla="*/ 4 h 59"/>
                  <a:gd name="T28" fmla="*/ 23 w 30"/>
                  <a:gd name="T29" fmla="*/ 2 h 59"/>
                  <a:gd name="T30" fmla="*/ 21 w 30"/>
                  <a:gd name="T31" fmla="*/ 1 h 59"/>
                  <a:gd name="T32" fmla="*/ 18 w 30"/>
                  <a:gd name="T33" fmla="*/ 0 h 59"/>
                  <a:gd name="T34" fmla="*/ 15 w 30"/>
                  <a:gd name="T35" fmla="*/ 0 h 59"/>
                  <a:gd name="T36" fmla="*/ 11 w 30"/>
                  <a:gd name="T37" fmla="*/ 0 h 59"/>
                  <a:gd name="T38" fmla="*/ 9 w 30"/>
                  <a:gd name="T39" fmla="*/ 1 h 59"/>
                  <a:gd name="T40" fmla="*/ 6 w 30"/>
                  <a:gd name="T41" fmla="*/ 2 h 59"/>
                  <a:gd name="T42" fmla="*/ 4 w 30"/>
                  <a:gd name="T43" fmla="*/ 4 h 59"/>
                  <a:gd name="T44" fmla="*/ 3 w 30"/>
                  <a:gd name="T45" fmla="*/ 6 h 59"/>
                  <a:gd name="T46" fmla="*/ 1 w 30"/>
                  <a:gd name="T47" fmla="*/ 9 h 59"/>
                  <a:gd name="T48" fmla="*/ 0 w 30"/>
                  <a:gd name="T49" fmla="*/ 11 h 59"/>
                  <a:gd name="T50" fmla="*/ 0 w 30"/>
                  <a:gd name="T51" fmla="*/ 14 h 59"/>
                  <a:gd name="T52" fmla="*/ 0 w 30"/>
                  <a:gd name="T53" fmla="*/ 44 h 59"/>
                  <a:gd name="T54" fmla="*/ 0 w 30"/>
                  <a:gd name="T55" fmla="*/ 48 h 59"/>
                  <a:gd name="T56" fmla="*/ 1 w 30"/>
                  <a:gd name="T57" fmla="*/ 51 h 59"/>
                  <a:gd name="T58" fmla="*/ 3 w 30"/>
                  <a:gd name="T59" fmla="*/ 53 h 59"/>
                  <a:gd name="T60" fmla="*/ 4 w 30"/>
                  <a:gd name="T61" fmla="*/ 55 h 59"/>
                  <a:gd name="T62" fmla="*/ 6 w 30"/>
                  <a:gd name="T63" fmla="*/ 57 h 59"/>
                  <a:gd name="T64" fmla="*/ 9 w 30"/>
                  <a:gd name="T65" fmla="*/ 58 h 59"/>
                  <a:gd name="T66" fmla="*/ 11 w 30"/>
                  <a:gd name="T67" fmla="*/ 59 h 59"/>
                  <a:gd name="T68" fmla="*/ 15 w 30"/>
                  <a:gd name="T69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59">
                    <a:moveTo>
                      <a:pt x="15" y="59"/>
                    </a:moveTo>
                    <a:lnTo>
                      <a:pt x="18" y="59"/>
                    </a:lnTo>
                    <a:lnTo>
                      <a:pt x="21" y="58"/>
                    </a:lnTo>
                    <a:lnTo>
                      <a:pt x="23" y="57"/>
                    </a:lnTo>
                    <a:lnTo>
                      <a:pt x="25" y="55"/>
                    </a:lnTo>
                    <a:lnTo>
                      <a:pt x="27" y="53"/>
                    </a:lnTo>
                    <a:lnTo>
                      <a:pt x="28" y="51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14"/>
                    </a:lnTo>
                    <a:lnTo>
                      <a:pt x="30" y="11"/>
                    </a:lnTo>
                    <a:lnTo>
                      <a:pt x="28" y="9"/>
                    </a:lnTo>
                    <a:lnTo>
                      <a:pt x="27" y="6"/>
                    </a:lnTo>
                    <a:lnTo>
                      <a:pt x="25" y="4"/>
                    </a:lnTo>
                    <a:lnTo>
                      <a:pt x="23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44"/>
                    </a:lnTo>
                    <a:lnTo>
                      <a:pt x="0" y="48"/>
                    </a:lnTo>
                    <a:lnTo>
                      <a:pt x="1" y="51"/>
                    </a:lnTo>
                    <a:lnTo>
                      <a:pt x="3" y="53"/>
                    </a:lnTo>
                    <a:lnTo>
                      <a:pt x="4" y="55"/>
                    </a:lnTo>
                    <a:lnTo>
                      <a:pt x="6" y="57"/>
                    </a:lnTo>
                    <a:lnTo>
                      <a:pt x="9" y="58"/>
                    </a:lnTo>
                    <a:lnTo>
                      <a:pt x="11" y="59"/>
                    </a:lnTo>
                    <a:lnTo>
                      <a:pt x="15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1" name="Freeform 64">
                <a:extLst>
                  <a:ext uri="{FF2B5EF4-FFF2-40B4-BE49-F238E27FC236}">
                    <a16:creationId xmlns:a16="http://schemas.microsoft.com/office/drawing/2014/main" id="{590EED18-A990-4A60-B7A5-904FC44A4E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5513" y="788988"/>
                <a:ext cx="17463" cy="19050"/>
              </a:xfrm>
              <a:custGeom>
                <a:avLst/>
                <a:gdLst>
                  <a:gd name="T0" fmla="*/ 44 w 59"/>
                  <a:gd name="T1" fmla="*/ 60 h 60"/>
                  <a:gd name="T2" fmla="*/ 47 w 59"/>
                  <a:gd name="T3" fmla="*/ 59 h 60"/>
                  <a:gd name="T4" fmla="*/ 50 w 59"/>
                  <a:gd name="T5" fmla="*/ 59 h 60"/>
                  <a:gd name="T6" fmla="*/ 52 w 59"/>
                  <a:gd name="T7" fmla="*/ 57 h 60"/>
                  <a:gd name="T8" fmla="*/ 54 w 59"/>
                  <a:gd name="T9" fmla="*/ 56 h 60"/>
                  <a:gd name="T10" fmla="*/ 57 w 59"/>
                  <a:gd name="T11" fmla="*/ 54 h 60"/>
                  <a:gd name="T12" fmla="*/ 58 w 59"/>
                  <a:gd name="T13" fmla="*/ 52 h 60"/>
                  <a:gd name="T14" fmla="*/ 59 w 59"/>
                  <a:gd name="T15" fmla="*/ 49 h 60"/>
                  <a:gd name="T16" fmla="*/ 59 w 59"/>
                  <a:gd name="T17" fmla="*/ 45 h 60"/>
                  <a:gd name="T18" fmla="*/ 59 w 59"/>
                  <a:gd name="T19" fmla="*/ 43 h 60"/>
                  <a:gd name="T20" fmla="*/ 58 w 59"/>
                  <a:gd name="T21" fmla="*/ 40 h 60"/>
                  <a:gd name="T22" fmla="*/ 57 w 59"/>
                  <a:gd name="T23" fmla="*/ 37 h 60"/>
                  <a:gd name="T24" fmla="*/ 54 w 59"/>
                  <a:gd name="T25" fmla="*/ 35 h 60"/>
                  <a:gd name="T26" fmla="*/ 24 w 59"/>
                  <a:gd name="T27" fmla="*/ 5 h 60"/>
                  <a:gd name="T28" fmla="*/ 22 w 59"/>
                  <a:gd name="T29" fmla="*/ 3 h 60"/>
                  <a:gd name="T30" fmla="*/ 20 w 59"/>
                  <a:gd name="T31" fmla="*/ 2 h 60"/>
                  <a:gd name="T32" fmla="*/ 17 w 59"/>
                  <a:gd name="T33" fmla="*/ 0 h 60"/>
                  <a:gd name="T34" fmla="*/ 15 w 59"/>
                  <a:gd name="T35" fmla="*/ 0 h 60"/>
                  <a:gd name="T36" fmla="*/ 12 w 59"/>
                  <a:gd name="T37" fmla="*/ 0 h 60"/>
                  <a:gd name="T38" fmla="*/ 8 w 59"/>
                  <a:gd name="T39" fmla="*/ 2 h 60"/>
                  <a:gd name="T40" fmla="*/ 6 w 59"/>
                  <a:gd name="T41" fmla="*/ 3 h 60"/>
                  <a:gd name="T42" fmla="*/ 4 w 59"/>
                  <a:gd name="T43" fmla="*/ 5 h 60"/>
                  <a:gd name="T44" fmla="*/ 2 w 59"/>
                  <a:gd name="T45" fmla="*/ 7 h 60"/>
                  <a:gd name="T46" fmla="*/ 1 w 59"/>
                  <a:gd name="T47" fmla="*/ 10 h 60"/>
                  <a:gd name="T48" fmla="*/ 0 w 59"/>
                  <a:gd name="T49" fmla="*/ 13 h 60"/>
                  <a:gd name="T50" fmla="*/ 0 w 59"/>
                  <a:gd name="T51" fmla="*/ 15 h 60"/>
                  <a:gd name="T52" fmla="*/ 0 w 59"/>
                  <a:gd name="T53" fmla="*/ 19 h 60"/>
                  <a:gd name="T54" fmla="*/ 1 w 59"/>
                  <a:gd name="T55" fmla="*/ 22 h 60"/>
                  <a:gd name="T56" fmla="*/ 2 w 59"/>
                  <a:gd name="T57" fmla="*/ 24 h 60"/>
                  <a:gd name="T58" fmla="*/ 4 w 59"/>
                  <a:gd name="T59" fmla="*/ 26 h 60"/>
                  <a:gd name="T60" fmla="*/ 34 w 59"/>
                  <a:gd name="T61" fmla="*/ 56 h 60"/>
                  <a:gd name="T62" fmla="*/ 36 w 59"/>
                  <a:gd name="T63" fmla="*/ 57 h 60"/>
                  <a:gd name="T64" fmla="*/ 38 w 59"/>
                  <a:gd name="T65" fmla="*/ 59 h 60"/>
                  <a:gd name="T66" fmla="*/ 42 w 59"/>
                  <a:gd name="T67" fmla="*/ 59 h 60"/>
                  <a:gd name="T68" fmla="*/ 44 w 59"/>
                  <a:gd name="T6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9" h="60">
                    <a:moveTo>
                      <a:pt x="44" y="60"/>
                    </a:moveTo>
                    <a:lnTo>
                      <a:pt x="47" y="59"/>
                    </a:lnTo>
                    <a:lnTo>
                      <a:pt x="50" y="59"/>
                    </a:lnTo>
                    <a:lnTo>
                      <a:pt x="52" y="57"/>
                    </a:lnTo>
                    <a:lnTo>
                      <a:pt x="54" y="56"/>
                    </a:lnTo>
                    <a:lnTo>
                      <a:pt x="57" y="54"/>
                    </a:lnTo>
                    <a:lnTo>
                      <a:pt x="58" y="52"/>
                    </a:lnTo>
                    <a:lnTo>
                      <a:pt x="59" y="49"/>
                    </a:lnTo>
                    <a:lnTo>
                      <a:pt x="59" y="45"/>
                    </a:lnTo>
                    <a:lnTo>
                      <a:pt x="59" y="43"/>
                    </a:lnTo>
                    <a:lnTo>
                      <a:pt x="58" y="40"/>
                    </a:lnTo>
                    <a:lnTo>
                      <a:pt x="57" y="37"/>
                    </a:lnTo>
                    <a:lnTo>
                      <a:pt x="54" y="35"/>
                    </a:lnTo>
                    <a:lnTo>
                      <a:pt x="24" y="5"/>
                    </a:lnTo>
                    <a:lnTo>
                      <a:pt x="22" y="3"/>
                    </a:lnTo>
                    <a:lnTo>
                      <a:pt x="20" y="2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1" y="22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34" y="56"/>
                    </a:lnTo>
                    <a:lnTo>
                      <a:pt x="36" y="57"/>
                    </a:lnTo>
                    <a:lnTo>
                      <a:pt x="38" y="59"/>
                    </a:lnTo>
                    <a:lnTo>
                      <a:pt x="42" y="59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2" name="Freeform 65">
                <a:extLst>
                  <a:ext uri="{FF2B5EF4-FFF2-40B4-BE49-F238E27FC236}">
                    <a16:creationId xmlns:a16="http://schemas.microsoft.com/office/drawing/2014/main" id="{5D136F51-9B93-4C27-86C3-37673E4B84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5850" y="793750"/>
                <a:ext cx="19050" cy="19050"/>
              </a:xfrm>
              <a:custGeom>
                <a:avLst/>
                <a:gdLst>
                  <a:gd name="T0" fmla="*/ 15 w 60"/>
                  <a:gd name="T1" fmla="*/ 60 h 60"/>
                  <a:gd name="T2" fmla="*/ 19 w 60"/>
                  <a:gd name="T3" fmla="*/ 59 h 60"/>
                  <a:gd name="T4" fmla="*/ 21 w 60"/>
                  <a:gd name="T5" fmla="*/ 59 h 60"/>
                  <a:gd name="T6" fmla="*/ 24 w 60"/>
                  <a:gd name="T7" fmla="*/ 57 h 60"/>
                  <a:gd name="T8" fmla="*/ 26 w 60"/>
                  <a:gd name="T9" fmla="*/ 56 h 60"/>
                  <a:gd name="T10" fmla="*/ 56 w 60"/>
                  <a:gd name="T11" fmla="*/ 26 h 60"/>
                  <a:gd name="T12" fmla="*/ 58 w 60"/>
                  <a:gd name="T13" fmla="*/ 24 h 60"/>
                  <a:gd name="T14" fmla="*/ 59 w 60"/>
                  <a:gd name="T15" fmla="*/ 22 h 60"/>
                  <a:gd name="T16" fmla="*/ 60 w 60"/>
                  <a:gd name="T17" fmla="*/ 19 h 60"/>
                  <a:gd name="T18" fmla="*/ 60 w 60"/>
                  <a:gd name="T19" fmla="*/ 15 h 60"/>
                  <a:gd name="T20" fmla="*/ 60 w 60"/>
                  <a:gd name="T21" fmla="*/ 13 h 60"/>
                  <a:gd name="T22" fmla="*/ 59 w 60"/>
                  <a:gd name="T23" fmla="*/ 10 h 60"/>
                  <a:gd name="T24" fmla="*/ 58 w 60"/>
                  <a:gd name="T25" fmla="*/ 7 h 60"/>
                  <a:gd name="T26" fmla="*/ 56 w 60"/>
                  <a:gd name="T27" fmla="*/ 5 h 60"/>
                  <a:gd name="T28" fmla="*/ 54 w 60"/>
                  <a:gd name="T29" fmla="*/ 3 h 60"/>
                  <a:gd name="T30" fmla="*/ 51 w 60"/>
                  <a:gd name="T31" fmla="*/ 2 h 60"/>
                  <a:gd name="T32" fmla="*/ 49 w 60"/>
                  <a:gd name="T33" fmla="*/ 0 h 60"/>
                  <a:gd name="T34" fmla="*/ 45 w 60"/>
                  <a:gd name="T35" fmla="*/ 0 h 60"/>
                  <a:gd name="T36" fmla="*/ 42 w 60"/>
                  <a:gd name="T37" fmla="*/ 0 h 60"/>
                  <a:gd name="T38" fmla="*/ 40 w 60"/>
                  <a:gd name="T39" fmla="*/ 2 h 60"/>
                  <a:gd name="T40" fmla="*/ 37 w 60"/>
                  <a:gd name="T41" fmla="*/ 3 h 60"/>
                  <a:gd name="T42" fmla="*/ 35 w 60"/>
                  <a:gd name="T43" fmla="*/ 5 h 60"/>
                  <a:gd name="T44" fmla="*/ 5 w 60"/>
                  <a:gd name="T45" fmla="*/ 35 h 60"/>
                  <a:gd name="T46" fmla="*/ 3 w 60"/>
                  <a:gd name="T47" fmla="*/ 37 h 60"/>
                  <a:gd name="T48" fmla="*/ 1 w 60"/>
                  <a:gd name="T49" fmla="*/ 40 h 60"/>
                  <a:gd name="T50" fmla="*/ 0 w 60"/>
                  <a:gd name="T51" fmla="*/ 43 h 60"/>
                  <a:gd name="T52" fmla="*/ 0 w 60"/>
                  <a:gd name="T53" fmla="*/ 45 h 60"/>
                  <a:gd name="T54" fmla="*/ 0 w 60"/>
                  <a:gd name="T55" fmla="*/ 49 h 60"/>
                  <a:gd name="T56" fmla="*/ 1 w 60"/>
                  <a:gd name="T57" fmla="*/ 52 h 60"/>
                  <a:gd name="T58" fmla="*/ 3 w 60"/>
                  <a:gd name="T59" fmla="*/ 54 h 60"/>
                  <a:gd name="T60" fmla="*/ 5 w 60"/>
                  <a:gd name="T61" fmla="*/ 56 h 60"/>
                  <a:gd name="T62" fmla="*/ 7 w 60"/>
                  <a:gd name="T63" fmla="*/ 57 h 60"/>
                  <a:gd name="T64" fmla="*/ 10 w 60"/>
                  <a:gd name="T65" fmla="*/ 59 h 60"/>
                  <a:gd name="T66" fmla="*/ 12 w 60"/>
                  <a:gd name="T67" fmla="*/ 59 h 60"/>
                  <a:gd name="T68" fmla="*/ 15 w 60"/>
                  <a:gd name="T6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60">
                    <a:moveTo>
                      <a:pt x="15" y="60"/>
                    </a:moveTo>
                    <a:lnTo>
                      <a:pt x="19" y="59"/>
                    </a:lnTo>
                    <a:lnTo>
                      <a:pt x="21" y="59"/>
                    </a:lnTo>
                    <a:lnTo>
                      <a:pt x="24" y="57"/>
                    </a:lnTo>
                    <a:lnTo>
                      <a:pt x="26" y="56"/>
                    </a:lnTo>
                    <a:lnTo>
                      <a:pt x="56" y="26"/>
                    </a:lnTo>
                    <a:lnTo>
                      <a:pt x="58" y="24"/>
                    </a:lnTo>
                    <a:lnTo>
                      <a:pt x="59" y="22"/>
                    </a:lnTo>
                    <a:lnTo>
                      <a:pt x="60" y="19"/>
                    </a:lnTo>
                    <a:lnTo>
                      <a:pt x="60" y="15"/>
                    </a:lnTo>
                    <a:lnTo>
                      <a:pt x="60" y="13"/>
                    </a:lnTo>
                    <a:lnTo>
                      <a:pt x="59" y="10"/>
                    </a:lnTo>
                    <a:lnTo>
                      <a:pt x="58" y="7"/>
                    </a:lnTo>
                    <a:lnTo>
                      <a:pt x="56" y="5"/>
                    </a:lnTo>
                    <a:lnTo>
                      <a:pt x="54" y="3"/>
                    </a:lnTo>
                    <a:lnTo>
                      <a:pt x="51" y="2"/>
                    </a:lnTo>
                    <a:lnTo>
                      <a:pt x="49" y="0"/>
                    </a:lnTo>
                    <a:lnTo>
                      <a:pt x="45" y="0"/>
                    </a:lnTo>
                    <a:lnTo>
                      <a:pt x="42" y="0"/>
                    </a:lnTo>
                    <a:lnTo>
                      <a:pt x="40" y="2"/>
                    </a:lnTo>
                    <a:lnTo>
                      <a:pt x="37" y="3"/>
                    </a:lnTo>
                    <a:lnTo>
                      <a:pt x="35" y="5"/>
                    </a:lnTo>
                    <a:lnTo>
                      <a:pt x="5" y="35"/>
                    </a:lnTo>
                    <a:lnTo>
                      <a:pt x="3" y="37"/>
                    </a:lnTo>
                    <a:lnTo>
                      <a:pt x="1" y="40"/>
                    </a:lnTo>
                    <a:lnTo>
                      <a:pt x="0" y="43"/>
                    </a:lnTo>
                    <a:lnTo>
                      <a:pt x="0" y="45"/>
                    </a:lnTo>
                    <a:lnTo>
                      <a:pt x="0" y="49"/>
                    </a:lnTo>
                    <a:lnTo>
                      <a:pt x="1" y="52"/>
                    </a:lnTo>
                    <a:lnTo>
                      <a:pt x="3" y="54"/>
                    </a:lnTo>
                    <a:lnTo>
                      <a:pt x="5" y="56"/>
                    </a:lnTo>
                    <a:lnTo>
                      <a:pt x="7" y="57"/>
                    </a:lnTo>
                    <a:lnTo>
                      <a:pt x="10" y="59"/>
                    </a:lnTo>
                    <a:lnTo>
                      <a:pt x="12" y="59"/>
                    </a:lnTo>
                    <a:lnTo>
                      <a:pt x="15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3" name="Freeform 66">
                <a:extLst>
                  <a:ext uri="{FF2B5EF4-FFF2-40B4-BE49-F238E27FC236}">
                    <a16:creationId xmlns:a16="http://schemas.microsoft.com/office/drawing/2014/main" id="{4ADDB18D-7936-4C23-9EBA-96D42EA980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6463" y="874713"/>
                <a:ext cx="19050" cy="9525"/>
              </a:xfrm>
              <a:custGeom>
                <a:avLst/>
                <a:gdLst>
                  <a:gd name="T0" fmla="*/ 45 w 60"/>
                  <a:gd name="T1" fmla="*/ 0 h 30"/>
                  <a:gd name="T2" fmla="*/ 15 w 60"/>
                  <a:gd name="T3" fmla="*/ 0 h 30"/>
                  <a:gd name="T4" fmla="*/ 12 w 60"/>
                  <a:gd name="T5" fmla="*/ 1 h 30"/>
                  <a:gd name="T6" fmla="*/ 8 w 60"/>
                  <a:gd name="T7" fmla="*/ 2 h 30"/>
                  <a:gd name="T8" fmla="*/ 6 w 60"/>
                  <a:gd name="T9" fmla="*/ 3 h 30"/>
                  <a:gd name="T10" fmla="*/ 4 w 60"/>
                  <a:gd name="T11" fmla="*/ 5 h 30"/>
                  <a:gd name="T12" fmla="*/ 2 w 60"/>
                  <a:gd name="T13" fmla="*/ 8 h 30"/>
                  <a:gd name="T14" fmla="*/ 1 w 60"/>
                  <a:gd name="T15" fmla="*/ 10 h 30"/>
                  <a:gd name="T16" fmla="*/ 0 w 60"/>
                  <a:gd name="T17" fmla="*/ 13 h 30"/>
                  <a:gd name="T18" fmla="*/ 0 w 60"/>
                  <a:gd name="T19" fmla="*/ 15 h 30"/>
                  <a:gd name="T20" fmla="*/ 0 w 60"/>
                  <a:gd name="T21" fmla="*/ 18 h 30"/>
                  <a:gd name="T22" fmla="*/ 1 w 60"/>
                  <a:gd name="T23" fmla="*/ 22 h 30"/>
                  <a:gd name="T24" fmla="*/ 2 w 60"/>
                  <a:gd name="T25" fmla="*/ 25 h 30"/>
                  <a:gd name="T26" fmla="*/ 4 w 60"/>
                  <a:gd name="T27" fmla="*/ 27 h 30"/>
                  <a:gd name="T28" fmla="*/ 6 w 60"/>
                  <a:gd name="T29" fmla="*/ 28 h 30"/>
                  <a:gd name="T30" fmla="*/ 8 w 60"/>
                  <a:gd name="T31" fmla="*/ 29 h 30"/>
                  <a:gd name="T32" fmla="*/ 12 w 60"/>
                  <a:gd name="T33" fmla="*/ 30 h 30"/>
                  <a:gd name="T34" fmla="*/ 15 w 60"/>
                  <a:gd name="T35" fmla="*/ 30 h 30"/>
                  <a:gd name="T36" fmla="*/ 45 w 60"/>
                  <a:gd name="T37" fmla="*/ 30 h 30"/>
                  <a:gd name="T38" fmla="*/ 47 w 60"/>
                  <a:gd name="T39" fmla="*/ 30 h 30"/>
                  <a:gd name="T40" fmla="*/ 50 w 60"/>
                  <a:gd name="T41" fmla="*/ 29 h 30"/>
                  <a:gd name="T42" fmla="*/ 52 w 60"/>
                  <a:gd name="T43" fmla="*/ 28 h 30"/>
                  <a:gd name="T44" fmla="*/ 54 w 60"/>
                  <a:gd name="T45" fmla="*/ 27 h 30"/>
                  <a:gd name="T46" fmla="*/ 57 w 60"/>
                  <a:gd name="T47" fmla="*/ 25 h 30"/>
                  <a:gd name="T48" fmla="*/ 58 w 60"/>
                  <a:gd name="T49" fmla="*/ 22 h 30"/>
                  <a:gd name="T50" fmla="*/ 59 w 60"/>
                  <a:gd name="T51" fmla="*/ 18 h 30"/>
                  <a:gd name="T52" fmla="*/ 60 w 60"/>
                  <a:gd name="T53" fmla="*/ 15 h 30"/>
                  <a:gd name="T54" fmla="*/ 59 w 60"/>
                  <a:gd name="T55" fmla="*/ 13 h 30"/>
                  <a:gd name="T56" fmla="*/ 58 w 60"/>
                  <a:gd name="T57" fmla="*/ 10 h 30"/>
                  <a:gd name="T58" fmla="*/ 57 w 60"/>
                  <a:gd name="T59" fmla="*/ 8 h 30"/>
                  <a:gd name="T60" fmla="*/ 54 w 60"/>
                  <a:gd name="T61" fmla="*/ 5 h 30"/>
                  <a:gd name="T62" fmla="*/ 52 w 60"/>
                  <a:gd name="T63" fmla="*/ 3 h 30"/>
                  <a:gd name="T64" fmla="*/ 50 w 60"/>
                  <a:gd name="T65" fmla="*/ 2 h 30"/>
                  <a:gd name="T66" fmla="*/ 47 w 60"/>
                  <a:gd name="T67" fmla="*/ 1 h 30"/>
                  <a:gd name="T68" fmla="*/ 45 w 60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30">
                    <a:moveTo>
                      <a:pt x="4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2"/>
                    </a:lnTo>
                    <a:lnTo>
                      <a:pt x="2" y="25"/>
                    </a:lnTo>
                    <a:lnTo>
                      <a:pt x="4" y="27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45" y="30"/>
                    </a:lnTo>
                    <a:lnTo>
                      <a:pt x="47" y="30"/>
                    </a:lnTo>
                    <a:lnTo>
                      <a:pt x="50" y="29"/>
                    </a:lnTo>
                    <a:lnTo>
                      <a:pt x="52" y="28"/>
                    </a:lnTo>
                    <a:lnTo>
                      <a:pt x="54" y="27"/>
                    </a:lnTo>
                    <a:lnTo>
                      <a:pt x="57" y="25"/>
                    </a:lnTo>
                    <a:lnTo>
                      <a:pt x="58" y="22"/>
                    </a:lnTo>
                    <a:lnTo>
                      <a:pt x="59" y="18"/>
                    </a:lnTo>
                    <a:lnTo>
                      <a:pt x="60" y="15"/>
                    </a:lnTo>
                    <a:lnTo>
                      <a:pt x="59" y="13"/>
                    </a:lnTo>
                    <a:lnTo>
                      <a:pt x="58" y="10"/>
                    </a:lnTo>
                    <a:lnTo>
                      <a:pt x="57" y="8"/>
                    </a:lnTo>
                    <a:lnTo>
                      <a:pt x="54" y="5"/>
                    </a:lnTo>
                    <a:lnTo>
                      <a:pt x="52" y="3"/>
                    </a:lnTo>
                    <a:lnTo>
                      <a:pt x="50" y="2"/>
                    </a:lnTo>
                    <a:lnTo>
                      <a:pt x="47" y="1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4" name="Freeform 67">
                <a:extLst>
                  <a:ext uri="{FF2B5EF4-FFF2-40B4-BE49-F238E27FC236}">
                    <a16:creationId xmlns:a16="http://schemas.microsoft.com/office/drawing/2014/main" id="{C16F74F7-A9B3-4D1F-9D6B-32DFAD1E44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3450" y="865188"/>
                <a:ext cx="257175" cy="190500"/>
              </a:xfrm>
              <a:custGeom>
                <a:avLst/>
                <a:gdLst>
                  <a:gd name="T0" fmla="*/ 174 w 808"/>
                  <a:gd name="T1" fmla="*/ 564 h 599"/>
                  <a:gd name="T2" fmla="*/ 111 w 808"/>
                  <a:gd name="T3" fmla="*/ 536 h 599"/>
                  <a:gd name="T4" fmla="*/ 62 w 808"/>
                  <a:gd name="T5" fmla="*/ 487 h 599"/>
                  <a:gd name="T6" fmla="*/ 34 w 808"/>
                  <a:gd name="T7" fmla="*/ 424 h 599"/>
                  <a:gd name="T8" fmla="*/ 34 w 808"/>
                  <a:gd name="T9" fmla="*/ 356 h 599"/>
                  <a:gd name="T10" fmla="*/ 59 w 808"/>
                  <a:gd name="T11" fmla="*/ 296 h 599"/>
                  <a:gd name="T12" fmla="*/ 105 w 808"/>
                  <a:gd name="T13" fmla="*/ 246 h 599"/>
                  <a:gd name="T14" fmla="*/ 164 w 808"/>
                  <a:gd name="T15" fmla="*/ 215 h 599"/>
                  <a:gd name="T16" fmla="*/ 205 w 808"/>
                  <a:gd name="T17" fmla="*/ 206 h 599"/>
                  <a:gd name="T18" fmla="*/ 213 w 808"/>
                  <a:gd name="T19" fmla="*/ 177 h 599"/>
                  <a:gd name="T20" fmla="*/ 233 w 808"/>
                  <a:gd name="T21" fmla="*/ 127 h 599"/>
                  <a:gd name="T22" fmla="*/ 282 w 808"/>
                  <a:gd name="T23" fmla="*/ 74 h 599"/>
                  <a:gd name="T24" fmla="*/ 348 w 808"/>
                  <a:gd name="T25" fmla="*/ 41 h 599"/>
                  <a:gd name="T26" fmla="*/ 419 w 808"/>
                  <a:gd name="T27" fmla="*/ 29 h 599"/>
                  <a:gd name="T28" fmla="*/ 479 w 808"/>
                  <a:gd name="T29" fmla="*/ 42 h 599"/>
                  <a:gd name="T30" fmla="*/ 531 w 808"/>
                  <a:gd name="T31" fmla="*/ 74 h 599"/>
                  <a:gd name="T32" fmla="*/ 573 w 808"/>
                  <a:gd name="T33" fmla="*/ 119 h 599"/>
                  <a:gd name="T34" fmla="*/ 600 w 808"/>
                  <a:gd name="T35" fmla="*/ 170 h 599"/>
                  <a:gd name="T36" fmla="*/ 615 w 808"/>
                  <a:gd name="T37" fmla="*/ 179 h 599"/>
                  <a:gd name="T38" fmla="*/ 675 w 808"/>
                  <a:gd name="T39" fmla="*/ 186 h 599"/>
                  <a:gd name="T40" fmla="*/ 709 w 808"/>
                  <a:gd name="T41" fmla="*/ 208 h 599"/>
                  <a:gd name="T42" fmla="*/ 725 w 808"/>
                  <a:gd name="T43" fmla="*/ 235 h 599"/>
                  <a:gd name="T44" fmla="*/ 727 w 808"/>
                  <a:gd name="T45" fmla="*/ 273 h 599"/>
                  <a:gd name="T46" fmla="*/ 719 w 808"/>
                  <a:gd name="T47" fmla="*/ 304 h 599"/>
                  <a:gd name="T48" fmla="*/ 737 w 808"/>
                  <a:gd name="T49" fmla="*/ 321 h 599"/>
                  <a:gd name="T50" fmla="*/ 764 w 808"/>
                  <a:gd name="T51" fmla="*/ 361 h 599"/>
                  <a:gd name="T52" fmla="*/ 778 w 808"/>
                  <a:gd name="T53" fmla="*/ 434 h 599"/>
                  <a:gd name="T54" fmla="*/ 767 w 808"/>
                  <a:gd name="T55" fmla="*/ 486 h 599"/>
                  <a:gd name="T56" fmla="*/ 738 w 808"/>
                  <a:gd name="T57" fmla="*/ 529 h 599"/>
                  <a:gd name="T58" fmla="*/ 696 w 808"/>
                  <a:gd name="T59" fmla="*/ 558 h 599"/>
                  <a:gd name="T60" fmla="*/ 642 w 808"/>
                  <a:gd name="T61" fmla="*/ 569 h 599"/>
                  <a:gd name="T62" fmla="*/ 758 w 808"/>
                  <a:gd name="T63" fmla="*/ 258 h 599"/>
                  <a:gd name="T64" fmla="*/ 747 w 808"/>
                  <a:gd name="T65" fmla="*/ 212 h 599"/>
                  <a:gd name="T66" fmla="*/ 727 w 808"/>
                  <a:gd name="T67" fmla="*/ 183 h 599"/>
                  <a:gd name="T68" fmla="*/ 700 w 808"/>
                  <a:gd name="T69" fmla="*/ 165 h 599"/>
                  <a:gd name="T70" fmla="*/ 642 w 808"/>
                  <a:gd name="T71" fmla="*/ 149 h 599"/>
                  <a:gd name="T72" fmla="*/ 601 w 808"/>
                  <a:gd name="T73" fmla="*/ 108 h 599"/>
                  <a:gd name="T74" fmla="*/ 559 w 808"/>
                  <a:gd name="T75" fmla="*/ 58 h 599"/>
                  <a:gd name="T76" fmla="*/ 503 w 808"/>
                  <a:gd name="T77" fmla="*/ 19 h 599"/>
                  <a:gd name="T78" fmla="*/ 438 w 808"/>
                  <a:gd name="T79" fmla="*/ 0 h 599"/>
                  <a:gd name="T80" fmla="*/ 349 w 808"/>
                  <a:gd name="T81" fmla="*/ 9 h 599"/>
                  <a:gd name="T82" fmla="*/ 272 w 808"/>
                  <a:gd name="T83" fmla="*/ 44 h 599"/>
                  <a:gd name="T84" fmla="*/ 216 w 808"/>
                  <a:gd name="T85" fmla="*/ 99 h 599"/>
                  <a:gd name="T86" fmla="*/ 185 w 808"/>
                  <a:gd name="T87" fmla="*/ 164 h 599"/>
                  <a:gd name="T88" fmla="*/ 128 w 808"/>
                  <a:gd name="T89" fmla="*/ 197 h 599"/>
                  <a:gd name="T90" fmla="*/ 66 w 808"/>
                  <a:gd name="T91" fmla="*/ 240 h 599"/>
                  <a:gd name="T92" fmla="*/ 22 w 808"/>
                  <a:gd name="T93" fmla="*/ 300 h 599"/>
                  <a:gd name="T94" fmla="*/ 1 w 808"/>
                  <a:gd name="T95" fmla="*/ 371 h 599"/>
                  <a:gd name="T96" fmla="*/ 3 w 808"/>
                  <a:gd name="T97" fmla="*/ 420 h 599"/>
                  <a:gd name="T98" fmla="*/ 27 w 808"/>
                  <a:gd name="T99" fmla="*/ 487 h 599"/>
                  <a:gd name="T100" fmla="*/ 78 w 808"/>
                  <a:gd name="T101" fmla="*/ 549 h 599"/>
                  <a:gd name="T102" fmla="*/ 149 w 808"/>
                  <a:gd name="T103" fmla="*/ 589 h 599"/>
                  <a:gd name="T104" fmla="*/ 199 w 808"/>
                  <a:gd name="T105" fmla="*/ 597 h 599"/>
                  <a:gd name="T106" fmla="*/ 676 w 808"/>
                  <a:gd name="T107" fmla="*/ 595 h 599"/>
                  <a:gd name="T108" fmla="*/ 735 w 808"/>
                  <a:gd name="T109" fmla="*/ 571 h 599"/>
                  <a:gd name="T110" fmla="*/ 780 w 808"/>
                  <a:gd name="T111" fmla="*/ 526 h 599"/>
                  <a:gd name="T112" fmla="*/ 805 w 808"/>
                  <a:gd name="T113" fmla="*/ 467 h 599"/>
                  <a:gd name="T114" fmla="*/ 806 w 808"/>
                  <a:gd name="T115" fmla="*/ 397 h 599"/>
                  <a:gd name="T116" fmla="*/ 788 w 808"/>
                  <a:gd name="T117" fmla="*/ 342 h 599"/>
                  <a:gd name="T118" fmla="*/ 766 w 808"/>
                  <a:gd name="T119" fmla="*/ 308 h 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8" h="599">
                    <a:moveTo>
                      <a:pt x="642" y="569"/>
                    </a:moveTo>
                    <a:lnTo>
                      <a:pt x="210" y="569"/>
                    </a:lnTo>
                    <a:lnTo>
                      <a:pt x="192" y="568"/>
                    </a:lnTo>
                    <a:lnTo>
                      <a:pt x="174" y="564"/>
                    </a:lnTo>
                    <a:lnTo>
                      <a:pt x="158" y="560"/>
                    </a:lnTo>
                    <a:lnTo>
                      <a:pt x="141" y="554"/>
                    </a:lnTo>
                    <a:lnTo>
                      <a:pt x="126" y="546"/>
                    </a:lnTo>
                    <a:lnTo>
                      <a:pt x="111" y="536"/>
                    </a:lnTo>
                    <a:lnTo>
                      <a:pt x="97" y="526"/>
                    </a:lnTo>
                    <a:lnTo>
                      <a:pt x="84" y="514"/>
                    </a:lnTo>
                    <a:lnTo>
                      <a:pt x="73" y="501"/>
                    </a:lnTo>
                    <a:lnTo>
                      <a:pt x="62" y="487"/>
                    </a:lnTo>
                    <a:lnTo>
                      <a:pt x="52" y="473"/>
                    </a:lnTo>
                    <a:lnTo>
                      <a:pt x="45" y="457"/>
                    </a:lnTo>
                    <a:lnTo>
                      <a:pt x="38" y="441"/>
                    </a:lnTo>
                    <a:lnTo>
                      <a:pt x="34" y="424"/>
                    </a:lnTo>
                    <a:lnTo>
                      <a:pt x="31" y="407"/>
                    </a:lnTo>
                    <a:lnTo>
                      <a:pt x="30" y="389"/>
                    </a:lnTo>
                    <a:lnTo>
                      <a:pt x="31" y="373"/>
                    </a:lnTo>
                    <a:lnTo>
                      <a:pt x="34" y="356"/>
                    </a:lnTo>
                    <a:lnTo>
                      <a:pt x="38" y="341"/>
                    </a:lnTo>
                    <a:lnTo>
                      <a:pt x="44" y="325"/>
                    </a:lnTo>
                    <a:lnTo>
                      <a:pt x="50" y="310"/>
                    </a:lnTo>
                    <a:lnTo>
                      <a:pt x="59" y="296"/>
                    </a:lnTo>
                    <a:lnTo>
                      <a:pt x="68" y="282"/>
                    </a:lnTo>
                    <a:lnTo>
                      <a:pt x="79" y="269"/>
                    </a:lnTo>
                    <a:lnTo>
                      <a:pt x="92" y="257"/>
                    </a:lnTo>
                    <a:lnTo>
                      <a:pt x="105" y="246"/>
                    </a:lnTo>
                    <a:lnTo>
                      <a:pt x="118" y="237"/>
                    </a:lnTo>
                    <a:lnTo>
                      <a:pt x="133" y="228"/>
                    </a:lnTo>
                    <a:lnTo>
                      <a:pt x="147" y="222"/>
                    </a:lnTo>
                    <a:lnTo>
                      <a:pt x="164" y="215"/>
                    </a:lnTo>
                    <a:lnTo>
                      <a:pt x="180" y="212"/>
                    </a:lnTo>
                    <a:lnTo>
                      <a:pt x="197" y="209"/>
                    </a:lnTo>
                    <a:lnTo>
                      <a:pt x="201" y="208"/>
                    </a:lnTo>
                    <a:lnTo>
                      <a:pt x="205" y="206"/>
                    </a:lnTo>
                    <a:lnTo>
                      <a:pt x="209" y="201"/>
                    </a:lnTo>
                    <a:lnTo>
                      <a:pt x="210" y="196"/>
                    </a:lnTo>
                    <a:lnTo>
                      <a:pt x="211" y="186"/>
                    </a:lnTo>
                    <a:lnTo>
                      <a:pt x="213" y="177"/>
                    </a:lnTo>
                    <a:lnTo>
                      <a:pt x="215" y="168"/>
                    </a:lnTo>
                    <a:lnTo>
                      <a:pt x="217" y="160"/>
                    </a:lnTo>
                    <a:lnTo>
                      <a:pt x="225" y="143"/>
                    </a:lnTo>
                    <a:lnTo>
                      <a:pt x="233" y="127"/>
                    </a:lnTo>
                    <a:lnTo>
                      <a:pt x="244" y="113"/>
                    </a:lnTo>
                    <a:lnTo>
                      <a:pt x="256" y="99"/>
                    </a:lnTo>
                    <a:lnTo>
                      <a:pt x="268" y="86"/>
                    </a:lnTo>
                    <a:lnTo>
                      <a:pt x="282" y="74"/>
                    </a:lnTo>
                    <a:lnTo>
                      <a:pt x="298" y="64"/>
                    </a:lnTo>
                    <a:lnTo>
                      <a:pt x="315" y="56"/>
                    </a:lnTo>
                    <a:lnTo>
                      <a:pt x="331" y="47"/>
                    </a:lnTo>
                    <a:lnTo>
                      <a:pt x="348" y="41"/>
                    </a:lnTo>
                    <a:lnTo>
                      <a:pt x="366" y="37"/>
                    </a:lnTo>
                    <a:lnTo>
                      <a:pt x="384" y="32"/>
                    </a:lnTo>
                    <a:lnTo>
                      <a:pt x="401" y="30"/>
                    </a:lnTo>
                    <a:lnTo>
                      <a:pt x="419" y="29"/>
                    </a:lnTo>
                    <a:lnTo>
                      <a:pt x="434" y="30"/>
                    </a:lnTo>
                    <a:lnTo>
                      <a:pt x="449" y="32"/>
                    </a:lnTo>
                    <a:lnTo>
                      <a:pt x="464" y="37"/>
                    </a:lnTo>
                    <a:lnTo>
                      <a:pt x="479" y="42"/>
                    </a:lnTo>
                    <a:lnTo>
                      <a:pt x="492" y="48"/>
                    </a:lnTo>
                    <a:lnTo>
                      <a:pt x="506" y="56"/>
                    </a:lnTo>
                    <a:lnTo>
                      <a:pt x="519" y="64"/>
                    </a:lnTo>
                    <a:lnTo>
                      <a:pt x="531" y="74"/>
                    </a:lnTo>
                    <a:lnTo>
                      <a:pt x="543" y="84"/>
                    </a:lnTo>
                    <a:lnTo>
                      <a:pt x="553" y="94"/>
                    </a:lnTo>
                    <a:lnTo>
                      <a:pt x="563" y="106"/>
                    </a:lnTo>
                    <a:lnTo>
                      <a:pt x="573" y="119"/>
                    </a:lnTo>
                    <a:lnTo>
                      <a:pt x="580" y="131"/>
                    </a:lnTo>
                    <a:lnTo>
                      <a:pt x="588" y="144"/>
                    </a:lnTo>
                    <a:lnTo>
                      <a:pt x="595" y="158"/>
                    </a:lnTo>
                    <a:lnTo>
                      <a:pt x="600" y="170"/>
                    </a:lnTo>
                    <a:lnTo>
                      <a:pt x="603" y="175"/>
                    </a:lnTo>
                    <a:lnTo>
                      <a:pt x="607" y="178"/>
                    </a:lnTo>
                    <a:lnTo>
                      <a:pt x="611" y="179"/>
                    </a:lnTo>
                    <a:lnTo>
                      <a:pt x="615" y="179"/>
                    </a:lnTo>
                    <a:lnTo>
                      <a:pt x="631" y="179"/>
                    </a:lnTo>
                    <a:lnTo>
                      <a:pt x="646" y="179"/>
                    </a:lnTo>
                    <a:lnTo>
                      <a:pt x="661" y="182"/>
                    </a:lnTo>
                    <a:lnTo>
                      <a:pt x="675" y="186"/>
                    </a:lnTo>
                    <a:lnTo>
                      <a:pt x="687" y="192"/>
                    </a:lnTo>
                    <a:lnTo>
                      <a:pt x="699" y="199"/>
                    </a:lnTo>
                    <a:lnTo>
                      <a:pt x="704" y="204"/>
                    </a:lnTo>
                    <a:lnTo>
                      <a:pt x="709" y="208"/>
                    </a:lnTo>
                    <a:lnTo>
                      <a:pt x="713" y="213"/>
                    </a:lnTo>
                    <a:lnTo>
                      <a:pt x="716" y="219"/>
                    </a:lnTo>
                    <a:lnTo>
                      <a:pt x="721" y="226"/>
                    </a:lnTo>
                    <a:lnTo>
                      <a:pt x="725" y="235"/>
                    </a:lnTo>
                    <a:lnTo>
                      <a:pt x="727" y="244"/>
                    </a:lnTo>
                    <a:lnTo>
                      <a:pt x="728" y="253"/>
                    </a:lnTo>
                    <a:lnTo>
                      <a:pt x="728" y="264"/>
                    </a:lnTo>
                    <a:lnTo>
                      <a:pt x="727" y="273"/>
                    </a:lnTo>
                    <a:lnTo>
                      <a:pt x="723" y="283"/>
                    </a:lnTo>
                    <a:lnTo>
                      <a:pt x="720" y="293"/>
                    </a:lnTo>
                    <a:lnTo>
                      <a:pt x="719" y="299"/>
                    </a:lnTo>
                    <a:lnTo>
                      <a:pt x="719" y="304"/>
                    </a:lnTo>
                    <a:lnTo>
                      <a:pt x="721" y="308"/>
                    </a:lnTo>
                    <a:lnTo>
                      <a:pt x="726" y="313"/>
                    </a:lnTo>
                    <a:lnTo>
                      <a:pt x="731" y="317"/>
                    </a:lnTo>
                    <a:lnTo>
                      <a:pt x="737" y="321"/>
                    </a:lnTo>
                    <a:lnTo>
                      <a:pt x="743" y="327"/>
                    </a:lnTo>
                    <a:lnTo>
                      <a:pt x="747" y="333"/>
                    </a:lnTo>
                    <a:lnTo>
                      <a:pt x="757" y="346"/>
                    </a:lnTo>
                    <a:lnTo>
                      <a:pt x="764" y="361"/>
                    </a:lnTo>
                    <a:lnTo>
                      <a:pt x="771" y="378"/>
                    </a:lnTo>
                    <a:lnTo>
                      <a:pt x="775" y="395"/>
                    </a:lnTo>
                    <a:lnTo>
                      <a:pt x="778" y="414"/>
                    </a:lnTo>
                    <a:lnTo>
                      <a:pt x="778" y="434"/>
                    </a:lnTo>
                    <a:lnTo>
                      <a:pt x="778" y="448"/>
                    </a:lnTo>
                    <a:lnTo>
                      <a:pt x="776" y="460"/>
                    </a:lnTo>
                    <a:lnTo>
                      <a:pt x="773" y="474"/>
                    </a:lnTo>
                    <a:lnTo>
                      <a:pt x="767" y="486"/>
                    </a:lnTo>
                    <a:lnTo>
                      <a:pt x="762" y="498"/>
                    </a:lnTo>
                    <a:lnTo>
                      <a:pt x="756" y="509"/>
                    </a:lnTo>
                    <a:lnTo>
                      <a:pt x="747" y="519"/>
                    </a:lnTo>
                    <a:lnTo>
                      <a:pt x="738" y="529"/>
                    </a:lnTo>
                    <a:lnTo>
                      <a:pt x="729" y="538"/>
                    </a:lnTo>
                    <a:lnTo>
                      <a:pt x="718" y="545"/>
                    </a:lnTo>
                    <a:lnTo>
                      <a:pt x="707" y="553"/>
                    </a:lnTo>
                    <a:lnTo>
                      <a:pt x="696" y="558"/>
                    </a:lnTo>
                    <a:lnTo>
                      <a:pt x="683" y="562"/>
                    </a:lnTo>
                    <a:lnTo>
                      <a:pt x="670" y="565"/>
                    </a:lnTo>
                    <a:lnTo>
                      <a:pt x="656" y="568"/>
                    </a:lnTo>
                    <a:lnTo>
                      <a:pt x="642" y="569"/>
                    </a:lnTo>
                    <a:close/>
                    <a:moveTo>
                      <a:pt x="751" y="295"/>
                    </a:moveTo>
                    <a:lnTo>
                      <a:pt x="756" y="282"/>
                    </a:lnTo>
                    <a:lnTo>
                      <a:pt x="758" y="270"/>
                    </a:lnTo>
                    <a:lnTo>
                      <a:pt x="758" y="258"/>
                    </a:lnTo>
                    <a:lnTo>
                      <a:pt x="758" y="245"/>
                    </a:lnTo>
                    <a:lnTo>
                      <a:pt x="756" y="235"/>
                    </a:lnTo>
                    <a:lnTo>
                      <a:pt x="752" y="223"/>
                    </a:lnTo>
                    <a:lnTo>
                      <a:pt x="747" y="212"/>
                    </a:lnTo>
                    <a:lnTo>
                      <a:pt x="742" y="201"/>
                    </a:lnTo>
                    <a:lnTo>
                      <a:pt x="737" y="195"/>
                    </a:lnTo>
                    <a:lnTo>
                      <a:pt x="732" y="189"/>
                    </a:lnTo>
                    <a:lnTo>
                      <a:pt x="727" y="183"/>
                    </a:lnTo>
                    <a:lnTo>
                      <a:pt x="720" y="178"/>
                    </a:lnTo>
                    <a:lnTo>
                      <a:pt x="714" y="173"/>
                    </a:lnTo>
                    <a:lnTo>
                      <a:pt x="707" y="168"/>
                    </a:lnTo>
                    <a:lnTo>
                      <a:pt x="700" y="165"/>
                    </a:lnTo>
                    <a:lnTo>
                      <a:pt x="692" y="161"/>
                    </a:lnTo>
                    <a:lnTo>
                      <a:pt x="676" y="155"/>
                    </a:lnTo>
                    <a:lnTo>
                      <a:pt x="660" y="151"/>
                    </a:lnTo>
                    <a:lnTo>
                      <a:pt x="642" y="149"/>
                    </a:lnTo>
                    <a:lnTo>
                      <a:pt x="624" y="149"/>
                    </a:lnTo>
                    <a:lnTo>
                      <a:pt x="618" y="135"/>
                    </a:lnTo>
                    <a:lnTo>
                      <a:pt x="609" y="122"/>
                    </a:lnTo>
                    <a:lnTo>
                      <a:pt x="601" y="108"/>
                    </a:lnTo>
                    <a:lnTo>
                      <a:pt x="592" y="95"/>
                    </a:lnTo>
                    <a:lnTo>
                      <a:pt x="581" y="83"/>
                    </a:lnTo>
                    <a:lnTo>
                      <a:pt x="570" y="70"/>
                    </a:lnTo>
                    <a:lnTo>
                      <a:pt x="559" y="58"/>
                    </a:lnTo>
                    <a:lnTo>
                      <a:pt x="546" y="47"/>
                    </a:lnTo>
                    <a:lnTo>
                      <a:pt x="532" y="37"/>
                    </a:lnTo>
                    <a:lnTo>
                      <a:pt x="518" y="28"/>
                    </a:lnTo>
                    <a:lnTo>
                      <a:pt x="503" y="19"/>
                    </a:lnTo>
                    <a:lnTo>
                      <a:pt x="488" y="13"/>
                    </a:lnTo>
                    <a:lnTo>
                      <a:pt x="471" y="8"/>
                    </a:lnTo>
                    <a:lnTo>
                      <a:pt x="455" y="3"/>
                    </a:lnTo>
                    <a:lnTo>
                      <a:pt x="438" y="0"/>
                    </a:lnTo>
                    <a:lnTo>
                      <a:pt x="419" y="0"/>
                    </a:lnTo>
                    <a:lnTo>
                      <a:pt x="395" y="0"/>
                    </a:lnTo>
                    <a:lnTo>
                      <a:pt x="371" y="3"/>
                    </a:lnTo>
                    <a:lnTo>
                      <a:pt x="349" y="9"/>
                    </a:lnTo>
                    <a:lnTo>
                      <a:pt x="328" y="15"/>
                    </a:lnTo>
                    <a:lnTo>
                      <a:pt x="308" y="24"/>
                    </a:lnTo>
                    <a:lnTo>
                      <a:pt x="289" y="33"/>
                    </a:lnTo>
                    <a:lnTo>
                      <a:pt x="272" y="44"/>
                    </a:lnTo>
                    <a:lnTo>
                      <a:pt x="256" y="57"/>
                    </a:lnTo>
                    <a:lnTo>
                      <a:pt x="241" y="70"/>
                    </a:lnTo>
                    <a:lnTo>
                      <a:pt x="228" y="84"/>
                    </a:lnTo>
                    <a:lnTo>
                      <a:pt x="216" y="99"/>
                    </a:lnTo>
                    <a:lnTo>
                      <a:pt x="206" y="115"/>
                    </a:lnTo>
                    <a:lnTo>
                      <a:pt x="198" y="131"/>
                    </a:lnTo>
                    <a:lnTo>
                      <a:pt x="190" y="147"/>
                    </a:lnTo>
                    <a:lnTo>
                      <a:pt x="185" y="164"/>
                    </a:lnTo>
                    <a:lnTo>
                      <a:pt x="182" y="181"/>
                    </a:lnTo>
                    <a:lnTo>
                      <a:pt x="162" y="184"/>
                    </a:lnTo>
                    <a:lnTo>
                      <a:pt x="145" y="191"/>
                    </a:lnTo>
                    <a:lnTo>
                      <a:pt x="128" y="197"/>
                    </a:lnTo>
                    <a:lnTo>
                      <a:pt x="111" y="207"/>
                    </a:lnTo>
                    <a:lnTo>
                      <a:pt x="95" y="216"/>
                    </a:lnTo>
                    <a:lnTo>
                      <a:pt x="80" y="228"/>
                    </a:lnTo>
                    <a:lnTo>
                      <a:pt x="66" y="240"/>
                    </a:lnTo>
                    <a:lnTo>
                      <a:pt x="53" y="254"/>
                    </a:lnTo>
                    <a:lnTo>
                      <a:pt x="42" y="269"/>
                    </a:lnTo>
                    <a:lnTo>
                      <a:pt x="32" y="284"/>
                    </a:lnTo>
                    <a:lnTo>
                      <a:pt x="22" y="300"/>
                    </a:lnTo>
                    <a:lnTo>
                      <a:pt x="15" y="317"/>
                    </a:lnTo>
                    <a:lnTo>
                      <a:pt x="8" y="334"/>
                    </a:lnTo>
                    <a:lnTo>
                      <a:pt x="4" y="352"/>
                    </a:lnTo>
                    <a:lnTo>
                      <a:pt x="1" y="371"/>
                    </a:lnTo>
                    <a:lnTo>
                      <a:pt x="0" y="389"/>
                    </a:lnTo>
                    <a:lnTo>
                      <a:pt x="1" y="399"/>
                    </a:lnTo>
                    <a:lnTo>
                      <a:pt x="2" y="409"/>
                    </a:lnTo>
                    <a:lnTo>
                      <a:pt x="3" y="420"/>
                    </a:lnTo>
                    <a:lnTo>
                      <a:pt x="5" y="431"/>
                    </a:lnTo>
                    <a:lnTo>
                      <a:pt x="10" y="450"/>
                    </a:lnTo>
                    <a:lnTo>
                      <a:pt x="17" y="469"/>
                    </a:lnTo>
                    <a:lnTo>
                      <a:pt x="27" y="487"/>
                    </a:lnTo>
                    <a:lnTo>
                      <a:pt x="37" y="504"/>
                    </a:lnTo>
                    <a:lnTo>
                      <a:pt x="49" y="520"/>
                    </a:lnTo>
                    <a:lnTo>
                      <a:pt x="63" y="535"/>
                    </a:lnTo>
                    <a:lnTo>
                      <a:pt x="78" y="549"/>
                    </a:lnTo>
                    <a:lnTo>
                      <a:pt x="94" y="561"/>
                    </a:lnTo>
                    <a:lnTo>
                      <a:pt x="112" y="572"/>
                    </a:lnTo>
                    <a:lnTo>
                      <a:pt x="130" y="581"/>
                    </a:lnTo>
                    <a:lnTo>
                      <a:pt x="149" y="589"/>
                    </a:lnTo>
                    <a:lnTo>
                      <a:pt x="169" y="594"/>
                    </a:lnTo>
                    <a:lnTo>
                      <a:pt x="179" y="595"/>
                    </a:lnTo>
                    <a:lnTo>
                      <a:pt x="189" y="597"/>
                    </a:lnTo>
                    <a:lnTo>
                      <a:pt x="199" y="597"/>
                    </a:lnTo>
                    <a:lnTo>
                      <a:pt x="210" y="599"/>
                    </a:lnTo>
                    <a:lnTo>
                      <a:pt x="642" y="599"/>
                    </a:lnTo>
                    <a:lnTo>
                      <a:pt x="659" y="597"/>
                    </a:lnTo>
                    <a:lnTo>
                      <a:pt x="676" y="595"/>
                    </a:lnTo>
                    <a:lnTo>
                      <a:pt x="692" y="591"/>
                    </a:lnTo>
                    <a:lnTo>
                      <a:pt x="707" y="586"/>
                    </a:lnTo>
                    <a:lnTo>
                      <a:pt x="721" y="578"/>
                    </a:lnTo>
                    <a:lnTo>
                      <a:pt x="735" y="571"/>
                    </a:lnTo>
                    <a:lnTo>
                      <a:pt x="748" y="561"/>
                    </a:lnTo>
                    <a:lnTo>
                      <a:pt x="760" y="550"/>
                    </a:lnTo>
                    <a:lnTo>
                      <a:pt x="771" y="539"/>
                    </a:lnTo>
                    <a:lnTo>
                      <a:pt x="780" y="526"/>
                    </a:lnTo>
                    <a:lnTo>
                      <a:pt x="789" y="512"/>
                    </a:lnTo>
                    <a:lnTo>
                      <a:pt x="795" y="498"/>
                    </a:lnTo>
                    <a:lnTo>
                      <a:pt x="801" y="483"/>
                    </a:lnTo>
                    <a:lnTo>
                      <a:pt x="805" y="467"/>
                    </a:lnTo>
                    <a:lnTo>
                      <a:pt x="808" y="451"/>
                    </a:lnTo>
                    <a:lnTo>
                      <a:pt x="808" y="434"/>
                    </a:lnTo>
                    <a:lnTo>
                      <a:pt x="808" y="417"/>
                    </a:lnTo>
                    <a:lnTo>
                      <a:pt x="806" y="397"/>
                    </a:lnTo>
                    <a:lnTo>
                      <a:pt x="802" y="379"/>
                    </a:lnTo>
                    <a:lnTo>
                      <a:pt x="796" y="360"/>
                    </a:lnTo>
                    <a:lnTo>
                      <a:pt x="792" y="351"/>
                    </a:lnTo>
                    <a:lnTo>
                      <a:pt x="788" y="342"/>
                    </a:lnTo>
                    <a:lnTo>
                      <a:pt x="783" y="333"/>
                    </a:lnTo>
                    <a:lnTo>
                      <a:pt x="778" y="325"/>
                    </a:lnTo>
                    <a:lnTo>
                      <a:pt x="773" y="316"/>
                    </a:lnTo>
                    <a:lnTo>
                      <a:pt x="766" y="308"/>
                    </a:lnTo>
                    <a:lnTo>
                      <a:pt x="759" y="301"/>
                    </a:lnTo>
                    <a:lnTo>
                      <a:pt x="751" y="2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5" name="Freeform 68">
                <a:extLst>
                  <a:ext uri="{FF2B5EF4-FFF2-40B4-BE49-F238E27FC236}">
                    <a16:creationId xmlns:a16="http://schemas.microsoft.com/office/drawing/2014/main" id="{23C825B7-BBE0-4192-BCEA-195A6D4A0D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3450" y="798513"/>
                <a:ext cx="146050" cy="123825"/>
              </a:xfrm>
              <a:custGeom>
                <a:avLst/>
                <a:gdLst>
                  <a:gd name="T0" fmla="*/ 39 w 457"/>
                  <a:gd name="T1" fmla="*/ 386 h 388"/>
                  <a:gd name="T2" fmla="*/ 50 w 457"/>
                  <a:gd name="T3" fmla="*/ 388 h 388"/>
                  <a:gd name="T4" fmla="*/ 59 w 457"/>
                  <a:gd name="T5" fmla="*/ 383 h 388"/>
                  <a:gd name="T6" fmla="*/ 62 w 457"/>
                  <a:gd name="T7" fmla="*/ 374 h 388"/>
                  <a:gd name="T8" fmla="*/ 60 w 457"/>
                  <a:gd name="T9" fmla="*/ 365 h 388"/>
                  <a:gd name="T10" fmla="*/ 42 w 457"/>
                  <a:gd name="T11" fmla="*/ 326 h 388"/>
                  <a:gd name="T12" fmla="*/ 32 w 457"/>
                  <a:gd name="T13" fmla="*/ 284 h 388"/>
                  <a:gd name="T14" fmla="*/ 31 w 457"/>
                  <a:gd name="T15" fmla="*/ 243 h 388"/>
                  <a:gd name="T16" fmla="*/ 35 w 457"/>
                  <a:gd name="T17" fmla="*/ 210 h 388"/>
                  <a:gd name="T18" fmla="*/ 44 w 457"/>
                  <a:gd name="T19" fmla="*/ 178 h 388"/>
                  <a:gd name="T20" fmla="*/ 68 w 457"/>
                  <a:gd name="T21" fmla="*/ 130 h 388"/>
                  <a:gd name="T22" fmla="*/ 112 w 457"/>
                  <a:gd name="T23" fmla="*/ 82 h 388"/>
                  <a:gd name="T24" fmla="*/ 168 w 457"/>
                  <a:gd name="T25" fmla="*/ 48 h 388"/>
                  <a:gd name="T26" fmla="*/ 199 w 457"/>
                  <a:gd name="T27" fmla="*/ 37 h 388"/>
                  <a:gd name="T28" fmla="*/ 232 w 457"/>
                  <a:gd name="T29" fmla="*/ 31 h 388"/>
                  <a:gd name="T30" fmla="*/ 267 w 457"/>
                  <a:gd name="T31" fmla="*/ 30 h 388"/>
                  <a:gd name="T32" fmla="*/ 305 w 457"/>
                  <a:gd name="T33" fmla="*/ 36 h 388"/>
                  <a:gd name="T34" fmla="*/ 341 w 457"/>
                  <a:gd name="T35" fmla="*/ 48 h 388"/>
                  <a:gd name="T36" fmla="*/ 374 w 457"/>
                  <a:gd name="T37" fmla="*/ 65 h 388"/>
                  <a:gd name="T38" fmla="*/ 404 w 457"/>
                  <a:gd name="T39" fmla="*/ 87 h 388"/>
                  <a:gd name="T40" fmla="*/ 430 w 457"/>
                  <a:gd name="T41" fmla="*/ 115 h 388"/>
                  <a:gd name="T42" fmla="*/ 443 w 457"/>
                  <a:gd name="T43" fmla="*/ 121 h 388"/>
                  <a:gd name="T44" fmla="*/ 452 w 457"/>
                  <a:gd name="T45" fmla="*/ 118 h 388"/>
                  <a:gd name="T46" fmla="*/ 457 w 457"/>
                  <a:gd name="T47" fmla="*/ 105 h 388"/>
                  <a:gd name="T48" fmla="*/ 454 w 457"/>
                  <a:gd name="T49" fmla="*/ 98 h 388"/>
                  <a:gd name="T50" fmla="*/ 424 w 457"/>
                  <a:gd name="T51" fmla="*/ 66 h 388"/>
                  <a:gd name="T52" fmla="*/ 391 w 457"/>
                  <a:gd name="T53" fmla="*/ 40 h 388"/>
                  <a:gd name="T54" fmla="*/ 352 w 457"/>
                  <a:gd name="T55" fmla="*/ 20 h 388"/>
                  <a:gd name="T56" fmla="*/ 312 w 457"/>
                  <a:gd name="T57" fmla="*/ 7 h 388"/>
                  <a:gd name="T58" fmla="*/ 270 w 457"/>
                  <a:gd name="T59" fmla="*/ 0 h 388"/>
                  <a:gd name="T60" fmla="*/ 229 w 457"/>
                  <a:gd name="T61" fmla="*/ 1 h 388"/>
                  <a:gd name="T62" fmla="*/ 191 w 457"/>
                  <a:gd name="T63" fmla="*/ 8 h 388"/>
                  <a:gd name="T64" fmla="*/ 156 w 457"/>
                  <a:gd name="T65" fmla="*/ 21 h 388"/>
                  <a:gd name="T66" fmla="*/ 123 w 457"/>
                  <a:gd name="T67" fmla="*/ 37 h 388"/>
                  <a:gd name="T68" fmla="*/ 93 w 457"/>
                  <a:gd name="T69" fmla="*/ 58 h 388"/>
                  <a:gd name="T70" fmla="*/ 66 w 457"/>
                  <a:gd name="T71" fmla="*/ 84 h 388"/>
                  <a:gd name="T72" fmla="*/ 44 w 457"/>
                  <a:gd name="T73" fmla="*/ 113 h 388"/>
                  <a:gd name="T74" fmla="*/ 25 w 457"/>
                  <a:gd name="T75" fmla="*/ 145 h 388"/>
                  <a:gd name="T76" fmla="*/ 12 w 457"/>
                  <a:gd name="T77" fmla="*/ 179 h 388"/>
                  <a:gd name="T78" fmla="*/ 3 w 457"/>
                  <a:gd name="T79" fmla="*/ 217 h 388"/>
                  <a:gd name="T80" fmla="*/ 0 w 457"/>
                  <a:gd name="T81" fmla="*/ 254 h 388"/>
                  <a:gd name="T82" fmla="*/ 5 w 457"/>
                  <a:gd name="T83" fmla="*/ 304 h 388"/>
                  <a:gd name="T84" fmla="*/ 19 w 457"/>
                  <a:gd name="T85" fmla="*/ 352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57" h="388">
                    <a:moveTo>
                      <a:pt x="34" y="380"/>
                    </a:moveTo>
                    <a:lnTo>
                      <a:pt x="36" y="384"/>
                    </a:lnTo>
                    <a:lnTo>
                      <a:pt x="39" y="386"/>
                    </a:lnTo>
                    <a:lnTo>
                      <a:pt x="43" y="388"/>
                    </a:lnTo>
                    <a:lnTo>
                      <a:pt x="47" y="388"/>
                    </a:lnTo>
                    <a:lnTo>
                      <a:pt x="50" y="388"/>
                    </a:lnTo>
                    <a:lnTo>
                      <a:pt x="54" y="386"/>
                    </a:lnTo>
                    <a:lnTo>
                      <a:pt x="56" y="385"/>
                    </a:lnTo>
                    <a:lnTo>
                      <a:pt x="59" y="383"/>
                    </a:lnTo>
                    <a:lnTo>
                      <a:pt x="60" y="379"/>
                    </a:lnTo>
                    <a:lnTo>
                      <a:pt x="61" y="377"/>
                    </a:lnTo>
                    <a:lnTo>
                      <a:pt x="62" y="374"/>
                    </a:lnTo>
                    <a:lnTo>
                      <a:pt x="62" y="371"/>
                    </a:lnTo>
                    <a:lnTo>
                      <a:pt x="61" y="369"/>
                    </a:lnTo>
                    <a:lnTo>
                      <a:pt x="60" y="365"/>
                    </a:lnTo>
                    <a:lnTo>
                      <a:pt x="53" y="353"/>
                    </a:lnTo>
                    <a:lnTo>
                      <a:pt x="47" y="340"/>
                    </a:lnTo>
                    <a:lnTo>
                      <a:pt x="42" y="326"/>
                    </a:lnTo>
                    <a:lnTo>
                      <a:pt x="37" y="312"/>
                    </a:lnTo>
                    <a:lnTo>
                      <a:pt x="34" y="298"/>
                    </a:lnTo>
                    <a:lnTo>
                      <a:pt x="32" y="284"/>
                    </a:lnTo>
                    <a:lnTo>
                      <a:pt x="31" y="269"/>
                    </a:lnTo>
                    <a:lnTo>
                      <a:pt x="30" y="254"/>
                    </a:lnTo>
                    <a:lnTo>
                      <a:pt x="31" y="243"/>
                    </a:lnTo>
                    <a:lnTo>
                      <a:pt x="32" y="232"/>
                    </a:lnTo>
                    <a:lnTo>
                      <a:pt x="33" y="221"/>
                    </a:lnTo>
                    <a:lnTo>
                      <a:pt x="35" y="210"/>
                    </a:lnTo>
                    <a:lnTo>
                      <a:pt x="37" y="198"/>
                    </a:lnTo>
                    <a:lnTo>
                      <a:pt x="40" y="189"/>
                    </a:lnTo>
                    <a:lnTo>
                      <a:pt x="44" y="178"/>
                    </a:lnTo>
                    <a:lnTo>
                      <a:pt x="48" y="167"/>
                    </a:lnTo>
                    <a:lnTo>
                      <a:pt x="58" y="148"/>
                    </a:lnTo>
                    <a:lnTo>
                      <a:pt x="68" y="130"/>
                    </a:lnTo>
                    <a:lnTo>
                      <a:pt x="81" y="113"/>
                    </a:lnTo>
                    <a:lnTo>
                      <a:pt x="96" y="97"/>
                    </a:lnTo>
                    <a:lnTo>
                      <a:pt x="112" y="82"/>
                    </a:lnTo>
                    <a:lnTo>
                      <a:pt x="129" y="69"/>
                    </a:lnTo>
                    <a:lnTo>
                      <a:pt x="147" y="57"/>
                    </a:lnTo>
                    <a:lnTo>
                      <a:pt x="168" y="48"/>
                    </a:lnTo>
                    <a:lnTo>
                      <a:pt x="177" y="44"/>
                    </a:lnTo>
                    <a:lnTo>
                      <a:pt x="188" y="40"/>
                    </a:lnTo>
                    <a:lnTo>
                      <a:pt x="199" y="37"/>
                    </a:lnTo>
                    <a:lnTo>
                      <a:pt x="210" y="35"/>
                    </a:lnTo>
                    <a:lnTo>
                      <a:pt x="220" y="33"/>
                    </a:lnTo>
                    <a:lnTo>
                      <a:pt x="232" y="31"/>
                    </a:lnTo>
                    <a:lnTo>
                      <a:pt x="243" y="30"/>
                    </a:lnTo>
                    <a:lnTo>
                      <a:pt x="255" y="30"/>
                    </a:lnTo>
                    <a:lnTo>
                      <a:pt x="267" y="30"/>
                    </a:lnTo>
                    <a:lnTo>
                      <a:pt x="280" y="31"/>
                    </a:lnTo>
                    <a:lnTo>
                      <a:pt x="293" y="34"/>
                    </a:lnTo>
                    <a:lnTo>
                      <a:pt x="305" y="36"/>
                    </a:lnTo>
                    <a:lnTo>
                      <a:pt x="318" y="39"/>
                    </a:lnTo>
                    <a:lnTo>
                      <a:pt x="330" y="43"/>
                    </a:lnTo>
                    <a:lnTo>
                      <a:pt x="341" y="48"/>
                    </a:lnTo>
                    <a:lnTo>
                      <a:pt x="352" y="53"/>
                    </a:lnTo>
                    <a:lnTo>
                      <a:pt x="364" y="58"/>
                    </a:lnTo>
                    <a:lnTo>
                      <a:pt x="374" y="65"/>
                    </a:lnTo>
                    <a:lnTo>
                      <a:pt x="384" y="72"/>
                    </a:lnTo>
                    <a:lnTo>
                      <a:pt x="395" y="80"/>
                    </a:lnTo>
                    <a:lnTo>
                      <a:pt x="404" y="87"/>
                    </a:lnTo>
                    <a:lnTo>
                      <a:pt x="413" y="97"/>
                    </a:lnTo>
                    <a:lnTo>
                      <a:pt x="423" y="105"/>
                    </a:lnTo>
                    <a:lnTo>
                      <a:pt x="430" y="115"/>
                    </a:lnTo>
                    <a:lnTo>
                      <a:pt x="435" y="119"/>
                    </a:lnTo>
                    <a:lnTo>
                      <a:pt x="441" y="121"/>
                    </a:lnTo>
                    <a:lnTo>
                      <a:pt x="443" y="121"/>
                    </a:lnTo>
                    <a:lnTo>
                      <a:pt x="446" y="120"/>
                    </a:lnTo>
                    <a:lnTo>
                      <a:pt x="449" y="120"/>
                    </a:lnTo>
                    <a:lnTo>
                      <a:pt x="452" y="118"/>
                    </a:lnTo>
                    <a:lnTo>
                      <a:pt x="455" y="114"/>
                    </a:lnTo>
                    <a:lnTo>
                      <a:pt x="457" y="107"/>
                    </a:lnTo>
                    <a:lnTo>
                      <a:pt x="457" y="105"/>
                    </a:lnTo>
                    <a:lnTo>
                      <a:pt x="457" y="102"/>
                    </a:lnTo>
                    <a:lnTo>
                      <a:pt x="456" y="100"/>
                    </a:lnTo>
                    <a:lnTo>
                      <a:pt x="454" y="98"/>
                    </a:lnTo>
                    <a:lnTo>
                      <a:pt x="444" y="86"/>
                    </a:lnTo>
                    <a:lnTo>
                      <a:pt x="434" y="75"/>
                    </a:lnTo>
                    <a:lnTo>
                      <a:pt x="424" y="66"/>
                    </a:lnTo>
                    <a:lnTo>
                      <a:pt x="413" y="56"/>
                    </a:lnTo>
                    <a:lnTo>
                      <a:pt x="402" y="48"/>
                    </a:lnTo>
                    <a:lnTo>
                      <a:pt x="391" y="40"/>
                    </a:lnTo>
                    <a:lnTo>
                      <a:pt x="378" y="33"/>
                    </a:lnTo>
                    <a:lnTo>
                      <a:pt x="365" y="26"/>
                    </a:lnTo>
                    <a:lnTo>
                      <a:pt x="352" y="20"/>
                    </a:lnTo>
                    <a:lnTo>
                      <a:pt x="339" y="14"/>
                    </a:lnTo>
                    <a:lnTo>
                      <a:pt x="325" y="10"/>
                    </a:lnTo>
                    <a:lnTo>
                      <a:pt x="312" y="7"/>
                    </a:lnTo>
                    <a:lnTo>
                      <a:pt x="297" y="4"/>
                    </a:lnTo>
                    <a:lnTo>
                      <a:pt x="283" y="1"/>
                    </a:lnTo>
                    <a:lnTo>
                      <a:pt x="270" y="0"/>
                    </a:lnTo>
                    <a:lnTo>
                      <a:pt x="255" y="0"/>
                    </a:lnTo>
                    <a:lnTo>
                      <a:pt x="242" y="0"/>
                    </a:lnTo>
                    <a:lnTo>
                      <a:pt x="229" y="1"/>
                    </a:lnTo>
                    <a:lnTo>
                      <a:pt x="216" y="4"/>
                    </a:lnTo>
                    <a:lnTo>
                      <a:pt x="203" y="6"/>
                    </a:lnTo>
                    <a:lnTo>
                      <a:pt x="191" y="8"/>
                    </a:lnTo>
                    <a:lnTo>
                      <a:pt x="180" y="12"/>
                    </a:lnTo>
                    <a:lnTo>
                      <a:pt x="168" y="15"/>
                    </a:lnTo>
                    <a:lnTo>
                      <a:pt x="156" y="21"/>
                    </a:lnTo>
                    <a:lnTo>
                      <a:pt x="144" y="25"/>
                    </a:lnTo>
                    <a:lnTo>
                      <a:pt x="134" y="31"/>
                    </a:lnTo>
                    <a:lnTo>
                      <a:pt x="123" y="37"/>
                    </a:lnTo>
                    <a:lnTo>
                      <a:pt x="112" y="44"/>
                    </a:lnTo>
                    <a:lnTo>
                      <a:pt x="103" y="51"/>
                    </a:lnTo>
                    <a:lnTo>
                      <a:pt x="93" y="58"/>
                    </a:lnTo>
                    <a:lnTo>
                      <a:pt x="83" y="67"/>
                    </a:lnTo>
                    <a:lnTo>
                      <a:pt x="75" y="75"/>
                    </a:lnTo>
                    <a:lnTo>
                      <a:pt x="66" y="84"/>
                    </a:lnTo>
                    <a:lnTo>
                      <a:pt x="59" y="94"/>
                    </a:lnTo>
                    <a:lnTo>
                      <a:pt x="51" y="103"/>
                    </a:lnTo>
                    <a:lnTo>
                      <a:pt x="44" y="113"/>
                    </a:lnTo>
                    <a:lnTo>
                      <a:pt x="37" y="124"/>
                    </a:lnTo>
                    <a:lnTo>
                      <a:pt x="31" y="134"/>
                    </a:lnTo>
                    <a:lnTo>
                      <a:pt x="25" y="145"/>
                    </a:lnTo>
                    <a:lnTo>
                      <a:pt x="20" y="156"/>
                    </a:lnTo>
                    <a:lnTo>
                      <a:pt x="16" y="167"/>
                    </a:lnTo>
                    <a:lnTo>
                      <a:pt x="12" y="179"/>
                    </a:lnTo>
                    <a:lnTo>
                      <a:pt x="8" y="191"/>
                    </a:lnTo>
                    <a:lnTo>
                      <a:pt x="5" y="204"/>
                    </a:lnTo>
                    <a:lnTo>
                      <a:pt x="3" y="217"/>
                    </a:lnTo>
                    <a:lnTo>
                      <a:pt x="2" y="228"/>
                    </a:lnTo>
                    <a:lnTo>
                      <a:pt x="1" y="241"/>
                    </a:lnTo>
                    <a:lnTo>
                      <a:pt x="0" y="254"/>
                    </a:lnTo>
                    <a:lnTo>
                      <a:pt x="1" y="271"/>
                    </a:lnTo>
                    <a:lnTo>
                      <a:pt x="3" y="288"/>
                    </a:lnTo>
                    <a:lnTo>
                      <a:pt x="5" y="304"/>
                    </a:lnTo>
                    <a:lnTo>
                      <a:pt x="8" y="320"/>
                    </a:lnTo>
                    <a:lnTo>
                      <a:pt x="14" y="335"/>
                    </a:lnTo>
                    <a:lnTo>
                      <a:pt x="19" y="352"/>
                    </a:lnTo>
                    <a:lnTo>
                      <a:pt x="25" y="366"/>
                    </a:lnTo>
                    <a:lnTo>
                      <a:pt x="34" y="3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916" name="Group 1915">
            <a:extLst>
              <a:ext uri="{FF2B5EF4-FFF2-40B4-BE49-F238E27FC236}">
                <a16:creationId xmlns:a16="http://schemas.microsoft.com/office/drawing/2014/main" id="{C16732C5-EB16-46A8-8F92-D5E337BD9B4D}"/>
              </a:ext>
            </a:extLst>
          </p:cNvPr>
          <p:cNvGrpSpPr/>
          <p:nvPr/>
        </p:nvGrpSpPr>
        <p:grpSpPr>
          <a:xfrm>
            <a:off x="3772178" y="3762528"/>
            <a:ext cx="418315" cy="418315"/>
            <a:chOff x="7004151" y="1986191"/>
            <a:chExt cx="418315" cy="418315"/>
          </a:xfrm>
        </p:grpSpPr>
        <p:sp>
          <p:nvSpPr>
            <p:cNvPr id="1917" name="Oval 1916">
              <a:extLst>
                <a:ext uri="{FF2B5EF4-FFF2-40B4-BE49-F238E27FC236}">
                  <a16:creationId xmlns:a16="http://schemas.microsoft.com/office/drawing/2014/main" id="{E8927159-E570-4024-88DA-0182C8225E99}"/>
                </a:ext>
              </a:extLst>
            </p:cNvPr>
            <p:cNvSpPr/>
            <p:nvPr/>
          </p:nvSpPr>
          <p:spPr>
            <a:xfrm>
              <a:off x="7004151" y="1986191"/>
              <a:ext cx="418315" cy="418315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918" name="Group 1917">
              <a:extLst>
                <a:ext uri="{FF2B5EF4-FFF2-40B4-BE49-F238E27FC236}">
                  <a16:creationId xmlns:a16="http://schemas.microsoft.com/office/drawing/2014/main" id="{1203DF03-17C6-4627-8F0D-1A6ACEEBF717}"/>
                </a:ext>
              </a:extLst>
            </p:cNvPr>
            <p:cNvGrpSpPr/>
            <p:nvPr/>
          </p:nvGrpSpPr>
          <p:grpSpPr>
            <a:xfrm>
              <a:off x="7133466" y="2106634"/>
              <a:ext cx="159685" cy="177428"/>
              <a:chOff x="4356100" y="769938"/>
              <a:chExt cx="257175" cy="285750"/>
            </a:xfrm>
            <a:solidFill>
              <a:schemeClr val="bg1"/>
            </a:solidFill>
          </p:grpSpPr>
          <p:sp>
            <p:nvSpPr>
              <p:cNvPr id="1919" name="Freeform 43">
                <a:extLst>
                  <a:ext uri="{FF2B5EF4-FFF2-40B4-BE49-F238E27FC236}">
                    <a16:creationId xmlns:a16="http://schemas.microsoft.com/office/drawing/2014/main" id="{BB3B7650-2276-4956-AA0F-373D632262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56100" y="769938"/>
                <a:ext cx="257175" cy="190500"/>
              </a:xfrm>
              <a:custGeom>
                <a:avLst/>
                <a:gdLst>
                  <a:gd name="T0" fmla="*/ 174 w 808"/>
                  <a:gd name="T1" fmla="*/ 565 h 598"/>
                  <a:gd name="T2" fmla="*/ 110 w 808"/>
                  <a:gd name="T3" fmla="*/ 537 h 598"/>
                  <a:gd name="T4" fmla="*/ 61 w 808"/>
                  <a:gd name="T5" fmla="*/ 488 h 598"/>
                  <a:gd name="T6" fmla="*/ 33 w 808"/>
                  <a:gd name="T7" fmla="*/ 423 h 598"/>
                  <a:gd name="T8" fmla="*/ 33 w 808"/>
                  <a:gd name="T9" fmla="*/ 356 h 598"/>
                  <a:gd name="T10" fmla="*/ 59 w 808"/>
                  <a:gd name="T11" fmla="*/ 295 h 598"/>
                  <a:gd name="T12" fmla="*/ 104 w 808"/>
                  <a:gd name="T13" fmla="*/ 247 h 598"/>
                  <a:gd name="T14" fmla="*/ 163 w 808"/>
                  <a:gd name="T15" fmla="*/ 216 h 598"/>
                  <a:gd name="T16" fmla="*/ 205 w 808"/>
                  <a:gd name="T17" fmla="*/ 205 h 598"/>
                  <a:gd name="T18" fmla="*/ 212 w 808"/>
                  <a:gd name="T19" fmla="*/ 177 h 598"/>
                  <a:gd name="T20" fmla="*/ 232 w 808"/>
                  <a:gd name="T21" fmla="*/ 127 h 598"/>
                  <a:gd name="T22" fmla="*/ 282 w 808"/>
                  <a:gd name="T23" fmla="*/ 74 h 598"/>
                  <a:gd name="T24" fmla="*/ 348 w 808"/>
                  <a:gd name="T25" fmla="*/ 41 h 598"/>
                  <a:gd name="T26" fmla="*/ 418 w 808"/>
                  <a:gd name="T27" fmla="*/ 29 h 598"/>
                  <a:gd name="T28" fmla="*/ 478 w 808"/>
                  <a:gd name="T29" fmla="*/ 41 h 598"/>
                  <a:gd name="T30" fmla="*/ 530 w 808"/>
                  <a:gd name="T31" fmla="*/ 73 h 598"/>
                  <a:gd name="T32" fmla="*/ 572 w 808"/>
                  <a:gd name="T33" fmla="*/ 118 h 598"/>
                  <a:gd name="T34" fmla="*/ 599 w 808"/>
                  <a:gd name="T35" fmla="*/ 170 h 598"/>
                  <a:gd name="T36" fmla="*/ 615 w 808"/>
                  <a:gd name="T37" fmla="*/ 179 h 598"/>
                  <a:gd name="T38" fmla="*/ 674 w 808"/>
                  <a:gd name="T39" fmla="*/ 186 h 598"/>
                  <a:gd name="T40" fmla="*/ 707 w 808"/>
                  <a:gd name="T41" fmla="*/ 208 h 598"/>
                  <a:gd name="T42" fmla="*/ 724 w 808"/>
                  <a:gd name="T43" fmla="*/ 235 h 598"/>
                  <a:gd name="T44" fmla="*/ 726 w 808"/>
                  <a:gd name="T45" fmla="*/ 272 h 598"/>
                  <a:gd name="T46" fmla="*/ 719 w 808"/>
                  <a:gd name="T47" fmla="*/ 303 h 598"/>
                  <a:gd name="T48" fmla="*/ 736 w 808"/>
                  <a:gd name="T49" fmla="*/ 322 h 598"/>
                  <a:gd name="T50" fmla="*/ 763 w 808"/>
                  <a:gd name="T51" fmla="*/ 361 h 598"/>
                  <a:gd name="T52" fmla="*/ 778 w 808"/>
                  <a:gd name="T53" fmla="*/ 433 h 598"/>
                  <a:gd name="T54" fmla="*/ 767 w 808"/>
                  <a:gd name="T55" fmla="*/ 485 h 598"/>
                  <a:gd name="T56" fmla="*/ 739 w 808"/>
                  <a:gd name="T57" fmla="*/ 528 h 598"/>
                  <a:gd name="T58" fmla="*/ 695 w 808"/>
                  <a:gd name="T59" fmla="*/ 557 h 598"/>
                  <a:gd name="T60" fmla="*/ 642 w 808"/>
                  <a:gd name="T61" fmla="*/ 568 h 598"/>
                  <a:gd name="T62" fmla="*/ 758 w 808"/>
                  <a:gd name="T63" fmla="*/ 257 h 598"/>
                  <a:gd name="T64" fmla="*/ 747 w 808"/>
                  <a:gd name="T65" fmla="*/ 211 h 598"/>
                  <a:gd name="T66" fmla="*/ 726 w 808"/>
                  <a:gd name="T67" fmla="*/ 183 h 598"/>
                  <a:gd name="T68" fmla="*/ 699 w 808"/>
                  <a:gd name="T69" fmla="*/ 164 h 598"/>
                  <a:gd name="T70" fmla="*/ 641 w 808"/>
                  <a:gd name="T71" fmla="*/ 149 h 598"/>
                  <a:gd name="T72" fmla="*/ 600 w 808"/>
                  <a:gd name="T73" fmla="*/ 108 h 598"/>
                  <a:gd name="T74" fmla="*/ 558 w 808"/>
                  <a:gd name="T75" fmla="*/ 57 h 598"/>
                  <a:gd name="T76" fmla="*/ 502 w 808"/>
                  <a:gd name="T77" fmla="*/ 20 h 598"/>
                  <a:gd name="T78" fmla="*/ 437 w 808"/>
                  <a:gd name="T79" fmla="*/ 1 h 598"/>
                  <a:gd name="T80" fmla="*/ 349 w 808"/>
                  <a:gd name="T81" fmla="*/ 8 h 598"/>
                  <a:gd name="T82" fmla="*/ 271 w 808"/>
                  <a:gd name="T83" fmla="*/ 44 h 598"/>
                  <a:gd name="T84" fmla="*/ 215 w 808"/>
                  <a:gd name="T85" fmla="*/ 99 h 598"/>
                  <a:gd name="T86" fmla="*/ 184 w 808"/>
                  <a:gd name="T87" fmla="*/ 163 h 598"/>
                  <a:gd name="T88" fmla="*/ 127 w 808"/>
                  <a:gd name="T89" fmla="*/ 198 h 598"/>
                  <a:gd name="T90" fmla="*/ 66 w 808"/>
                  <a:gd name="T91" fmla="*/ 240 h 598"/>
                  <a:gd name="T92" fmla="*/ 21 w 808"/>
                  <a:gd name="T93" fmla="*/ 300 h 598"/>
                  <a:gd name="T94" fmla="*/ 1 w 808"/>
                  <a:gd name="T95" fmla="*/ 370 h 598"/>
                  <a:gd name="T96" fmla="*/ 2 w 808"/>
                  <a:gd name="T97" fmla="*/ 419 h 598"/>
                  <a:gd name="T98" fmla="*/ 25 w 808"/>
                  <a:gd name="T99" fmla="*/ 487 h 598"/>
                  <a:gd name="T100" fmla="*/ 78 w 808"/>
                  <a:gd name="T101" fmla="*/ 549 h 598"/>
                  <a:gd name="T102" fmla="*/ 149 w 808"/>
                  <a:gd name="T103" fmla="*/ 588 h 598"/>
                  <a:gd name="T104" fmla="*/ 199 w 808"/>
                  <a:gd name="T105" fmla="*/ 598 h 598"/>
                  <a:gd name="T106" fmla="*/ 675 w 808"/>
                  <a:gd name="T107" fmla="*/ 595 h 598"/>
                  <a:gd name="T108" fmla="*/ 734 w 808"/>
                  <a:gd name="T109" fmla="*/ 570 h 598"/>
                  <a:gd name="T110" fmla="*/ 779 w 808"/>
                  <a:gd name="T111" fmla="*/ 525 h 598"/>
                  <a:gd name="T112" fmla="*/ 805 w 808"/>
                  <a:gd name="T113" fmla="*/ 466 h 598"/>
                  <a:gd name="T114" fmla="*/ 805 w 808"/>
                  <a:gd name="T115" fmla="*/ 398 h 598"/>
                  <a:gd name="T116" fmla="*/ 788 w 808"/>
                  <a:gd name="T117" fmla="*/ 342 h 598"/>
                  <a:gd name="T118" fmla="*/ 765 w 808"/>
                  <a:gd name="T119" fmla="*/ 308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8" h="598">
                    <a:moveTo>
                      <a:pt x="642" y="568"/>
                    </a:moveTo>
                    <a:lnTo>
                      <a:pt x="210" y="568"/>
                    </a:lnTo>
                    <a:lnTo>
                      <a:pt x="191" y="567"/>
                    </a:lnTo>
                    <a:lnTo>
                      <a:pt x="174" y="565"/>
                    </a:lnTo>
                    <a:lnTo>
                      <a:pt x="157" y="559"/>
                    </a:lnTo>
                    <a:lnTo>
                      <a:pt x="141" y="554"/>
                    </a:lnTo>
                    <a:lnTo>
                      <a:pt x="125" y="545"/>
                    </a:lnTo>
                    <a:lnTo>
                      <a:pt x="110" y="537"/>
                    </a:lnTo>
                    <a:lnTo>
                      <a:pt x="96" y="526"/>
                    </a:lnTo>
                    <a:lnTo>
                      <a:pt x="83" y="514"/>
                    </a:lnTo>
                    <a:lnTo>
                      <a:pt x="72" y="502"/>
                    </a:lnTo>
                    <a:lnTo>
                      <a:pt x="61" y="488"/>
                    </a:lnTo>
                    <a:lnTo>
                      <a:pt x="52" y="473"/>
                    </a:lnTo>
                    <a:lnTo>
                      <a:pt x="45" y="457"/>
                    </a:lnTo>
                    <a:lnTo>
                      <a:pt x="38" y="441"/>
                    </a:lnTo>
                    <a:lnTo>
                      <a:pt x="33" y="423"/>
                    </a:lnTo>
                    <a:lnTo>
                      <a:pt x="31" y="406"/>
                    </a:lnTo>
                    <a:lnTo>
                      <a:pt x="30" y="388"/>
                    </a:lnTo>
                    <a:lnTo>
                      <a:pt x="31" y="372"/>
                    </a:lnTo>
                    <a:lnTo>
                      <a:pt x="33" y="356"/>
                    </a:lnTo>
                    <a:lnTo>
                      <a:pt x="37" y="340"/>
                    </a:lnTo>
                    <a:lnTo>
                      <a:pt x="43" y="325"/>
                    </a:lnTo>
                    <a:lnTo>
                      <a:pt x="50" y="310"/>
                    </a:lnTo>
                    <a:lnTo>
                      <a:pt x="59" y="295"/>
                    </a:lnTo>
                    <a:lnTo>
                      <a:pt x="68" y="282"/>
                    </a:lnTo>
                    <a:lnTo>
                      <a:pt x="79" y="269"/>
                    </a:lnTo>
                    <a:lnTo>
                      <a:pt x="91" y="257"/>
                    </a:lnTo>
                    <a:lnTo>
                      <a:pt x="104" y="247"/>
                    </a:lnTo>
                    <a:lnTo>
                      <a:pt x="118" y="237"/>
                    </a:lnTo>
                    <a:lnTo>
                      <a:pt x="131" y="229"/>
                    </a:lnTo>
                    <a:lnTo>
                      <a:pt x="146" y="221"/>
                    </a:lnTo>
                    <a:lnTo>
                      <a:pt x="163" y="216"/>
                    </a:lnTo>
                    <a:lnTo>
                      <a:pt x="179" y="211"/>
                    </a:lnTo>
                    <a:lnTo>
                      <a:pt x="196" y="209"/>
                    </a:lnTo>
                    <a:lnTo>
                      <a:pt x="201" y="208"/>
                    </a:lnTo>
                    <a:lnTo>
                      <a:pt x="205" y="205"/>
                    </a:lnTo>
                    <a:lnTo>
                      <a:pt x="208" y="201"/>
                    </a:lnTo>
                    <a:lnTo>
                      <a:pt x="209" y="195"/>
                    </a:lnTo>
                    <a:lnTo>
                      <a:pt x="211" y="186"/>
                    </a:lnTo>
                    <a:lnTo>
                      <a:pt x="212" y="177"/>
                    </a:lnTo>
                    <a:lnTo>
                      <a:pt x="214" y="168"/>
                    </a:lnTo>
                    <a:lnTo>
                      <a:pt x="217" y="159"/>
                    </a:lnTo>
                    <a:lnTo>
                      <a:pt x="224" y="142"/>
                    </a:lnTo>
                    <a:lnTo>
                      <a:pt x="232" y="127"/>
                    </a:lnTo>
                    <a:lnTo>
                      <a:pt x="243" y="112"/>
                    </a:lnTo>
                    <a:lnTo>
                      <a:pt x="255" y="98"/>
                    </a:lnTo>
                    <a:lnTo>
                      <a:pt x="267" y="85"/>
                    </a:lnTo>
                    <a:lnTo>
                      <a:pt x="282" y="74"/>
                    </a:lnTo>
                    <a:lnTo>
                      <a:pt x="297" y="64"/>
                    </a:lnTo>
                    <a:lnTo>
                      <a:pt x="313" y="55"/>
                    </a:lnTo>
                    <a:lnTo>
                      <a:pt x="331" y="48"/>
                    </a:lnTo>
                    <a:lnTo>
                      <a:pt x="348" y="41"/>
                    </a:lnTo>
                    <a:lnTo>
                      <a:pt x="365" y="36"/>
                    </a:lnTo>
                    <a:lnTo>
                      <a:pt x="383" y="33"/>
                    </a:lnTo>
                    <a:lnTo>
                      <a:pt x="401" y="31"/>
                    </a:lnTo>
                    <a:lnTo>
                      <a:pt x="418" y="29"/>
                    </a:lnTo>
                    <a:lnTo>
                      <a:pt x="434" y="31"/>
                    </a:lnTo>
                    <a:lnTo>
                      <a:pt x="449" y="33"/>
                    </a:lnTo>
                    <a:lnTo>
                      <a:pt x="464" y="36"/>
                    </a:lnTo>
                    <a:lnTo>
                      <a:pt x="478" y="41"/>
                    </a:lnTo>
                    <a:lnTo>
                      <a:pt x="492" y="48"/>
                    </a:lnTo>
                    <a:lnTo>
                      <a:pt x="505" y="55"/>
                    </a:lnTo>
                    <a:lnTo>
                      <a:pt x="518" y="64"/>
                    </a:lnTo>
                    <a:lnTo>
                      <a:pt x="530" y="73"/>
                    </a:lnTo>
                    <a:lnTo>
                      <a:pt x="542" y="84"/>
                    </a:lnTo>
                    <a:lnTo>
                      <a:pt x="552" y="95"/>
                    </a:lnTo>
                    <a:lnTo>
                      <a:pt x="562" y="107"/>
                    </a:lnTo>
                    <a:lnTo>
                      <a:pt x="572" y="118"/>
                    </a:lnTo>
                    <a:lnTo>
                      <a:pt x="580" y="131"/>
                    </a:lnTo>
                    <a:lnTo>
                      <a:pt x="588" y="144"/>
                    </a:lnTo>
                    <a:lnTo>
                      <a:pt x="594" y="157"/>
                    </a:lnTo>
                    <a:lnTo>
                      <a:pt x="599" y="170"/>
                    </a:lnTo>
                    <a:lnTo>
                      <a:pt x="601" y="174"/>
                    </a:lnTo>
                    <a:lnTo>
                      <a:pt x="606" y="177"/>
                    </a:lnTo>
                    <a:lnTo>
                      <a:pt x="610" y="179"/>
                    </a:lnTo>
                    <a:lnTo>
                      <a:pt x="615" y="179"/>
                    </a:lnTo>
                    <a:lnTo>
                      <a:pt x="630" y="178"/>
                    </a:lnTo>
                    <a:lnTo>
                      <a:pt x="646" y="179"/>
                    </a:lnTo>
                    <a:lnTo>
                      <a:pt x="660" y="181"/>
                    </a:lnTo>
                    <a:lnTo>
                      <a:pt x="674" y="186"/>
                    </a:lnTo>
                    <a:lnTo>
                      <a:pt x="687" y="192"/>
                    </a:lnTo>
                    <a:lnTo>
                      <a:pt x="698" y="200"/>
                    </a:lnTo>
                    <a:lnTo>
                      <a:pt x="703" y="203"/>
                    </a:lnTo>
                    <a:lnTo>
                      <a:pt x="707" y="208"/>
                    </a:lnTo>
                    <a:lnTo>
                      <a:pt x="712" y="213"/>
                    </a:lnTo>
                    <a:lnTo>
                      <a:pt x="716" y="218"/>
                    </a:lnTo>
                    <a:lnTo>
                      <a:pt x="720" y="226"/>
                    </a:lnTo>
                    <a:lnTo>
                      <a:pt x="724" y="235"/>
                    </a:lnTo>
                    <a:lnTo>
                      <a:pt x="727" y="244"/>
                    </a:lnTo>
                    <a:lnTo>
                      <a:pt x="728" y="253"/>
                    </a:lnTo>
                    <a:lnTo>
                      <a:pt x="727" y="263"/>
                    </a:lnTo>
                    <a:lnTo>
                      <a:pt x="726" y="272"/>
                    </a:lnTo>
                    <a:lnTo>
                      <a:pt x="724" y="282"/>
                    </a:lnTo>
                    <a:lnTo>
                      <a:pt x="719" y="293"/>
                    </a:lnTo>
                    <a:lnTo>
                      <a:pt x="718" y="298"/>
                    </a:lnTo>
                    <a:lnTo>
                      <a:pt x="719" y="303"/>
                    </a:lnTo>
                    <a:lnTo>
                      <a:pt x="721" y="308"/>
                    </a:lnTo>
                    <a:lnTo>
                      <a:pt x="725" y="312"/>
                    </a:lnTo>
                    <a:lnTo>
                      <a:pt x="731" y="316"/>
                    </a:lnTo>
                    <a:lnTo>
                      <a:pt x="736" y="322"/>
                    </a:lnTo>
                    <a:lnTo>
                      <a:pt x="742" y="327"/>
                    </a:lnTo>
                    <a:lnTo>
                      <a:pt x="747" y="332"/>
                    </a:lnTo>
                    <a:lnTo>
                      <a:pt x="756" y="346"/>
                    </a:lnTo>
                    <a:lnTo>
                      <a:pt x="763" y="361"/>
                    </a:lnTo>
                    <a:lnTo>
                      <a:pt x="770" y="377"/>
                    </a:lnTo>
                    <a:lnTo>
                      <a:pt x="774" y="396"/>
                    </a:lnTo>
                    <a:lnTo>
                      <a:pt x="777" y="414"/>
                    </a:lnTo>
                    <a:lnTo>
                      <a:pt x="778" y="433"/>
                    </a:lnTo>
                    <a:lnTo>
                      <a:pt x="777" y="447"/>
                    </a:lnTo>
                    <a:lnTo>
                      <a:pt x="775" y="461"/>
                    </a:lnTo>
                    <a:lnTo>
                      <a:pt x="772" y="474"/>
                    </a:lnTo>
                    <a:lnTo>
                      <a:pt x="767" y="485"/>
                    </a:lnTo>
                    <a:lnTo>
                      <a:pt x="762" y="498"/>
                    </a:lnTo>
                    <a:lnTo>
                      <a:pt x="755" y="509"/>
                    </a:lnTo>
                    <a:lnTo>
                      <a:pt x="747" y="520"/>
                    </a:lnTo>
                    <a:lnTo>
                      <a:pt x="739" y="528"/>
                    </a:lnTo>
                    <a:lnTo>
                      <a:pt x="729" y="538"/>
                    </a:lnTo>
                    <a:lnTo>
                      <a:pt x="718" y="545"/>
                    </a:lnTo>
                    <a:lnTo>
                      <a:pt x="706" y="552"/>
                    </a:lnTo>
                    <a:lnTo>
                      <a:pt x="695" y="557"/>
                    </a:lnTo>
                    <a:lnTo>
                      <a:pt x="683" y="563"/>
                    </a:lnTo>
                    <a:lnTo>
                      <a:pt x="669" y="566"/>
                    </a:lnTo>
                    <a:lnTo>
                      <a:pt x="656" y="568"/>
                    </a:lnTo>
                    <a:lnTo>
                      <a:pt x="642" y="568"/>
                    </a:lnTo>
                    <a:close/>
                    <a:moveTo>
                      <a:pt x="751" y="294"/>
                    </a:moveTo>
                    <a:lnTo>
                      <a:pt x="755" y="282"/>
                    </a:lnTo>
                    <a:lnTo>
                      <a:pt x="757" y="269"/>
                    </a:lnTo>
                    <a:lnTo>
                      <a:pt x="758" y="257"/>
                    </a:lnTo>
                    <a:lnTo>
                      <a:pt x="757" y="246"/>
                    </a:lnTo>
                    <a:lnTo>
                      <a:pt x="755" y="234"/>
                    </a:lnTo>
                    <a:lnTo>
                      <a:pt x="751" y="222"/>
                    </a:lnTo>
                    <a:lnTo>
                      <a:pt x="747" y="211"/>
                    </a:lnTo>
                    <a:lnTo>
                      <a:pt x="741" y="202"/>
                    </a:lnTo>
                    <a:lnTo>
                      <a:pt x="736" y="195"/>
                    </a:lnTo>
                    <a:lnTo>
                      <a:pt x="731" y="189"/>
                    </a:lnTo>
                    <a:lnTo>
                      <a:pt x="726" y="183"/>
                    </a:lnTo>
                    <a:lnTo>
                      <a:pt x="719" y="177"/>
                    </a:lnTo>
                    <a:lnTo>
                      <a:pt x="713" y="173"/>
                    </a:lnTo>
                    <a:lnTo>
                      <a:pt x="706" y="169"/>
                    </a:lnTo>
                    <a:lnTo>
                      <a:pt x="699" y="164"/>
                    </a:lnTo>
                    <a:lnTo>
                      <a:pt x="691" y="161"/>
                    </a:lnTo>
                    <a:lnTo>
                      <a:pt x="676" y="155"/>
                    </a:lnTo>
                    <a:lnTo>
                      <a:pt x="659" y="150"/>
                    </a:lnTo>
                    <a:lnTo>
                      <a:pt x="641" y="149"/>
                    </a:lnTo>
                    <a:lnTo>
                      <a:pt x="623" y="149"/>
                    </a:lnTo>
                    <a:lnTo>
                      <a:pt x="616" y="135"/>
                    </a:lnTo>
                    <a:lnTo>
                      <a:pt x="609" y="122"/>
                    </a:lnTo>
                    <a:lnTo>
                      <a:pt x="600" y="108"/>
                    </a:lnTo>
                    <a:lnTo>
                      <a:pt x="591" y="95"/>
                    </a:lnTo>
                    <a:lnTo>
                      <a:pt x="581" y="82"/>
                    </a:lnTo>
                    <a:lnTo>
                      <a:pt x="569" y="69"/>
                    </a:lnTo>
                    <a:lnTo>
                      <a:pt x="558" y="57"/>
                    </a:lnTo>
                    <a:lnTo>
                      <a:pt x="545" y="47"/>
                    </a:lnTo>
                    <a:lnTo>
                      <a:pt x="532" y="37"/>
                    </a:lnTo>
                    <a:lnTo>
                      <a:pt x="517" y="27"/>
                    </a:lnTo>
                    <a:lnTo>
                      <a:pt x="502" y="20"/>
                    </a:lnTo>
                    <a:lnTo>
                      <a:pt x="487" y="12"/>
                    </a:lnTo>
                    <a:lnTo>
                      <a:pt x="471" y="7"/>
                    </a:lnTo>
                    <a:lnTo>
                      <a:pt x="454" y="3"/>
                    </a:lnTo>
                    <a:lnTo>
                      <a:pt x="437" y="1"/>
                    </a:lnTo>
                    <a:lnTo>
                      <a:pt x="418" y="0"/>
                    </a:lnTo>
                    <a:lnTo>
                      <a:pt x="394" y="1"/>
                    </a:lnTo>
                    <a:lnTo>
                      <a:pt x="371" y="4"/>
                    </a:lnTo>
                    <a:lnTo>
                      <a:pt x="349" y="8"/>
                    </a:lnTo>
                    <a:lnTo>
                      <a:pt x="327" y="16"/>
                    </a:lnTo>
                    <a:lnTo>
                      <a:pt x="307" y="23"/>
                    </a:lnTo>
                    <a:lnTo>
                      <a:pt x="289" y="33"/>
                    </a:lnTo>
                    <a:lnTo>
                      <a:pt x="271" y="44"/>
                    </a:lnTo>
                    <a:lnTo>
                      <a:pt x="255" y="56"/>
                    </a:lnTo>
                    <a:lnTo>
                      <a:pt x="241" y="69"/>
                    </a:lnTo>
                    <a:lnTo>
                      <a:pt x="227" y="84"/>
                    </a:lnTo>
                    <a:lnTo>
                      <a:pt x="215" y="99"/>
                    </a:lnTo>
                    <a:lnTo>
                      <a:pt x="205" y="114"/>
                    </a:lnTo>
                    <a:lnTo>
                      <a:pt x="197" y="130"/>
                    </a:lnTo>
                    <a:lnTo>
                      <a:pt x="189" y="147"/>
                    </a:lnTo>
                    <a:lnTo>
                      <a:pt x="184" y="163"/>
                    </a:lnTo>
                    <a:lnTo>
                      <a:pt x="181" y="180"/>
                    </a:lnTo>
                    <a:lnTo>
                      <a:pt x="163" y="185"/>
                    </a:lnTo>
                    <a:lnTo>
                      <a:pt x="144" y="190"/>
                    </a:lnTo>
                    <a:lnTo>
                      <a:pt x="127" y="198"/>
                    </a:lnTo>
                    <a:lnTo>
                      <a:pt x="110" y="206"/>
                    </a:lnTo>
                    <a:lnTo>
                      <a:pt x="95" y="216"/>
                    </a:lnTo>
                    <a:lnTo>
                      <a:pt x="80" y="227"/>
                    </a:lnTo>
                    <a:lnTo>
                      <a:pt x="66" y="240"/>
                    </a:lnTo>
                    <a:lnTo>
                      <a:pt x="53" y="253"/>
                    </a:lnTo>
                    <a:lnTo>
                      <a:pt x="42" y="268"/>
                    </a:lnTo>
                    <a:lnTo>
                      <a:pt x="31" y="283"/>
                    </a:lnTo>
                    <a:lnTo>
                      <a:pt x="21" y="300"/>
                    </a:lnTo>
                    <a:lnTo>
                      <a:pt x="14" y="316"/>
                    </a:lnTo>
                    <a:lnTo>
                      <a:pt x="8" y="335"/>
                    </a:lnTo>
                    <a:lnTo>
                      <a:pt x="3" y="352"/>
                    </a:lnTo>
                    <a:lnTo>
                      <a:pt x="1" y="370"/>
                    </a:lnTo>
                    <a:lnTo>
                      <a:pt x="0" y="388"/>
                    </a:lnTo>
                    <a:lnTo>
                      <a:pt x="0" y="399"/>
                    </a:lnTo>
                    <a:lnTo>
                      <a:pt x="1" y="409"/>
                    </a:lnTo>
                    <a:lnTo>
                      <a:pt x="2" y="419"/>
                    </a:lnTo>
                    <a:lnTo>
                      <a:pt x="4" y="430"/>
                    </a:lnTo>
                    <a:lnTo>
                      <a:pt x="9" y="449"/>
                    </a:lnTo>
                    <a:lnTo>
                      <a:pt x="17" y="468"/>
                    </a:lnTo>
                    <a:lnTo>
                      <a:pt x="25" y="487"/>
                    </a:lnTo>
                    <a:lnTo>
                      <a:pt x="36" y="504"/>
                    </a:lnTo>
                    <a:lnTo>
                      <a:pt x="49" y="521"/>
                    </a:lnTo>
                    <a:lnTo>
                      <a:pt x="63" y="536"/>
                    </a:lnTo>
                    <a:lnTo>
                      <a:pt x="78" y="549"/>
                    </a:lnTo>
                    <a:lnTo>
                      <a:pt x="94" y="561"/>
                    </a:lnTo>
                    <a:lnTo>
                      <a:pt x="111" y="572"/>
                    </a:lnTo>
                    <a:lnTo>
                      <a:pt x="129" y="581"/>
                    </a:lnTo>
                    <a:lnTo>
                      <a:pt x="149" y="588"/>
                    </a:lnTo>
                    <a:lnTo>
                      <a:pt x="168" y="594"/>
                    </a:lnTo>
                    <a:lnTo>
                      <a:pt x="179" y="596"/>
                    </a:lnTo>
                    <a:lnTo>
                      <a:pt x="188" y="597"/>
                    </a:lnTo>
                    <a:lnTo>
                      <a:pt x="199" y="598"/>
                    </a:lnTo>
                    <a:lnTo>
                      <a:pt x="210" y="598"/>
                    </a:lnTo>
                    <a:lnTo>
                      <a:pt x="642" y="598"/>
                    </a:lnTo>
                    <a:lnTo>
                      <a:pt x="659" y="597"/>
                    </a:lnTo>
                    <a:lnTo>
                      <a:pt x="675" y="595"/>
                    </a:lnTo>
                    <a:lnTo>
                      <a:pt x="691" y="590"/>
                    </a:lnTo>
                    <a:lnTo>
                      <a:pt x="706" y="585"/>
                    </a:lnTo>
                    <a:lnTo>
                      <a:pt x="721" y="579"/>
                    </a:lnTo>
                    <a:lnTo>
                      <a:pt x="734" y="570"/>
                    </a:lnTo>
                    <a:lnTo>
                      <a:pt x="747" y="560"/>
                    </a:lnTo>
                    <a:lnTo>
                      <a:pt x="759" y="550"/>
                    </a:lnTo>
                    <a:lnTo>
                      <a:pt x="770" y="538"/>
                    </a:lnTo>
                    <a:lnTo>
                      <a:pt x="779" y="525"/>
                    </a:lnTo>
                    <a:lnTo>
                      <a:pt x="788" y="512"/>
                    </a:lnTo>
                    <a:lnTo>
                      <a:pt x="795" y="497"/>
                    </a:lnTo>
                    <a:lnTo>
                      <a:pt x="801" y="482"/>
                    </a:lnTo>
                    <a:lnTo>
                      <a:pt x="805" y="466"/>
                    </a:lnTo>
                    <a:lnTo>
                      <a:pt x="807" y="450"/>
                    </a:lnTo>
                    <a:lnTo>
                      <a:pt x="808" y="433"/>
                    </a:lnTo>
                    <a:lnTo>
                      <a:pt x="807" y="416"/>
                    </a:lnTo>
                    <a:lnTo>
                      <a:pt x="805" y="398"/>
                    </a:lnTo>
                    <a:lnTo>
                      <a:pt x="801" y="378"/>
                    </a:lnTo>
                    <a:lnTo>
                      <a:pt x="795" y="360"/>
                    </a:lnTo>
                    <a:lnTo>
                      <a:pt x="792" y="351"/>
                    </a:lnTo>
                    <a:lnTo>
                      <a:pt x="788" y="342"/>
                    </a:lnTo>
                    <a:lnTo>
                      <a:pt x="782" y="332"/>
                    </a:lnTo>
                    <a:lnTo>
                      <a:pt x="777" y="324"/>
                    </a:lnTo>
                    <a:lnTo>
                      <a:pt x="772" y="316"/>
                    </a:lnTo>
                    <a:lnTo>
                      <a:pt x="765" y="308"/>
                    </a:lnTo>
                    <a:lnTo>
                      <a:pt x="759" y="301"/>
                    </a:lnTo>
                    <a:lnTo>
                      <a:pt x="751" y="2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0" name="Freeform 44">
                <a:extLst>
                  <a:ext uri="{FF2B5EF4-FFF2-40B4-BE49-F238E27FC236}">
                    <a16:creationId xmlns:a16="http://schemas.microsoft.com/office/drawing/2014/main" id="{B3E23029-0D63-46EC-AC0C-41C02B84DA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5625" y="984250"/>
                <a:ext cx="71438" cy="71438"/>
              </a:xfrm>
              <a:custGeom>
                <a:avLst/>
                <a:gdLst>
                  <a:gd name="T0" fmla="*/ 198 w 223"/>
                  <a:gd name="T1" fmla="*/ 4 h 225"/>
                  <a:gd name="T2" fmla="*/ 4 w 223"/>
                  <a:gd name="T3" fmla="*/ 199 h 225"/>
                  <a:gd name="T4" fmla="*/ 2 w 223"/>
                  <a:gd name="T5" fmla="*/ 201 h 225"/>
                  <a:gd name="T6" fmla="*/ 1 w 223"/>
                  <a:gd name="T7" fmla="*/ 204 h 225"/>
                  <a:gd name="T8" fmla="*/ 0 w 223"/>
                  <a:gd name="T9" fmla="*/ 207 h 225"/>
                  <a:gd name="T10" fmla="*/ 0 w 223"/>
                  <a:gd name="T11" fmla="*/ 210 h 225"/>
                  <a:gd name="T12" fmla="*/ 0 w 223"/>
                  <a:gd name="T13" fmla="*/ 213 h 225"/>
                  <a:gd name="T14" fmla="*/ 1 w 223"/>
                  <a:gd name="T15" fmla="*/ 216 h 225"/>
                  <a:gd name="T16" fmla="*/ 2 w 223"/>
                  <a:gd name="T17" fmla="*/ 218 h 225"/>
                  <a:gd name="T18" fmla="*/ 4 w 223"/>
                  <a:gd name="T19" fmla="*/ 220 h 225"/>
                  <a:gd name="T20" fmla="*/ 6 w 223"/>
                  <a:gd name="T21" fmla="*/ 221 h 225"/>
                  <a:gd name="T22" fmla="*/ 8 w 223"/>
                  <a:gd name="T23" fmla="*/ 223 h 225"/>
                  <a:gd name="T24" fmla="*/ 11 w 223"/>
                  <a:gd name="T25" fmla="*/ 223 h 225"/>
                  <a:gd name="T26" fmla="*/ 15 w 223"/>
                  <a:gd name="T27" fmla="*/ 225 h 225"/>
                  <a:gd name="T28" fmla="*/ 17 w 223"/>
                  <a:gd name="T29" fmla="*/ 223 h 225"/>
                  <a:gd name="T30" fmla="*/ 20 w 223"/>
                  <a:gd name="T31" fmla="*/ 223 h 225"/>
                  <a:gd name="T32" fmla="*/ 22 w 223"/>
                  <a:gd name="T33" fmla="*/ 221 h 225"/>
                  <a:gd name="T34" fmla="*/ 25 w 223"/>
                  <a:gd name="T35" fmla="*/ 220 h 225"/>
                  <a:gd name="T36" fmla="*/ 219 w 223"/>
                  <a:gd name="T37" fmla="*/ 25 h 225"/>
                  <a:gd name="T38" fmla="*/ 221 w 223"/>
                  <a:gd name="T39" fmla="*/ 23 h 225"/>
                  <a:gd name="T40" fmla="*/ 222 w 223"/>
                  <a:gd name="T41" fmla="*/ 21 h 225"/>
                  <a:gd name="T42" fmla="*/ 223 w 223"/>
                  <a:gd name="T43" fmla="*/ 18 h 225"/>
                  <a:gd name="T44" fmla="*/ 223 w 223"/>
                  <a:gd name="T45" fmla="*/ 16 h 225"/>
                  <a:gd name="T46" fmla="*/ 223 w 223"/>
                  <a:gd name="T47" fmla="*/ 13 h 225"/>
                  <a:gd name="T48" fmla="*/ 222 w 223"/>
                  <a:gd name="T49" fmla="*/ 9 h 225"/>
                  <a:gd name="T50" fmla="*/ 221 w 223"/>
                  <a:gd name="T51" fmla="*/ 7 h 225"/>
                  <a:gd name="T52" fmla="*/ 219 w 223"/>
                  <a:gd name="T53" fmla="*/ 4 h 225"/>
                  <a:gd name="T54" fmla="*/ 217 w 223"/>
                  <a:gd name="T55" fmla="*/ 2 h 225"/>
                  <a:gd name="T56" fmla="*/ 215 w 223"/>
                  <a:gd name="T57" fmla="*/ 1 h 225"/>
                  <a:gd name="T58" fmla="*/ 212 w 223"/>
                  <a:gd name="T59" fmla="*/ 0 h 225"/>
                  <a:gd name="T60" fmla="*/ 208 w 223"/>
                  <a:gd name="T61" fmla="*/ 0 h 225"/>
                  <a:gd name="T62" fmla="*/ 206 w 223"/>
                  <a:gd name="T63" fmla="*/ 0 h 225"/>
                  <a:gd name="T64" fmla="*/ 203 w 223"/>
                  <a:gd name="T65" fmla="*/ 1 h 225"/>
                  <a:gd name="T66" fmla="*/ 201 w 223"/>
                  <a:gd name="T67" fmla="*/ 2 h 225"/>
                  <a:gd name="T68" fmla="*/ 198 w 223"/>
                  <a:gd name="T69" fmla="*/ 4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3" h="225">
                    <a:moveTo>
                      <a:pt x="198" y="4"/>
                    </a:moveTo>
                    <a:lnTo>
                      <a:pt x="4" y="199"/>
                    </a:lnTo>
                    <a:lnTo>
                      <a:pt x="2" y="201"/>
                    </a:lnTo>
                    <a:lnTo>
                      <a:pt x="1" y="204"/>
                    </a:lnTo>
                    <a:lnTo>
                      <a:pt x="0" y="207"/>
                    </a:lnTo>
                    <a:lnTo>
                      <a:pt x="0" y="210"/>
                    </a:lnTo>
                    <a:lnTo>
                      <a:pt x="0" y="213"/>
                    </a:lnTo>
                    <a:lnTo>
                      <a:pt x="1" y="216"/>
                    </a:lnTo>
                    <a:lnTo>
                      <a:pt x="2" y="218"/>
                    </a:lnTo>
                    <a:lnTo>
                      <a:pt x="4" y="220"/>
                    </a:lnTo>
                    <a:lnTo>
                      <a:pt x="6" y="221"/>
                    </a:lnTo>
                    <a:lnTo>
                      <a:pt x="8" y="223"/>
                    </a:lnTo>
                    <a:lnTo>
                      <a:pt x="11" y="223"/>
                    </a:lnTo>
                    <a:lnTo>
                      <a:pt x="15" y="225"/>
                    </a:lnTo>
                    <a:lnTo>
                      <a:pt x="17" y="223"/>
                    </a:lnTo>
                    <a:lnTo>
                      <a:pt x="20" y="223"/>
                    </a:lnTo>
                    <a:lnTo>
                      <a:pt x="22" y="221"/>
                    </a:lnTo>
                    <a:lnTo>
                      <a:pt x="25" y="220"/>
                    </a:lnTo>
                    <a:lnTo>
                      <a:pt x="219" y="25"/>
                    </a:lnTo>
                    <a:lnTo>
                      <a:pt x="221" y="23"/>
                    </a:lnTo>
                    <a:lnTo>
                      <a:pt x="222" y="21"/>
                    </a:lnTo>
                    <a:lnTo>
                      <a:pt x="223" y="18"/>
                    </a:lnTo>
                    <a:lnTo>
                      <a:pt x="223" y="16"/>
                    </a:lnTo>
                    <a:lnTo>
                      <a:pt x="223" y="13"/>
                    </a:lnTo>
                    <a:lnTo>
                      <a:pt x="222" y="9"/>
                    </a:lnTo>
                    <a:lnTo>
                      <a:pt x="221" y="7"/>
                    </a:lnTo>
                    <a:lnTo>
                      <a:pt x="219" y="4"/>
                    </a:lnTo>
                    <a:lnTo>
                      <a:pt x="217" y="2"/>
                    </a:lnTo>
                    <a:lnTo>
                      <a:pt x="215" y="1"/>
                    </a:lnTo>
                    <a:lnTo>
                      <a:pt x="212" y="0"/>
                    </a:lnTo>
                    <a:lnTo>
                      <a:pt x="208" y="0"/>
                    </a:lnTo>
                    <a:lnTo>
                      <a:pt x="206" y="0"/>
                    </a:lnTo>
                    <a:lnTo>
                      <a:pt x="203" y="1"/>
                    </a:lnTo>
                    <a:lnTo>
                      <a:pt x="201" y="2"/>
                    </a:lnTo>
                    <a:lnTo>
                      <a:pt x="198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1" name="Freeform 45">
                <a:extLst>
                  <a:ext uri="{FF2B5EF4-FFF2-40B4-BE49-F238E27FC236}">
                    <a16:creationId xmlns:a16="http://schemas.microsoft.com/office/drawing/2014/main" id="{A20D2FCF-5562-4333-8CA5-65CBC55DBC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1825" y="989013"/>
                <a:ext cx="47625" cy="66675"/>
              </a:xfrm>
              <a:custGeom>
                <a:avLst/>
                <a:gdLst>
                  <a:gd name="T0" fmla="*/ 135 w 150"/>
                  <a:gd name="T1" fmla="*/ 60 h 210"/>
                  <a:gd name="T2" fmla="*/ 82 w 150"/>
                  <a:gd name="T3" fmla="*/ 60 h 210"/>
                  <a:gd name="T4" fmla="*/ 116 w 150"/>
                  <a:gd name="T5" fmla="*/ 25 h 210"/>
                  <a:gd name="T6" fmla="*/ 118 w 150"/>
                  <a:gd name="T7" fmla="*/ 23 h 210"/>
                  <a:gd name="T8" fmla="*/ 119 w 150"/>
                  <a:gd name="T9" fmla="*/ 21 h 210"/>
                  <a:gd name="T10" fmla="*/ 120 w 150"/>
                  <a:gd name="T11" fmla="*/ 18 h 210"/>
                  <a:gd name="T12" fmla="*/ 120 w 150"/>
                  <a:gd name="T13" fmla="*/ 16 h 210"/>
                  <a:gd name="T14" fmla="*/ 120 w 150"/>
                  <a:gd name="T15" fmla="*/ 13 h 210"/>
                  <a:gd name="T16" fmla="*/ 119 w 150"/>
                  <a:gd name="T17" fmla="*/ 9 h 210"/>
                  <a:gd name="T18" fmla="*/ 118 w 150"/>
                  <a:gd name="T19" fmla="*/ 6 h 210"/>
                  <a:gd name="T20" fmla="*/ 116 w 150"/>
                  <a:gd name="T21" fmla="*/ 4 h 210"/>
                  <a:gd name="T22" fmla="*/ 114 w 150"/>
                  <a:gd name="T23" fmla="*/ 2 h 210"/>
                  <a:gd name="T24" fmla="*/ 111 w 150"/>
                  <a:gd name="T25" fmla="*/ 1 h 210"/>
                  <a:gd name="T26" fmla="*/ 109 w 150"/>
                  <a:gd name="T27" fmla="*/ 0 h 210"/>
                  <a:gd name="T28" fmla="*/ 105 w 150"/>
                  <a:gd name="T29" fmla="*/ 0 h 210"/>
                  <a:gd name="T30" fmla="*/ 102 w 150"/>
                  <a:gd name="T31" fmla="*/ 0 h 210"/>
                  <a:gd name="T32" fmla="*/ 100 w 150"/>
                  <a:gd name="T33" fmla="*/ 1 h 210"/>
                  <a:gd name="T34" fmla="*/ 97 w 150"/>
                  <a:gd name="T35" fmla="*/ 2 h 210"/>
                  <a:gd name="T36" fmla="*/ 95 w 150"/>
                  <a:gd name="T37" fmla="*/ 4 h 210"/>
                  <a:gd name="T38" fmla="*/ 35 w 150"/>
                  <a:gd name="T39" fmla="*/ 64 h 210"/>
                  <a:gd name="T40" fmla="*/ 33 w 150"/>
                  <a:gd name="T41" fmla="*/ 68 h 210"/>
                  <a:gd name="T42" fmla="*/ 32 w 150"/>
                  <a:gd name="T43" fmla="*/ 71 h 210"/>
                  <a:gd name="T44" fmla="*/ 30 w 150"/>
                  <a:gd name="T45" fmla="*/ 76 h 210"/>
                  <a:gd name="T46" fmla="*/ 32 w 150"/>
                  <a:gd name="T47" fmla="*/ 81 h 210"/>
                  <a:gd name="T48" fmla="*/ 35 w 150"/>
                  <a:gd name="T49" fmla="*/ 84 h 210"/>
                  <a:gd name="T50" fmla="*/ 38 w 150"/>
                  <a:gd name="T51" fmla="*/ 88 h 210"/>
                  <a:gd name="T52" fmla="*/ 41 w 150"/>
                  <a:gd name="T53" fmla="*/ 89 h 210"/>
                  <a:gd name="T54" fmla="*/ 45 w 150"/>
                  <a:gd name="T55" fmla="*/ 90 h 210"/>
                  <a:gd name="T56" fmla="*/ 99 w 150"/>
                  <a:gd name="T57" fmla="*/ 90 h 210"/>
                  <a:gd name="T58" fmla="*/ 5 w 150"/>
                  <a:gd name="T59" fmla="*/ 184 h 210"/>
                  <a:gd name="T60" fmla="*/ 4 w 150"/>
                  <a:gd name="T61" fmla="*/ 186 h 210"/>
                  <a:gd name="T62" fmla="*/ 2 w 150"/>
                  <a:gd name="T63" fmla="*/ 189 h 210"/>
                  <a:gd name="T64" fmla="*/ 2 w 150"/>
                  <a:gd name="T65" fmla="*/ 192 h 210"/>
                  <a:gd name="T66" fmla="*/ 0 w 150"/>
                  <a:gd name="T67" fmla="*/ 195 h 210"/>
                  <a:gd name="T68" fmla="*/ 2 w 150"/>
                  <a:gd name="T69" fmla="*/ 198 h 210"/>
                  <a:gd name="T70" fmla="*/ 2 w 150"/>
                  <a:gd name="T71" fmla="*/ 201 h 210"/>
                  <a:gd name="T72" fmla="*/ 4 w 150"/>
                  <a:gd name="T73" fmla="*/ 203 h 210"/>
                  <a:gd name="T74" fmla="*/ 5 w 150"/>
                  <a:gd name="T75" fmla="*/ 205 h 210"/>
                  <a:gd name="T76" fmla="*/ 8 w 150"/>
                  <a:gd name="T77" fmla="*/ 206 h 210"/>
                  <a:gd name="T78" fmla="*/ 10 w 150"/>
                  <a:gd name="T79" fmla="*/ 208 h 210"/>
                  <a:gd name="T80" fmla="*/ 13 w 150"/>
                  <a:gd name="T81" fmla="*/ 208 h 210"/>
                  <a:gd name="T82" fmla="*/ 15 w 150"/>
                  <a:gd name="T83" fmla="*/ 210 h 210"/>
                  <a:gd name="T84" fmla="*/ 19 w 150"/>
                  <a:gd name="T85" fmla="*/ 208 h 210"/>
                  <a:gd name="T86" fmla="*/ 22 w 150"/>
                  <a:gd name="T87" fmla="*/ 208 h 210"/>
                  <a:gd name="T88" fmla="*/ 24 w 150"/>
                  <a:gd name="T89" fmla="*/ 206 h 210"/>
                  <a:gd name="T90" fmla="*/ 26 w 150"/>
                  <a:gd name="T91" fmla="*/ 205 h 210"/>
                  <a:gd name="T92" fmla="*/ 146 w 150"/>
                  <a:gd name="T93" fmla="*/ 85 h 210"/>
                  <a:gd name="T94" fmla="*/ 148 w 150"/>
                  <a:gd name="T95" fmla="*/ 82 h 210"/>
                  <a:gd name="T96" fmla="*/ 150 w 150"/>
                  <a:gd name="T97" fmla="*/ 78 h 210"/>
                  <a:gd name="T98" fmla="*/ 150 w 150"/>
                  <a:gd name="T99" fmla="*/ 74 h 210"/>
                  <a:gd name="T100" fmla="*/ 149 w 150"/>
                  <a:gd name="T101" fmla="*/ 70 h 210"/>
                  <a:gd name="T102" fmla="*/ 147 w 150"/>
                  <a:gd name="T103" fmla="*/ 66 h 210"/>
                  <a:gd name="T104" fmla="*/ 144 w 150"/>
                  <a:gd name="T105" fmla="*/ 63 h 210"/>
                  <a:gd name="T106" fmla="*/ 140 w 150"/>
                  <a:gd name="T107" fmla="*/ 61 h 210"/>
                  <a:gd name="T108" fmla="*/ 135 w 150"/>
                  <a:gd name="T109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50" h="210">
                    <a:moveTo>
                      <a:pt x="135" y="60"/>
                    </a:moveTo>
                    <a:lnTo>
                      <a:pt x="82" y="60"/>
                    </a:lnTo>
                    <a:lnTo>
                      <a:pt x="116" y="25"/>
                    </a:lnTo>
                    <a:lnTo>
                      <a:pt x="118" y="23"/>
                    </a:lnTo>
                    <a:lnTo>
                      <a:pt x="119" y="21"/>
                    </a:lnTo>
                    <a:lnTo>
                      <a:pt x="120" y="18"/>
                    </a:lnTo>
                    <a:lnTo>
                      <a:pt x="120" y="16"/>
                    </a:lnTo>
                    <a:lnTo>
                      <a:pt x="120" y="13"/>
                    </a:lnTo>
                    <a:lnTo>
                      <a:pt x="119" y="9"/>
                    </a:lnTo>
                    <a:lnTo>
                      <a:pt x="118" y="6"/>
                    </a:lnTo>
                    <a:lnTo>
                      <a:pt x="116" y="4"/>
                    </a:lnTo>
                    <a:lnTo>
                      <a:pt x="114" y="2"/>
                    </a:lnTo>
                    <a:lnTo>
                      <a:pt x="111" y="1"/>
                    </a:lnTo>
                    <a:lnTo>
                      <a:pt x="109" y="0"/>
                    </a:lnTo>
                    <a:lnTo>
                      <a:pt x="105" y="0"/>
                    </a:lnTo>
                    <a:lnTo>
                      <a:pt x="102" y="0"/>
                    </a:lnTo>
                    <a:lnTo>
                      <a:pt x="100" y="1"/>
                    </a:lnTo>
                    <a:lnTo>
                      <a:pt x="97" y="2"/>
                    </a:lnTo>
                    <a:lnTo>
                      <a:pt x="95" y="4"/>
                    </a:lnTo>
                    <a:lnTo>
                      <a:pt x="35" y="64"/>
                    </a:lnTo>
                    <a:lnTo>
                      <a:pt x="33" y="68"/>
                    </a:lnTo>
                    <a:lnTo>
                      <a:pt x="32" y="71"/>
                    </a:lnTo>
                    <a:lnTo>
                      <a:pt x="30" y="76"/>
                    </a:lnTo>
                    <a:lnTo>
                      <a:pt x="32" y="81"/>
                    </a:lnTo>
                    <a:lnTo>
                      <a:pt x="35" y="84"/>
                    </a:lnTo>
                    <a:lnTo>
                      <a:pt x="38" y="88"/>
                    </a:lnTo>
                    <a:lnTo>
                      <a:pt x="41" y="89"/>
                    </a:lnTo>
                    <a:lnTo>
                      <a:pt x="45" y="90"/>
                    </a:lnTo>
                    <a:lnTo>
                      <a:pt x="99" y="90"/>
                    </a:lnTo>
                    <a:lnTo>
                      <a:pt x="5" y="184"/>
                    </a:lnTo>
                    <a:lnTo>
                      <a:pt x="4" y="186"/>
                    </a:lnTo>
                    <a:lnTo>
                      <a:pt x="2" y="189"/>
                    </a:lnTo>
                    <a:lnTo>
                      <a:pt x="2" y="192"/>
                    </a:lnTo>
                    <a:lnTo>
                      <a:pt x="0" y="195"/>
                    </a:lnTo>
                    <a:lnTo>
                      <a:pt x="2" y="198"/>
                    </a:lnTo>
                    <a:lnTo>
                      <a:pt x="2" y="201"/>
                    </a:lnTo>
                    <a:lnTo>
                      <a:pt x="4" y="203"/>
                    </a:lnTo>
                    <a:lnTo>
                      <a:pt x="5" y="205"/>
                    </a:lnTo>
                    <a:lnTo>
                      <a:pt x="8" y="206"/>
                    </a:lnTo>
                    <a:lnTo>
                      <a:pt x="10" y="208"/>
                    </a:lnTo>
                    <a:lnTo>
                      <a:pt x="13" y="208"/>
                    </a:lnTo>
                    <a:lnTo>
                      <a:pt x="15" y="210"/>
                    </a:lnTo>
                    <a:lnTo>
                      <a:pt x="19" y="208"/>
                    </a:lnTo>
                    <a:lnTo>
                      <a:pt x="22" y="208"/>
                    </a:lnTo>
                    <a:lnTo>
                      <a:pt x="24" y="206"/>
                    </a:lnTo>
                    <a:lnTo>
                      <a:pt x="26" y="205"/>
                    </a:lnTo>
                    <a:lnTo>
                      <a:pt x="146" y="85"/>
                    </a:lnTo>
                    <a:lnTo>
                      <a:pt x="148" y="82"/>
                    </a:lnTo>
                    <a:lnTo>
                      <a:pt x="150" y="78"/>
                    </a:lnTo>
                    <a:lnTo>
                      <a:pt x="150" y="74"/>
                    </a:lnTo>
                    <a:lnTo>
                      <a:pt x="149" y="70"/>
                    </a:lnTo>
                    <a:lnTo>
                      <a:pt x="147" y="66"/>
                    </a:lnTo>
                    <a:lnTo>
                      <a:pt x="144" y="63"/>
                    </a:lnTo>
                    <a:lnTo>
                      <a:pt x="140" y="61"/>
                    </a:lnTo>
                    <a:lnTo>
                      <a:pt x="135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2" name="Freeform 46">
                <a:extLst>
                  <a:ext uri="{FF2B5EF4-FFF2-40B4-BE49-F238E27FC236}">
                    <a16:creationId xmlns:a16="http://schemas.microsoft.com/office/drawing/2014/main" id="{0328213E-D2BC-4B47-90FB-DD29A5312E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989013"/>
                <a:ext cx="66675" cy="66675"/>
              </a:xfrm>
              <a:custGeom>
                <a:avLst/>
                <a:gdLst>
                  <a:gd name="T0" fmla="*/ 184 w 210"/>
                  <a:gd name="T1" fmla="*/ 4 h 210"/>
                  <a:gd name="T2" fmla="*/ 5 w 210"/>
                  <a:gd name="T3" fmla="*/ 184 h 210"/>
                  <a:gd name="T4" fmla="*/ 2 w 210"/>
                  <a:gd name="T5" fmla="*/ 186 h 210"/>
                  <a:gd name="T6" fmla="*/ 1 w 210"/>
                  <a:gd name="T7" fmla="*/ 189 h 210"/>
                  <a:gd name="T8" fmla="*/ 0 w 210"/>
                  <a:gd name="T9" fmla="*/ 192 h 210"/>
                  <a:gd name="T10" fmla="*/ 0 w 210"/>
                  <a:gd name="T11" fmla="*/ 195 h 210"/>
                  <a:gd name="T12" fmla="*/ 0 w 210"/>
                  <a:gd name="T13" fmla="*/ 198 h 210"/>
                  <a:gd name="T14" fmla="*/ 1 w 210"/>
                  <a:gd name="T15" fmla="*/ 201 h 210"/>
                  <a:gd name="T16" fmla="*/ 2 w 210"/>
                  <a:gd name="T17" fmla="*/ 203 h 210"/>
                  <a:gd name="T18" fmla="*/ 5 w 210"/>
                  <a:gd name="T19" fmla="*/ 205 h 210"/>
                  <a:gd name="T20" fmla="*/ 7 w 210"/>
                  <a:gd name="T21" fmla="*/ 206 h 210"/>
                  <a:gd name="T22" fmla="*/ 10 w 210"/>
                  <a:gd name="T23" fmla="*/ 208 h 210"/>
                  <a:gd name="T24" fmla="*/ 12 w 210"/>
                  <a:gd name="T25" fmla="*/ 208 h 210"/>
                  <a:gd name="T26" fmla="*/ 15 w 210"/>
                  <a:gd name="T27" fmla="*/ 210 h 210"/>
                  <a:gd name="T28" fmla="*/ 19 w 210"/>
                  <a:gd name="T29" fmla="*/ 208 h 210"/>
                  <a:gd name="T30" fmla="*/ 21 w 210"/>
                  <a:gd name="T31" fmla="*/ 208 h 210"/>
                  <a:gd name="T32" fmla="*/ 24 w 210"/>
                  <a:gd name="T33" fmla="*/ 206 h 210"/>
                  <a:gd name="T34" fmla="*/ 26 w 210"/>
                  <a:gd name="T35" fmla="*/ 205 h 210"/>
                  <a:gd name="T36" fmla="*/ 206 w 210"/>
                  <a:gd name="T37" fmla="*/ 25 h 210"/>
                  <a:gd name="T38" fmla="*/ 208 w 210"/>
                  <a:gd name="T39" fmla="*/ 23 h 210"/>
                  <a:gd name="T40" fmla="*/ 209 w 210"/>
                  <a:gd name="T41" fmla="*/ 21 h 210"/>
                  <a:gd name="T42" fmla="*/ 210 w 210"/>
                  <a:gd name="T43" fmla="*/ 18 h 210"/>
                  <a:gd name="T44" fmla="*/ 210 w 210"/>
                  <a:gd name="T45" fmla="*/ 16 h 210"/>
                  <a:gd name="T46" fmla="*/ 210 w 210"/>
                  <a:gd name="T47" fmla="*/ 13 h 210"/>
                  <a:gd name="T48" fmla="*/ 209 w 210"/>
                  <a:gd name="T49" fmla="*/ 9 h 210"/>
                  <a:gd name="T50" fmla="*/ 208 w 210"/>
                  <a:gd name="T51" fmla="*/ 6 h 210"/>
                  <a:gd name="T52" fmla="*/ 206 w 210"/>
                  <a:gd name="T53" fmla="*/ 4 h 210"/>
                  <a:gd name="T54" fmla="*/ 204 w 210"/>
                  <a:gd name="T55" fmla="*/ 2 h 210"/>
                  <a:gd name="T56" fmla="*/ 201 w 210"/>
                  <a:gd name="T57" fmla="*/ 1 h 210"/>
                  <a:gd name="T58" fmla="*/ 198 w 210"/>
                  <a:gd name="T59" fmla="*/ 0 h 210"/>
                  <a:gd name="T60" fmla="*/ 195 w 210"/>
                  <a:gd name="T61" fmla="*/ 0 h 210"/>
                  <a:gd name="T62" fmla="*/ 192 w 210"/>
                  <a:gd name="T63" fmla="*/ 0 h 210"/>
                  <a:gd name="T64" fmla="*/ 190 w 210"/>
                  <a:gd name="T65" fmla="*/ 1 h 210"/>
                  <a:gd name="T66" fmla="*/ 187 w 210"/>
                  <a:gd name="T67" fmla="*/ 2 h 210"/>
                  <a:gd name="T68" fmla="*/ 184 w 210"/>
                  <a:gd name="T69" fmla="*/ 4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0" h="210">
                    <a:moveTo>
                      <a:pt x="184" y="4"/>
                    </a:moveTo>
                    <a:lnTo>
                      <a:pt x="5" y="184"/>
                    </a:lnTo>
                    <a:lnTo>
                      <a:pt x="2" y="186"/>
                    </a:lnTo>
                    <a:lnTo>
                      <a:pt x="1" y="189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8"/>
                    </a:lnTo>
                    <a:lnTo>
                      <a:pt x="1" y="201"/>
                    </a:lnTo>
                    <a:lnTo>
                      <a:pt x="2" y="203"/>
                    </a:lnTo>
                    <a:lnTo>
                      <a:pt x="5" y="205"/>
                    </a:lnTo>
                    <a:lnTo>
                      <a:pt x="7" y="206"/>
                    </a:lnTo>
                    <a:lnTo>
                      <a:pt x="10" y="208"/>
                    </a:lnTo>
                    <a:lnTo>
                      <a:pt x="12" y="208"/>
                    </a:lnTo>
                    <a:lnTo>
                      <a:pt x="15" y="210"/>
                    </a:lnTo>
                    <a:lnTo>
                      <a:pt x="19" y="208"/>
                    </a:lnTo>
                    <a:lnTo>
                      <a:pt x="21" y="208"/>
                    </a:lnTo>
                    <a:lnTo>
                      <a:pt x="24" y="206"/>
                    </a:lnTo>
                    <a:lnTo>
                      <a:pt x="26" y="205"/>
                    </a:lnTo>
                    <a:lnTo>
                      <a:pt x="206" y="25"/>
                    </a:lnTo>
                    <a:lnTo>
                      <a:pt x="208" y="23"/>
                    </a:lnTo>
                    <a:lnTo>
                      <a:pt x="209" y="21"/>
                    </a:lnTo>
                    <a:lnTo>
                      <a:pt x="210" y="18"/>
                    </a:lnTo>
                    <a:lnTo>
                      <a:pt x="210" y="16"/>
                    </a:lnTo>
                    <a:lnTo>
                      <a:pt x="210" y="13"/>
                    </a:lnTo>
                    <a:lnTo>
                      <a:pt x="209" y="9"/>
                    </a:lnTo>
                    <a:lnTo>
                      <a:pt x="208" y="6"/>
                    </a:lnTo>
                    <a:lnTo>
                      <a:pt x="206" y="4"/>
                    </a:lnTo>
                    <a:lnTo>
                      <a:pt x="204" y="2"/>
                    </a:lnTo>
                    <a:lnTo>
                      <a:pt x="201" y="1"/>
                    </a:lnTo>
                    <a:lnTo>
                      <a:pt x="198" y="0"/>
                    </a:lnTo>
                    <a:lnTo>
                      <a:pt x="195" y="0"/>
                    </a:lnTo>
                    <a:lnTo>
                      <a:pt x="192" y="0"/>
                    </a:lnTo>
                    <a:lnTo>
                      <a:pt x="190" y="1"/>
                    </a:lnTo>
                    <a:lnTo>
                      <a:pt x="187" y="2"/>
                    </a:lnTo>
                    <a:lnTo>
                      <a:pt x="18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923" name="Group 1922">
            <a:extLst>
              <a:ext uri="{FF2B5EF4-FFF2-40B4-BE49-F238E27FC236}">
                <a16:creationId xmlns:a16="http://schemas.microsoft.com/office/drawing/2014/main" id="{F95549D4-B493-4AB5-B9E5-224702DD377F}"/>
              </a:ext>
            </a:extLst>
          </p:cNvPr>
          <p:cNvGrpSpPr/>
          <p:nvPr/>
        </p:nvGrpSpPr>
        <p:grpSpPr>
          <a:xfrm>
            <a:off x="4942026" y="4223910"/>
            <a:ext cx="418315" cy="418315"/>
            <a:chOff x="4747002" y="3515391"/>
            <a:chExt cx="418315" cy="418315"/>
          </a:xfrm>
        </p:grpSpPr>
        <p:sp>
          <p:nvSpPr>
            <p:cNvPr id="1924" name="Oval 1923">
              <a:extLst>
                <a:ext uri="{FF2B5EF4-FFF2-40B4-BE49-F238E27FC236}">
                  <a16:creationId xmlns:a16="http://schemas.microsoft.com/office/drawing/2014/main" id="{7CFD9DFD-E6EC-4020-A226-05E421E587C5}"/>
                </a:ext>
              </a:extLst>
            </p:cNvPr>
            <p:cNvSpPr/>
            <p:nvPr/>
          </p:nvSpPr>
          <p:spPr>
            <a:xfrm>
              <a:off x="4747002" y="3515391"/>
              <a:ext cx="418315" cy="418315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925" name="Group 1924">
              <a:extLst>
                <a:ext uri="{FF2B5EF4-FFF2-40B4-BE49-F238E27FC236}">
                  <a16:creationId xmlns:a16="http://schemas.microsoft.com/office/drawing/2014/main" id="{E1E42703-54F5-49F4-9A4D-9011B174326A}"/>
                </a:ext>
              </a:extLst>
            </p:cNvPr>
            <p:cNvGrpSpPr/>
            <p:nvPr/>
          </p:nvGrpSpPr>
          <p:grpSpPr>
            <a:xfrm>
              <a:off x="4867938" y="3635834"/>
              <a:ext cx="176442" cy="177428"/>
              <a:chOff x="906463" y="769938"/>
              <a:chExt cx="284162" cy="285750"/>
            </a:xfrm>
            <a:solidFill>
              <a:schemeClr val="bg1"/>
            </a:solidFill>
          </p:grpSpPr>
          <p:sp>
            <p:nvSpPr>
              <p:cNvPr id="1926" name="Freeform 63">
                <a:extLst>
                  <a:ext uri="{FF2B5EF4-FFF2-40B4-BE49-F238E27FC236}">
                    <a16:creationId xmlns:a16="http://schemas.microsoft.com/office/drawing/2014/main" id="{9253B891-5254-4372-A620-7BEC236C9D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650" y="769938"/>
                <a:ext cx="9525" cy="19050"/>
              </a:xfrm>
              <a:custGeom>
                <a:avLst/>
                <a:gdLst>
                  <a:gd name="T0" fmla="*/ 15 w 30"/>
                  <a:gd name="T1" fmla="*/ 59 h 59"/>
                  <a:gd name="T2" fmla="*/ 18 w 30"/>
                  <a:gd name="T3" fmla="*/ 59 h 59"/>
                  <a:gd name="T4" fmla="*/ 21 w 30"/>
                  <a:gd name="T5" fmla="*/ 58 h 59"/>
                  <a:gd name="T6" fmla="*/ 23 w 30"/>
                  <a:gd name="T7" fmla="*/ 57 h 59"/>
                  <a:gd name="T8" fmla="*/ 25 w 30"/>
                  <a:gd name="T9" fmla="*/ 55 h 59"/>
                  <a:gd name="T10" fmla="*/ 27 w 30"/>
                  <a:gd name="T11" fmla="*/ 53 h 59"/>
                  <a:gd name="T12" fmla="*/ 28 w 30"/>
                  <a:gd name="T13" fmla="*/ 51 h 59"/>
                  <a:gd name="T14" fmla="*/ 30 w 30"/>
                  <a:gd name="T15" fmla="*/ 48 h 59"/>
                  <a:gd name="T16" fmla="*/ 30 w 30"/>
                  <a:gd name="T17" fmla="*/ 44 h 59"/>
                  <a:gd name="T18" fmla="*/ 30 w 30"/>
                  <a:gd name="T19" fmla="*/ 14 h 59"/>
                  <a:gd name="T20" fmla="*/ 30 w 30"/>
                  <a:gd name="T21" fmla="*/ 11 h 59"/>
                  <a:gd name="T22" fmla="*/ 28 w 30"/>
                  <a:gd name="T23" fmla="*/ 9 h 59"/>
                  <a:gd name="T24" fmla="*/ 27 w 30"/>
                  <a:gd name="T25" fmla="*/ 6 h 59"/>
                  <a:gd name="T26" fmla="*/ 25 w 30"/>
                  <a:gd name="T27" fmla="*/ 4 h 59"/>
                  <a:gd name="T28" fmla="*/ 23 w 30"/>
                  <a:gd name="T29" fmla="*/ 2 h 59"/>
                  <a:gd name="T30" fmla="*/ 21 w 30"/>
                  <a:gd name="T31" fmla="*/ 1 h 59"/>
                  <a:gd name="T32" fmla="*/ 18 w 30"/>
                  <a:gd name="T33" fmla="*/ 0 h 59"/>
                  <a:gd name="T34" fmla="*/ 15 w 30"/>
                  <a:gd name="T35" fmla="*/ 0 h 59"/>
                  <a:gd name="T36" fmla="*/ 11 w 30"/>
                  <a:gd name="T37" fmla="*/ 0 h 59"/>
                  <a:gd name="T38" fmla="*/ 9 w 30"/>
                  <a:gd name="T39" fmla="*/ 1 h 59"/>
                  <a:gd name="T40" fmla="*/ 6 w 30"/>
                  <a:gd name="T41" fmla="*/ 2 h 59"/>
                  <a:gd name="T42" fmla="*/ 4 w 30"/>
                  <a:gd name="T43" fmla="*/ 4 h 59"/>
                  <a:gd name="T44" fmla="*/ 3 w 30"/>
                  <a:gd name="T45" fmla="*/ 6 h 59"/>
                  <a:gd name="T46" fmla="*/ 1 w 30"/>
                  <a:gd name="T47" fmla="*/ 9 h 59"/>
                  <a:gd name="T48" fmla="*/ 0 w 30"/>
                  <a:gd name="T49" fmla="*/ 11 h 59"/>
                  <a:gd name="T50" fmla="*/ 0 w 30"/>
                  <a:gd name="T51" fmla="*/ 14 h 59"/>
                  <a:gd name="T52" fmla="*/ 0 w 30"/>
                  <a:gd name="T53" fmla="*/ 44 h 59"/>
                  <a:gd name="T54" fmla="*/ 0 w 30"/>
                  <a:gd name="T55" fmla="*/ 48 h 59"/>
                  <a:gd name="T56" fmla="*/ 1 w 30"/>
                  <a:gd name="T57" fmla="*/ 51 h 59"/>
                  <a:gd name="T58" fmla="*/ 3 w 30"/>
                  <a:gd name="T59" fmla="*/ 53 h 59"/>
                  <a:gd name="T60" fmla="*/ 4 w 30"/>
                  <a:gd name="T61" fmla="*/ 55 h 59"/>
                  <a:gd name="T62" fmla="*/ 6 w 30"/>
                  <a:gd name="T63" fmla="*/ 57 h 59"/>
                  <a:gd name="T64" fmla="*/ 9 w 30"/>
                  <a:gd name="T65" fmla="*/ 58 h 59"/>
                  <a:gd name="T66" fmla="*/ 11 w 30"/>
                  <a:gd name="T67" fmla="*/ 59 h 59"/>
                  <a:gd name="T68" fmla="*/ 15 w 30"/>
                  <a:gd name="T69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59">
                    <a:moveTo>
                      <a:pt x="15" y="59"/>
                    </a:moveTo>
                    <a:lnTo>
                      <a:pt x="18" y="59"/>
                    </a:lnTo>
                    <a:lnTo>
                      <a:pt x="21" y="58"/>
                    </a:lnTo>
                    <a:lnTo>
                      <a:pt x="23" y="57"/>
                    </a:lnTo>
                    <a:lnTo>
                      <a:pt x="25" y="55"/>
                    </a:lnTo>
                    <a:lnTo>
                      <a:pt x="27" y="53"/>
                    </a:lnTo>
                    <a:lnTo>
                      <a:pt x="28" y="51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14"/>
                    </a:lnTo>
                    <a:lnTo>
                      <a:pt x="30" y="11"/>
                    </a:lnTo>
                    <a:lnTo>
                      <a:pt x="28" y="9"/>
                    </a:lnTo>
                    <a:lnTo>
                      <a:pt x="27" y="6"/>
                    </a:lnTo>
                    <a:lnTo>
                      <a:pt x="25" y="4"/>
                    </a:lnTo>
                    <a:lnTo>
                      <a:pt x="23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44"/>
                    </a:lnTo>
                    <a:lnTo>
                      <a:pt x="0" y="48"/>
                    </a:lnTo>
                    <a:lnTo>
                      <a:pt x="1" y="51"/>
                    </a:lnTo>
                    <a:lnTo>
                      <a:pt x="3" y="53"/>
                    </a:lnTo>
                    <a:lnTo>
                      <a:pt x="4" y="55"/>
                    </a:lnTo>
                    <a:lnTo>
                      <a:pt x="6" y="57"/>
                    </a:lnTo>
                    <a:lnTo>
                      <a:pt x="9" y="58"/>
                    </a:lnTo>
                    <a:lnTo>
                      <a:pt x="11" y="59"/>
                    </a:lnTo>
                    <a:lnTo>
                      <a:pt x="15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7" name="Freeform 64">
                <a:extLst>
                  <a:ext uri="{FF2B5EF4-FFF2-40B4-BE49-F238E27FC236}">
                    <a16:creationId xmlns:a16="http://schemas.microsoft.com/office/drawing/2014/main" id="{29E49F21-0536-47A2-83FD-6A50478130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5513" y="788988"/>
                <a:ext cx="17463" cy="19050"/>
              </a:xfrm>
              <a:custGeom>
                <a:avLst/>
                <a:gdLst>
                  <a:gd name="T0" fmla="*/ 44 w 59"/>
                  <a:gd name="T1" fmla="*/ 60 h 60"/>
                  <a:gd name="T2" fmla="*/ 47 w 59"/>
                  <a:gd name="T3" fmla="*/ 59 h 60"/>
                  <a:gd name="T4" fmla="*/ 50 w 59"/>
                  <a:gd name="T5" fmla="*/ 59 h 60"/>
                  <a:gd name="T6" fmla="*/ 52 w 59"/>
                  <a:gd name="T7" fmla="*/ 57 h 60"/>
                  <a:gd name="T8" fmla="*/ 54 w 59"/>
                  <a:gd name="T9" fmla="*/ 56 h 60"/>
                  <a:gd name="T10" fmla="*/ 57 w 59"/>
                  <a:gd name="T11" fmla="*/ 54 h 60"/>
                  <a:gd name="T12" fmla="*/ 58 w 59"/>
                  <a:gd name="T13" fmla="*/ 52 h 60"/>
                  <a:gd name="T14" fmla="*/ 59 w 59"/>
                  <a:gd name="T15" fmla="*/ 49 h 60"/>
                  <a:gd name="T16" fmla="*/ 59 w 59"/>
                  <a:gd name="T17" fmla="*/ 45 h 60"/>
                  <a:gd name="T18" fmla="*/ 59 w 59"/>
                  <a:gd name="T19" fmla="*/ 43 h 60"/>
                  <a:gd name="T20" fmla="*/ 58 w 59"/>
                  <a:gd name="T21" fmla="*/ 40 h 60"/>
                  <a:gd name="T22" fmla="*/ 57 w 59"/>
                  <a:gd name="T23" fmla="*/ 37 h 60"/>
                  <a:gd name="T24" fmla="*/ 54 w 59"/>
                  <a:gd name="T25" fmla="*/ 35 h 60"/>
                  <a:gd name="T26" fmla="*/ 24 w 59"/>
                  <a:gd name="T27" fmla="*/ 5 h 60"/>
                  <a:gd name="T28" fmla="*/ 22 w 59"/>
                  <a:gd name="T29" fmla="*/ 3 h 60"/>
                  <a:gd name="T30" fmla="*/ 20 w 59"/>
                  <a:gd name="T31" fmla="*/ 2 h 60"/>
                  <a:gd name="T32" fmla="*/ 17 w 59"/>
                  <a:gd name="T33" fmla="*/ 0 h 60"/>
                  <a:gd name="T34" fmla="*/ 15 w 59"/>
                  <a:gd name="T35" fmla="*/ 0 h 60"/>
                  <a:gd name="T36" fmla="*/ 12 w 59"/>
                  <a:gd name="T37" fmla="*/ 0 h 60"/>
                  <a:gd name="T38" fmla="*/ 8 w 59"/>
                  <a:gd name="T39" fmla="*/ 2 h 60"/>
                  <a:gd name="T40" fmla="*/ 6 w 59"/>
                  <a:gd name="T41" fmla="*/ 3 h 60"/>
                  <a:gd name="T42" fmla="*/ 4 w 59"/>
                  <a:gd name="T43" fmla="*/ 5 h 60"/>
                  <a:gd name="T44" fmla="*/ 2 w 59"/>
                  <a:gd name="T45" fmla="*/ 7 h 60"/>
                  <a:gd name="T46" fmla="*/ 1 w 59"/>
                  <a:gd name="T47" fmla="*/ 10 h 60"/>
                  <a:gd name="T48" fmla="*/ 0 w 59"/>
                  <a:gd name="T49" fmla="*/ 13 h 60"/>
                  <a:gd name="T50" fmla="*/ 0 w 59"/>
                  <a:gd name="T51" fmla="*/ 15 h 60"/>
                  <a:gd name="T52" fmla="*/ 0 w 59"/>
                  <a:gd name="T53" fmla="*/ 19 h 60"/>
                  <a:gd name="T54" fmla="*/ 1 w 59"/>
                  <a:gd name="T55" fmla="*/ 22 h 60"/>
                  <a:gd name="T56" fmla="*/ 2 w 59"/>
                  <a:gd name="T57" fmla="*/ 24 h 60"/>
                  <a:gd name="T58" fmla="*/ 4 w 59"/>
                  <a:gd name="T59" fmla="*/ 26 h 60"/>
                  <a:gd name="T60" fmla="*/ 34 w 59"/>
                  <a:gd name="T61" fmla="*/ 56 h 60"/>
                  <a:gd name="T62" fmla="*/ 36 w 59"/>
                  <a:gd name="T63" fmla="*/ 57 h 60"/>
                  <a:gd name="T64" fmla="*/ 38 w 59"/>
                  <a:gd name="T65" fmla="*/ 59 h 60"/>
                  <a:gd name="T66" fmla="*/ 42 w 59"/>
                  <a:gd name="T67" fmla="*/ 59 h 60"/>
                  <a:gd name="T68" fmla="*/ 44 w 59"/>
                  <a:gd name="T6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9" h="60">
                    <a:moveTo>
                      <a:pt x="44" y="60"/>
                    </a:moveTo>
                    <a:lnTo>
                      <a:pt x="47" y="59"/>
                    </a:lnTo>
                    <a:lnTo>
                      <a:pt x="50" y="59"/>
                    </a:lnTo>
                    <a:lnTo>
                      <a:pt x="52" y="57"/>
                    </a:lnTo>
                    <a:lnTo>
                      <a:pt x="54" y="56"/>
                    </a:lnTo>
                    <a:lnTo>
                      <a:pt x="57" y="54"/>
                    </a:lnTo>
                    <a:lnTo>
                      <a:pt x="58" y="52"/>
                    </a:lnTo>
                    <a:lnTo>
                      <a:pt x="59" y="49"/>
                    </a:lnTo>
                    <a:lnTo>
                      <a:pt x="59" y="45"/>
                    </a:lnTo>
                    <a:lnTo>
                      <a:pt x="59" y="43"/>
                    </a:lnTo>
                    <a:lnTo>
                      <a:pt x="58" y="40"/>
                    </a:lnTo>
                    <a:lnTo>
                      <a:pt x="57" y="37"/>
                    </a:lnTo>
                    <a:lnTo>
                      <a:pt x="54" y="35"/>
                    </a:lnTo>
                    <a:lnTo>
                      <a:pt x="24" y="5"/>
                    </a:lnTo>
                    <a:lnTo>
                      <a:pt x="22" y="3"/>
                    </a:lnTo>
                    <a:lnTo>
                      <a:pt x="20" y="2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1" y="22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34" y="56"/>
                    </a:lnTo>
                    <a:lnTo>
                      <a:pt x="36" y="57"/>
                    </a:lnTo>
                    <a:lnTo>
                      <a:pt x="38" y="59"/>
                    </a:lnTo>
                    <a:lnTo>
                      <a:pt x="42" y="59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8" name="Freeform 65">
                <a:extLst>
                  <a:ext uri="{FF2B5EF4-FFF2-40B4-BE49-F238E27FC236}">
                    <a16:creationId xmlns:a16="http://schemas.microsoft.com/office/drawing/2014/main" id="{75C1859F-3FD1-43DB-BAE9-45EFE42B7A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5850" y="793750"/>
                <a:ext cx="19050" cy="19050"/>
              </a:xfrm>
              <a:custGeom>
                <a:avLst/>
                <a:gdLst>
                  <a:gd name="T0" fmla="*/ 15 w 60"/>
                  <a:gd name="T1" fmla="*/ 60 h 60"/>
                  <a:gd name="T2" fmla="*/ 19 w 60"/>
                  <a:gd name="T3" fmla="*/ 59 h 60"/>
                  <a:gd name="T4" fmla="*/ 21 w 60"/>
                  <a:gd name="T5" fmla="*/ 59 h 60"/>
                  <a:gd name="T6" fmla="*/ 24 w 60"/>
                  <a:gd name="T7" fmla="*/ 57 h 60"/>
                  <a:gd name="T8" fmla="*/ 26 w 60"/>
                  <a:gd name="T9" fmla="*/ 56 h 60"/>
                  <a:gd name="T10" fmla="*/ 56 w 60"/>
                  <a:gd name="T11" fmla="*/ 26 h 60"/>
                  <a:gd name="T12" fmla="*/ 58 w 60"/>
                  <a:gd name="T13" fmla="*/ 24 h 60"/>
                  <a:gd name="T14" fmla="*/ 59 w 60"/>
                  <a:gd name="T15" fmla="*/ 22 h 60"/>
                  <a:gd name="T16" fmla="*/ 60 w 60"/>
                  <a:gd name="T17" fmla="*/ 19 h 60"/>
                  <a:gd name="T18" fmla="*/ 60 w 60"/>
                  <a:gd name="T19" fmla="*/ 15 h 60"/>
                  <a:gd name="T20" fmla="*/ 60 w 60"/>
                  <a:gd name="T21" fmla="*/ 13 h 60"/>
                  <a:gd name="T22" fmla="*/ 59 w 60"/>
                  <a:gd name="T23" fmla="*/ 10 h 60"/>
                  <a:gd name="T24" fmla="*/ 58 w 60"/>
                  <a:gd name="T25" fmla="*/ 7 h 60"/>
                  <a:gd name="T26" fmla="*/ 56 w 60"/>
                  <a:gd name="T27" fmla="*/ 5 h 60"/>
                  <a:gd name="T28" fmla="*/ 54 w 60"/>
                  <a:gd name="T29" fmla="*/ 3 h 60"/>
                  <a:gd name="T30" fmla="*/ 51 w 60"/>
                  <a:gd name="T31" fmla="*/ 2 h 60"/>
                  <a:gd name="T32" fmla="*/ 49 w 60"/>
                  <a:gd name="T33" fmla="*/ 0 h 60"/>
                  <a:gd name="T34" fmla="*/ 45 w 60"/>
                  <a:gd name="T35" fmla="*/ 0 h 60"/>
                  <a:gd name="T36" fmla="*/ 42 w 60"/>
                  <a:gd name="T37" fmla="*/ 0 h 60"/>
                  <a:gd name="T38" fmla="*/ 40 w 60"/>
                  <a:gd name="T39" fmla="*/ 2 h 60"/>
                  <a:gd name="T40" fmla="*/ 37 w 60"/>
                  <a:gd name="T41" fmla="*/ 3 h 60"/>
                  <a:gd name="T42" fmla="*/ 35 w 60"/>
                  <a:gd name="T43" fmla="*/ 5 h 60"/>
                  <a:gd name="T44" fmla="*/ 5 w 60"/>
                  <a:gd name="T45" fmla="*/ 35 h 60"/>
                  <a:gd name="T46" fmla="*/ 3 w 60"/>
                  <a:gd name="T47" fmla="*/ 37 h 60"/>
                  <a:gd name="T48" fmla="*/ 1 w 60"/>
                  <a:gd name="T49" fmla="*/ 40 h 60"/>
                  <a:gd name="T50" fmla="*/ 0 w 60"/>
                  <a:gd name="T51" fmla="*/ 43 h 60"/>
                  <a:gd name="T52" fmla="*/ 0 w 60"/>
                  <a:gd name="T53" fmla="*/ 45 h 60"/>
                  <a:gd name="T54" fmla="*/ 0 w 60"/>
                  <a:gd name="T55" fmla="*/ 49 h 60"/>
                  <a:gd name="T56" fmla="*/ 1 w 60"/>
                  <a:gd name="T57" fmla="*/ 52 h 60"/>
                  <a:gd name="T58" fmla="*/ 3 w 60"/>
                  <a:gd name="T59" fmla="*/ 54 h 60"/>
                  <a:gd name="T60" fmla="*/ 5 w 60"/>
                  <a:gd name="T61" fmla="*/ 56 h 60"/>
                  <a:gd name="T62" fmla="*/ 7 w 60"/>
                  <a:gd name="T63" fmla="*/ 57 h 60"/>
                  <a:gd name="T64" fmla="*/ 10 w 60"/>
                  <a:gd name="T65" fmla="*/ 59 h 60"/>
                  <a:gd name="T66" fmla="*/ 12 w 60"/>
                  <a:gd name="T67" fmla="*/ 59 h 60"/>
                  <a:gd name="T68" fmla="*/ 15 w 60"/>
                  <a:gd name="T6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60">
                    <a:moveTo>
                      <a:pt x="15" y="60"/>
                    </a:moveTo>
                    <a:lnTo>
                      <a:pt x="19" y="59"/>
                    </a:lnTo>
                    <a:lnTo>
                      <a:pt x="21" y="59"/>
                    </a:lnTo>
                    <a:lnTo>
                      <a:pt x="24" y="57"/>
                    </a:lnTo>
                    <a:lnTo>
                      <a:pt x="26" y="56"/>
                    </a:lnTo>
                    <a:lnTo>
                      <a:pt x="56" y="26"/>
                    </a:lnTo>
                    <a:lnTo>
                      <a:pt x="58" y="24"/>
                    </a:lnTo>
                    <a:lnTo>
                      <a:pt x="59" y="22"/>
                    </a:lnTo>
                    <a:lnTo>
                      <a:pt x="60" y="19"/>
                    </a:lnTo>
                    <a:lnTo>
                      <a:pt x="60" y="15"/>
                    </a:lnTo>
                    <a:lnTo>
                      <a:pt x="60" y="13"/>
                    </a:lnTo>
                    <a:lnTo>
                      <a:pt x="59" y="10"/>
                    </a:lnTo>
                    <a:lnTo>
                      <a:pt x="58" y="7"/>
                    </a:lnTo>
                    <a:lnTo>
                      <a:pt x="56" y="5"/>
                    </a:lnTo>
                    <a:lnTo>
                      <a:pt x="54" y="3"/>
                    </a:lnTo>
                    <a:lnTo>
                      <a:pt x="51" y="2"/>
                    </a:lnTo>
                    <a:lnTo>
                      <a:pt x="49" y="0"/>
                    </a:lnTo>
                    <a:lnTo>
                      <a:pt x="45" y="0"/>
                    </a:lnTo>
                    <a:lnTo>
                      <a:pt x="42" y="0"/>
                    </a:lnTo>
                    <a:lnTo>
                      <a:pt x="40" y="2"/>
                    </a:lnTo>
                    <a:lnTo>
                      <a:pt x="37" y="3"/>
                    </a:lnTo>
                    <a:lnTo>
                      <a:pt x="35" y="5"/>
                    </a:lnTo>
                    <a:lnTo>
                      <a:pt x="5" y="35"/>
                    </a:lnTo>
                    <a:lnTo>
                      <a:pt x="3" y="37"/>
                    </a:lnTo>
                    <a:lnTo>
                      <a:pt x="1" y="40"/>
                    </a:lnTo>
                    <a:lnTo>
                      <a:pt x="0" y="43"/>
                    </a:lnTo>
                    <a:lnTo>
                      <a:pt x="0" y="45"/>
                    </a:lnTo>
                    <a:lnTo>
                      <a:pt x="0" y="49"/>
                    </a:lnTo>
                    <a:lnTo>
                      <a:pt x="1" y="52"/>
                    </a:lnTo>
                    <a:lnTo>
                      <a:pt x="3" y="54"/>
                    </a:lnTo>
                    <a:lnTo>
                      <a:pt x="5" y="56"/>
                    </a:lnTo>
                    <a:lnTo>
                      <a:pt x="7" y="57"/>
                    </a:lnTo>
                    <a:lnTo>
                      <a:pt x="10" y="59"/>
                    </a:lnTo>
                    <a:lnTo>
                      <a:pt x="12" y="59"/>
                    </a:lnTo>
                    <a:lnTo>
                      <a:pt x="15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9" name="Freeform 66">
                <a:extLst>
                  <a:ext uri="{FF2B5EF4-FFF2-40B4-BE49-F238E27FC236}">
                    <a16:creationId xmlns:a16="http://schemas.microsoft.com/office/drawing/2014/main" id="{A21993FA-9EA9-43B9-928D-6350BFAD95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6463" y="874713"/>
                <a:ext cx="19050" cy="9525"/>
              </a:xfrm>
              <a:custGeom>
                <a:avLst/>
                <a:gdLst>
                  <a:gd name="T0" fmla="*/ 45 w 60"/>
                  <a:gd name="T1" fmla="*/ 0 h 30"/>
                  <a:gd name="T2" fmla="*/ 15 w 60"/>
                  <a:gd name="T3" fmla="*/ 0 h 30"/>
                  <a:gd name="T4" fmla="*/ 12 w 60"/>
                  <a:gd name="T5" fmla="*/ 1 h 30"/>
                  <a:gd name="T6" fmla="*/ 8 w 60"/>
                  <a:gd name="T7" fmla="*/ 2 h 30"/>
                  <a:gd name="T8" fmla="*/ 6 w 60"/>
                  <a:gd name="T9" fmla="*/ 3 h 30"/>
                  <a:gd name="T10" fmla="*/ 4 w 60"/>
                  <a:gd name="T11" fmla="*/ 5 h 30"/>
                  <a:gd name="T12" fmla="*/ 2 w 60"/>
                  <a:gd name="T13" fmla="*/ 8 h 30"/>
                  <a:gd name="T14" fmla="*/ 1 w 60"/>
                  <a:gd name="T15" fmla="*/ 10 h 30"/>
                  <a:gd name="T16" fmla="*/ 0 w 60"/>
                  <a:gd name="T17" fmla="*/ 13 h 30"/>
                  <a:gd name="T18" fmla="*/ 0 w 60"/>
                  <a:gd name="T19" fmla="*/ 15 h 30"/>
                  <a:gd name="T20" fmla="*/ 0 w 60"/>
                  <a:gd name="T21" fmla="*/ 18 h 30"/>
                  <a:gd name="T22" fmla="*/ 1 w 60"/>
                  <a:gd name="T23" fmla="*/ 22 h 30"/>
                  <a:gd name="T24" fmla="*/ 2 w 60"/>
                  <a:gd name="T25" fmla="*/ 25 h 30"/>
                  <a:gd name="T26" fmla="*/ 4 w 60"/>
                  <a:gd name="T27" fmla="*/ 27 h 30"/>
                  <a:gd name="T28" fmla="*/ 6 w 60"/>
                  <a:gd name="T29" fmla="*/ 28 h 30"/>
                  <a:gd name="T30" fmla="*/ 8 w 60"/>
                  <a:gd name="T31" fmla="*/ 29 h 30"/>
                  <a:gd name="T32" fmla="*/ 12 w 60"/>
                  <a:gd name="T33" fmla="*/ 30 h 30"/>
                  <a:gd name="T34" fmla="*/ 15 w 60"/>
                  <a:gd name="T35" fmla="*/ 30 h 30"/>
                  <a:gd name="T36" fmla="*/ 45 w 60"/>
                  <a:gd name="T37" fmla="*/ 30 h 30"/>
                  <a:gd name="T38" fmla="*/ 47 w 60"/>
                  <a:gd name="T39" fmla="*/ 30 h 30"/>
                  <a:gd name="T40" fmla="*/ 50 w 60"/>
                  <a:gd name="T41" fmla="*/ 29 h 30"/>
                  <a:gd name="T42" fmla="*/ 52 w 60"/>
                  <a:gd name="T43" fmla="*/ 28 h 30"/>
                  <a:gd name="T44" fmla="*/ 54 w 60"/>
                  <a:gd name="T45" fmla="*/ 27 h 30"/>
                  <a:gd name="T46" fmla="*/ 57 w 60"/>
                  <a:gd name="T47" fmla="*/ 25 h 30"/>
                  <a:gd name="T48" fmla="*/ 58 w 60"/>
                  <a:gd name="T49" fmla="*/ 22 h 30"/>
                  <a:gd name="T50" fmla="*/ 59 w 60"/>
                  <a:gd name="T51" fmla="*/ 18 h 30"/>
                  <a:gd name="T52" fmla="*/ 60 w 60"/>
                  <a:gd name="T53" fmla="*/ 15 h 30"/>
                  <a:gd name="T54" fmla="*/ 59 w 60"/>
                  <a:gd name="T55" fmla="*/ 13 h 30"/>
                  <a:gd name="T56" fmla="*/ 58 w 60"/>
                  <a:gd name="T57" fmla="*/ 10 h 30"/>
                  <a:gd name="T58" fmla="*/ 57 w 60"/>
                  <a:gd name="T59" fmla="*/ 8 h 30"/>
                  <a:gd name="T60" fmla="*/ 54 w 60"/>
                  <a:gd name="T61" fmla="*/ 5 h 30"/>
                  <a:gd name="T62" fmla="*/ 52 w 60"/>
                  <a:gd name="T63" fmla="*/ 3 h 30"/>
                  <a:gd name="T64" fmla="*/ 50 w 60"/>
                  <a:gd name="T65" fmla="*/ 2 h 30"/>
                  <a:gd name="T66" fmla="*/ 47 w 60"/>
                  <a:gd name="T67" fmla="*/ 1 h 30"/>
                  <a:gd name="T68" fmla="*/ 45 w 60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30">
                    <a:moveTo>
                      <a:pt x="4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2"/>
                    </a:lnTo>
                    <a:lnTo>
                      <a:pt x="2" y="25"/>
                    </a:lnTo>
                    <a:lnTo>
                      <a:pt x="4" y="27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45" y="30"/>
                    </a:lnTo>
                    <a:lnTo>
                      <a:pt x="47" y="30"/>
                    </a:lnTo>
                    <a:lnTo>
                      <a:pt x="50" y="29"/>
                    </a:lnTo>
                    <a:lnTo>
                      <a:pt x="52" y="28"/>
                    </a:lnTo>
                    <a:lnTo>
                      <a:pt x="54" y="27"/>
                    </a:lnTo>
                    <a:lnTo>
                      <a:pt x="57" y="25"/>
                    </a:lnTo>
                    <a:lnTo>
                      <a:pt x="58" y="22"/>
                    </a:lnTo>
                    <a:lnTo>
                      <a:pt x="59" y="18"/>
                    </a:lnTo>
                    <a:lnTo>
                      <a:pt x="60" y="15"/>
                    </a:lnTo>
                    <a:lnTo>
                      <a:pt x="59" y="13"/>
                    </a:lnTo>
                    <a:lnTo>
                      <a:pt x="58" y="10"/>
                    </a:lnTo>
                    <a:lnTo>
                      <a:pt x="57" y="8"/>
                    </a:lnTo>
                    <a:lnTo>
                      <a:pt x="54" y="5"/>
                    </a:lnTo>
                    <a:lnTo>
                      <a:pt x="52" y="3"/>
                    </a:lnTo>
                    <a:lnTo>
                      <a:pt x="50" y="2"/>
                    </a:lnTo>
                    <a:lnTo>
                      <a:pt x="47" y="1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0" name="Freeform 67">
                <a:extLst>
                  <a:ext uri="{FF2B5EF4-FFF2-40B4-BE49-F238E27FC236}">
                    <a16:creationId xmlns:a16="http://schemas.microsoft.com/office/drawing/2014/main" id="{20BE5B34-A5FD-4A9D-99EC-0682E48B62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3450" y="865188"/>
                <a:ext cx="257175" cy="190500"/>
              </a:xfrm>
              <a:custGeom>
                <a:avLst/>
                <a:gdLst>
                  <a:gd name="T0" fmla="*/ 174 w 808"/>
                  <a:gd name="T1" fmla="*/ 564 h 599"/>
                  <a:gd name="T2" fmla="*/ 111 w 808"/>
                  <a:gd name="T3" fmla="*/ 536 h 599"/>
                  <a:gd name="T4" fmla="*/ 62 w 808"/>
                  <a:gd name="T5" fmla="*/ 487 h 599"/>
                  <a:gd name="T6" fmla="*/ 34 w 808"/>
                  <a:gd name="T7" fmla="*/ 424 h 599"/>
                  <a:gd name="T8" fmla="*/ 34 w 808"/>
                  <a:gd name="T9" fmla="*/ 356 h 599"/>
                  <a:gd name="T10" fmla="*/ 59 w 808"/>
                  <a:gd name="T11" fmla="*/ 296 h 599"/>
                  <a:gd name="T12" fmla="*/ 105 w 808"/>
                  <a:gd name="T13" fmla="*/ 246 h 599"/>
                  <a:gd name="T14" fmla="*/ 164 w 808"/>
                  <a:gd name="T15" fmla="*/ 215 h 599"/>
                  <a:gd name="T16" fmla="*/ 205 w 808"/>
                  <a:gd name="T17" fmla="*/ 206 h 599"/>
                  <a:gd name="T18" fmla="*/ 213 w 808"/>
                  <a:gd name="T19" fmla="*/ 177 h 599"/>
                  <a:gd name="T20" fmla="*/ 233 w 808"/>
                  <a:gd name="T21" fmla="*/ 127 h 599"/>
                  <a:gd name="T22" fmla="*/ 282 w 808"/>
                  <a:gd name="T23" fmla="*/ 74 h 599"/>
                  <a:gd name="T24" fmla="*/ 348 w 808"/>
                  <a:gd name="T25" fmla="*/ 41 h 599"/>
                  <a:gd name="T26" fmla="*/ 419 w 808"/>
                  <a:gd name="T27" fmla="*/ 29 h 599"/>
                  <a:gd name="T28" fmla="*/ 479 w 808"/>
                  <a:gd name="T29" fmla="*/ 42 h 599"/>
                  <a:gd name="T30" fmla="*/ 531 w 808"/>
                  <a:gd name="T31" fmla="*/ 74 h 599"/>
                  <a:gd name="T32" fmla="*/ 573 w 808"/>
                  <a:gd name="T33" fmla="*/ 119 h 599"/>
                  <a:gd name="T34" fmla="*/ 600 w 808"/>
                  <a:gd name="T35" fmla="*/ 170 h 599"/>
                  <a:gd name="T36" fmla="*/ 615 w 808"/>
                  <a:gd name="T37" fmla="*/ 179 h 599"/>
                  <a:gd name="T38" fmla="*/ 675 w 808"/>
                  <a:gd name="T39" fmla="*/ 186 h 599"/>
                  <a:gd name="T40" fmla="*/ 709 w 808"/>
                  <a:gd name="T41" fmla="*/ 208 h 599"/>
                  <a:gd name="T42" fmla="*/ 725 w 808"/>
                  <a:gd name="T43" fmla="*/ 235 h 599"/>
                  <a:gd name="T44" fmla="*/ 727 w 808"/>
                  <a:gd name="T45" fmla="*/ 273 h 599"/>
                  <a:gd name="T46" fmla="*/ 719 w 808"/>
                  <a:gd name="T47" fmla="*/ 304 h 599"/>
                  <a:gd name="T48" fmla="*/ 737 w 808"/>
                  <a:gd name="T49" fmla="*/ 321 h 599"/>
                  <a:gd name="T50" fmla="*/ 764 w 808"/>
                  <a:gd name="T51" fmla="*/ 361 h 599"/>
                  <a:gd name="T52" fmla="*/ 778 w 808"/>
                  <a:gd name="T53" fmla="*/ 434 h 599"/>
                  <a:gd name="T54" fmla="*/ 767 w 808"/>
                  <a:gd name="T55" fmla="*/ 486 h 599"/>
                  <a:gd name="T56" fmla="*/ 738 w 808"/>
                  <a:gd name="T57" fmla="*/ 529 h 599"/>
                  <a:gd name="T58" fmla="*/ 696 w 808"/>
                  <a:gd name="T59" fmla="*/ 558 h 599"/>
                  <a:gd name="T60" fmla="*/ 642 w 808"/>
                  <a:gd name="T61" fmla="*/ 569 h 599"/>
                  <a:gd name="T62" fmla="*/ 758 w 808"/>
                  <a:gd name="T63" fmla="*/ 258 h 599"/>
                  <a:gd name="T64" fmla="*/ 747 w 808"/>
                  <a:gd name="T65" fmla="*/ 212 h 599"/>
                  <a:gd name="T66" fmla="*/ 727 w 808"/>
                  <a:gd name="T67" fmla="*/ 183 h 599"/>
                  <a:gd name="T68" fmla="*/ 700 w 808"/>
                  <a:gd name="T69" fmla="*/ 165 h 599"/>
                  <a:gd name="T70" fmla="*/ 642 w 808"/>
                  <a:gd name="T71" fmla="*/ 149 h 599"/>
                  <a:gd name="T72" fmla="*/ 601 w 808"/>
                  <a:gd name="T73" fmla="*/ 108 h 599"/>
                  <a:gd name="T74" fmla="*/ 559 w 808"/>
                  <a:gd name="T75" fmla="*/ 58 h 599"/>
                  <a:gd name="T76" fmla="*/ 503 w 808"/>
                  <a:gd name="T77" fmla="*/ 19 h 599"/>
                  <a:gd name="T78" fmla="*/ 438 w 808"/>
                  <a:gd name="T79" fmla="*/ 0 h 599"/>
                  <a:gd name="T80" fmla="*/ 349 w 808"/>
                  <a:gd name="T81" fmla="*/ 9 h 599"/>
                  <a:gd name="T82" fmla="*/ 272 w 808"/>
                  <a:gd name="T83" fmla="*/ 44 h 599"/>
                  <a:gd name="T84" fmla="*/ 216 w 808"/>
                  <a:gd name="T85" fmla="*/ 99 h 599"/>
                  <a:gd name="T86" fmla="*/ 185 w 808"/>
                  <a:gd name="T87" fmla="*/ 164 h 599"/>
                  <a:gd name="T88" fmla="*/ 128 w 808"/>
                  <a:gd name="T89" fmla="*/ 197 h 599"/>
                  <a:gd name="T90" fmla="*/ 66 w 808"/>
                  <a:gd name="T91" fmla="*/ 240 h 599"/>
                  <a:gd name="T92" fmla="*/ 22 w 808"/>
                  <a:gd name="T93" fmla="*/ 300 h 599"/>
                  <a:gd name="T94" fmla="*/ 1 w 808"/>
                  <a:gd name="T95" fmla="*/ 371 h 599"/>
                  <a:gd name="T96" fmla="*/ 3 w 808"/>
                  <a:gd name="T97" fmla="*/ 420 h 599"/>
                  <a:gd name="T98" fmla="*/ 27 w 808"/>
                  <a:gd name="T99" fmla="*/ 487 h 599"/>
                  <a:gd name="T100" fmla="*/ 78 w 808"/>
                  <a:gd name="T101" fmla="*/ 549 h 599"/>
                  <a:gd name="T102" fmla="*/ 149 w 808"/>
                  <a:gd name="T103" fmla="*/ 589 h 599"/>
                  <a:gd name="T104" fmla="*/ 199 w 808"/>
                  <a:gd name="T105" fmla="*/ 597 h 599"/>
                  <a:gd name="T106" fmla="*/ 676 w 808"/>
                  <a:gd name="T107" fmla="*/ 595 h 599"/>
                  <a:gd name="T108" fmla="*/ 735 w 808"/>
                  <a:gd name="T109" fmla="*/ 571 h 599"/>
                  <a:gd name="T110" fmla="*/ 780 w 808"/>
                  <a:gd name="T111" fmla="*/ 526 h 599"/>
                  <a:gd name="T112" fmla="*/ 805 w 808"/>
                  <a:gd name="T113" fmla="*/ 467 h 599"/>
                  <a:gd name="T114" fmla="*/ 806 w 808"/>
                  <a:gd name="T115" fmla="*/ 397 h 599"/>
                  <a:gd name="T116" fmla="*/ 788 w 808"/>
                  <a:gd name="T117" fmla="*/ 342 h 599"/>
                  <a:gd name="T118" fmla="*/ 766 w 808"/>
                  <a:gd name="T119" fmla="*/ 308 h 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8" h="599">
                    <a:moveTo>
                      <a:pt x="642" y="569"/>
                    </a:moveTo>
                    <a:lnTo>
                      <a:pt x="210" y="569"/>
                    </a:lnTo>
                    <a:lnTo>
                      <a:pt x="192" y="568"/>
                    </a:lnTo>
                    <a:lnTo>
                      <a:pt x="174" y="564"/>
                    </a:lnTo>
                    <a:lnTo>
                      <a:pt x="158" y="560"/>
                    </a:lnTo>
                    <a:lnTo>
                      <a:pt x="141" y="554"/>
                    </a:lnTo>
                    <a:lnTo>
                      <a:pt x="126" y="546"/>
                    </a:lnTo>
                    <a:lnTo>
                      <a:pt x="111" y="536"/>
                    </a:lnTo>
                    <a:lnTo>
                      <a:pt x="97" y="526"/>
                    </a:lnTo>
                    <a:lnTo>
                      <a:pt x="84" y="514"/>
                    </a:lnTo>
                    <a:lnTo>
                      <a:pt x="73" y="501"/>
                    </a:lnTo>
                    <a:lnTo>
                      <a:pt x="62" y="487"/>
                    </a:lnTo>
                    <a:lnTo>
                      <a:pt x="52" y="473"/>
                    </a:lnTo>
                    <a:lnTo>
                      <a:pt x="45" y="457"/>
                    </a:lnTo>
                    <a:lnTo>
                      <a:pt x="38" y="441"/>
                    </a:lnTo>
                    <a:lnTo>
                      <a:pt x="34" y="424"/>
                    </a:lnTo>
                    <a:lnTo>
                      <a:pt x="31" y="407"/>
                    </a:lnTo>
                    <a:lnTo>
                      <a:pt x="30" y="389"/>
                    </a:lnTo>
                    <a:lnTo>
                      <a:pt x="31" y="373"/>
                    </a:lnTo>
                    <a:lnTo>
                      <a:pt x="34" y="356"/>
                    </a:lnTo>
                    <a:lnTo>
                      <a:pt x="38" y="341"/>
                    </a:lnTo>
                    <a:lnTo>
                      <a:pt x="44" y="325"/>
                    </a:lnTo>
                    <a:lnTo>
                      <a:pt x="50" y="310"/>
                    </a:lnTo>
                    <a:lnTo>
                      <a:pt x="59" y="296"/>
                    </a:lnTo>
                    <a:lnTo>
                      <a:pt x="68" y="282"/>
                    </a:lnTo>
                    <a:lnTo>
                      <a:pt x="79" y="269"/>
                    </a:lnTo>
                    <a:lnTo>
                      <a:pt x="92" y="257"/>
                    </a:lnTo>
                    <a:lnTo>
                      <a:pt x="105" y="246"/>
                    </a:lnTo>
                    <a:lnTo>
                      <a:pt x="118" y="237"/>
                    </a:lnTo>
                    <a:lnTo>
                      <a:pt x="133" y="228"/>
                    </a:lnTo>
                    <a:lnTo>
                      <a:pt x="147" y="222"/>
                    </a:lnTo>
                    <a:lnTo>
                      <a:pt x="164" y="215"/>
                    </a:lnTo>
                    <a:lnTo>
                      <a:pt x="180" y="212"/>
                    </a:lnTo>
                    <a:lnTo>
                      <a:pt x="197" y="209"/>
                    </a:lnTo>
                    <a:lnTo>
                      <a:pt x="201" y="208"/>
                    </a:lnTo>
                    <a:lnTo>
                      <a:pt x="205" y="206"/>
                    </a:lnTo>
                    <a:lnTo>
                      <a:pt x="209" y="201"/>
                    </a:lnTo>
                    <a:lnTo>
                      <a:pt x="210" y="196"/>
                    </a:lnTo>
                    <a:lnTo>
                      <a:pt x="211" y="186"/>
                    </a:lnTo>
                    <a:lnTo>
                      <a:pt x="213" y="177"/>
                    </a:lnTo>
                    <a:lnTo>
                      <a:pt x="215" y="168"/>
                    </a:lnTo>
                    <a:lnTo>
                      <a:pt x="217" y="160"/>
                    </a:lnTo>
                    <a:lnTo>
                      <a:pt x="225" y="143"/>
                    </a:lnTo>
                    <a:lnTo>
                      <a:pt x="233" y="127"/>
                    </a:lnTo>
                    <a:lnTo>
                      <a:pt x="244" y="113"/>
                    </a:lnTo>
                    <a:lnTo>
                      <a:pt x="256" y="99"/>
                    </a:lnTo>
                    <a:lnTo>
                      <a:pt x="268" y="86"/>
                    </a:lnTo>
                    <a:lnTo>
                      <a:pt x="282" y="74"/>
                    </a:lnTo>
                    <a:lnTo>
                      <a:pt x="298" y="64"/>
                    </a:lnTo>
                    <a:lnTo>
                      <a:pt x="315" y="56"/>
                    </a:lnTo>
                    <a:lnTo>
                      <a:pt x="331" y="47"/>
                    </a:lnTo>
                    <a:lnTo>
                      <a:pt x="348" y="41"/>
                    </a:lnTo>
                    <a:lnTo>
                      <a:pt x="366" y="37"/>
                    </a:lnTo>
                    <a:lnTo>
                      <a:pt x="384" y="32"/>
                    </a:lnTo>
                    <a:lnTo>
                      <a:pt x="401" y="30"/>
                    </a:lnTo>
                    <a:lnTo>
                      <a:pt x="419" y="29"/>
                    </a:lnTo>
                    <a:lnTo>
                      <a:pt x="434" y="30"/>
                    </a:lnTo>
                    <a:lnTo>
                      <a:pt x="449" y="32"/>
                    </a:lnTo>
                    <a:lnTo>
                      <a:pt x="464" y="37"/>
                    </a:lnTo>
                    <a:lnTo>
                      <a:pt x="479" y="42"/>
                    </a:lnTo>
                    <a:lnTo>
                      <a:pt x="492" y="48"/>
                    </a:lnTo>
                    <a:lnTo>
                      <a:pt x="506" y="56"/>
                    </a:lnTo>
                    <a:lnTo>
                      <a:pt x="519" y="64"/>
                    </a:lnTo>
                    <a:lnTo>
                      <a:pt x="531" y="74"/>
                    </a:lnTo>
                    <a:lnTo>
                      <a:pt x="543" y="84"/>
                    </a:lnTo>
                    <a:lnTo>
                      <a:pt x="553" y="94"/>
                    </a:lnTo>
                    <a:lnTo>
                      <a:pt x="563" y="106"/>
                    </a:lnTo>
                    <a:lnTo>
                      <a:pt x="573" y="119"/>
                    </a:lnTo>
                    <a:lnTo>
                      <a:pt x="580" y="131"/>
                    </a:lnTo>
                    <a:lnTo>
                      <a:pt x="588" y="144"/>
                    </a:lnTo>
                    <a:lnTo>
                      <a:pt x="595" y="158"/>
                    </a:lnTo>
                    <a:lnTo>
                      <a:pt x="600" y="170"/>
                    </a:lnTo>
                    <a:lnTo>
                      <a:pt x="603" y="175"/>
                    </a:lnTo>
                    <a:lnTo>
                      <a:pt x="607" y="178"/>
                    </a:lnTo>
                    <a:lnTo>
                      <a:pt x="611" y="179"/>
                    </a:lnTo>
                    <a:lnTo>
                      <a:pt x="615" y="179"/>
                    </a:lnTo>
                    <a:lnTo>
                      <a:pt x="631" y="179"/>
                    </a:lnTo>
                    <a:lnTo>
                      <a:pt x="646" y="179"/>
                    </a:lnTo>
                    <a:lnTo>
                      <a:pt x="661" y="182"/>
                    </a:lnTo>
                    <a:lnTo>
                      <a:pt x="675" y="186"/>
                    </a:lnTo>
                    <a:lnTo>
                      <a:pt x="687" y="192"/>
                    </a:lnTo>
                    <a:lnTo>
                      <a:pt x="699" y="199"/>
                    </a:lnTo>
                    <a:lnTo>
                      <a:pt x="704" y="204"/>
                    </a:lnTo>
                    <a:lnTo>
                      <a:pt x="709" y="208"/>
                    </a:lnTo>
                    <a:lnTo>
                      <a:pt x="713" y="213"/>
                    </a:lnTo>
                    <a:lnTo>
                      <a:pt x="716" y="219"/>
                    </a:lnTo>
                    <a:lnTo>
                      <a:pt x="721" y="226"/>
                    </a:lnTo>
                    <a:lnTo>
                      <a:pt x="725" y="235"/>
                    </a:lnTo>
                    <a:lnTo>
                      <a:pt x="727" y="244"/>
                    </a:lnTo>
                    <a:lnTo>
                      <a:pt x="728" y="253"/>
                    </a:lnTo>
                    <a:lnTo>
                      <a:pt x="728" y="264"/>
                    </a:lnTo>
                    <a:lnTo>
                      <a:pt x="727" y="273"/>
                    </a:lnTo>
                    <a:lnTo>
                      <a:pt x="723" y="283"/>
                    </a:lnTo>
                    <a:lnTo>
                      <a:pt x="720" y="293"/>
                    </a:lnTo>
                    <a:lnTo>
                      <a:pt x="719" y="299"/>
                    </a:lnTo>
                    <a:lnTo>
                      <a:pt x="719" y="304"/>
                    </a:lnTo>
                    <a:lnTo>
                      <a:pt x="721" y="308"/>
                    </a:lnTo>
                    <a:lnTo>
                      <a:pt x="726" y="313"/>
                    </a:lnTo>
                    <a:lnTo>
                      <a:pt x="731" y="317"/>
                    </a:lnTo>
                    <a:lnTo>
                      <a:pt x="737" y="321"/>
                    </a:lnTo>
                    <a:lnTo>
                      <a:pt x="743" y="327"/>
                    </a:lnTo>
                    <a:lnTo>
                      <a:pt x="747" y="333"/>
                    </a:lnTo>
                    <a:lnTo>
                      <a:pt x="757" y="346"/>
                    </a:lnTo>
                    <a:lnTo>
                      <a:pt x="764" y="361"/>
                    </a:lnTo>
                    <a:lnTo>
                      <a:pt x="771" y="378"/>
                    </a:lnTo>
                    <a:lnTo>
                      <a:pt x="775" y="395"/>
                    </a:lnTo>
                    <a:lnTo>
                      <a:pt x="778" y="414"/>
                    </a:lnTo>
                    <a:lnTo>
                      <a:pt x="778" y="434"/>
                    </a:lnTo>
                    <a:lnTo>
                      <a:pt x="778" y="448"/>
                    </a:lnTo>
                    <a:lnTo>
                      <a:pt x="776" y="460"/>
                    </a:lnTo>
                    <a:lnTo>
                      <a:pt x="773" y="474"/>
                    </a:lnTo>
                    <a:lnTo>
                      <a:pt x="767" y="486"/>
                    </a:lnTo>
                    <a:lnTo>
                      <a:pt x="762" y="498"/>
                    </a:lnTo>
                    <a:lnTo>
                      <a:pt x="756" y="509"/>
                    </a:lnTo>
                    <a:lnTo>
                      <a:pt x="747" y="519"/>
                    </a:lnTo>
                    <a:lnTo>
                      <a:pt x="738" y="529"/>
                    </a:lnTo>
                    <a:lnTo>
                      <a:pt x="729" y="538"/>
                    </a:lnTo>
                    <a:lnTo>
                      <a:pt x="718" y="545"/>
                    </a:lnTo>
                    <a:lnTo>
                      <a:pt x="707" y="553"/>
                    </a:lnTo>
                    <a:lnTo>
                      <a:pt x="696" y="558"/>
                    </a:lnTo>
                    <a:lnTo>
                      <a:pt x="683" y="562"/>
                    </a:lnTo>
                    <a:lnTo>
                      <a:pt x="670" y="565"/>
                    </a:lnTo>
                    <a:lnTo>
                      <a:pt x="656" y="568"/>
                    </a:lnTo>
                    <a:lnTo>
                      <a:pt x="642" y="569"/>
                    </a:lnTo>
                    <a:close/>
                    <a:moveTo>
                      <a:pt x="751" y="295"/>
                    </a:moveTo>
                    <a:lnTo>
                      <a:pt x="756" y="282"/>
                    </a:lnTo>
                    <a:lnTo>
                      <a:pt x="758" y="270"/>
                    </a:lnTo>
                    <a:lnTo>
                      <a:pt x="758" y="258"/>
                    </a:lnTo>
                    <a:lnTo>
                      <a:pt x="758" y="245"/>
                    </a:lnTo>
                    <a:lnTo>
                      <a:pt x="756" y="235"/>
                    </a:lnTo>
                    <a:lnTo>
                      <a:pt x="752" y="223"/>
                    </a:lnTo>
                    <a:lnTo>
                      <a:pt x="747" y="212"/>
                    </a:lnTo>
                    <a:lnTo>
                      <a:pt x="742" y="201"/>
                    </a:lnTo>
                    <a:lnTo>
                      <a:pt x="737" y="195"/>
                    </a:lnTo>
                    <a:lnTo>
                      <a:pt x="732" y="189"/>
                    </a:lnTo>
                    <a:lnTo>
                      <a:pt x="727" y="183"/>
                    </a:lnTo>
                    <a:lnTo>
                      <a:pt x="720" y="178"/>
                    </a:lnTo>
                    <a:lnTo>
                      <a:pt x="714" y="173"/>
                    </a:lnTo>
                    <a:lnTo>
                      <a:pt x="707" y="168"/>
                    </a:lnTo>
                    <a:lnTo>
                      <a:pt x="700" y="165"/>
                    </a:lnTo>
                    <a:lnTo>
                      <a:pt x="692" y="161"/>
                    </a:lnTo>
                    <a:lnTo>
                      <a:pt x="676" y="155"/>
                    </a:lnTo>
                    <a:lnTo>
                      <a:pt x="660" y="151"/>
                    </a:lnTo>
                    <a:lnTo>
                      <a:pt x="642" y="149"/>
                    </a:lnTo>
                    <a:lnTo>
                      <a:pt x="624" y="149"/>
                    </a:lnTo>
                    <a:lnTo>
                      <a:pt x="618" y="135"/>
                    </a:lnTo>
                    <a:lnTo>
                      <a:pt x="609" y="122"/>
                    </a:lnTo>
                    <a:lnTo>
                      <a:pt x="601" y="108"/>
                    </a:lnTo>
                    <a:lnTo>
                      <a:pt x="592" y="95"/>
                    </a:lnTo>
                    <a:lnTo>
                      <a:pt x="581" y="83"/>
                    </a:lnTo>
                    <a:lnTo>
                      <a:pt x="570" y="70"/>
                    </a:lnTo>
                    <a:lnTo>
                      <a:pt x="559" y="58"/>
                    </a:lnTo>
                    <a:lnTo>
                      <a:pt x="546" y="47"/>
                    </a:lnTo>
                    <a:lnTo>
                      <a:pt x="532" y="37"/>
                    </a:lnTo>
                    <a:lnTo>
                      <a:pt x="518" y="28"/>
                    </a:lnTo>
                    <a:lnTo>
                      <a:pt x="503" y="19"/>
                    </a:lnTo>
                    <a:lnTo>
                      <a:pt x="488" y="13"/>
                    </a:lnTo>
                    <a:lnTo>
                      <a:pt x="471" y="8"/>
                    </a:lnTo>
                    <a:lnTo>
                      <a:pt x="455" y="3"/>
                    </a:lnTo>
                    <a:lnTo>
                      <a:pt x="438" y="0"/>
                    </a:lnTo>
                    <a:lnTo>
                      <a:pt x="419" y="0"/>
                    </a:lnTo>
                    <a:lnTo>
                      <a:pt x="395" y="0"/>
                    </a:lnTo>
                    <a:lnTo>
                      <a:pt x="371" y="3"/>
                    </a:lnTo>
                    <a:lnTo>
                      <a:pt x="349" y="9"/>
                    </a:lnTo>
                    <a:lnTo>
                      <a:pt x="328" y="15"/>
                    </a:lnTo>
                    <a:lnTo>
                      <a:pt x="308" y="24"/>
                    </a:lnTo>
                    <a:lnTo>
                      <a:pt x="289" y="33"/>
                    </a:lnTo>
                    <a:lnTo>
                      <a:pt x="272" y="44"/>
                    </a:lnTo>
                    <a:lnTo>
                      <a:pt x="256" y="57"/>
                    </a:lnTo>
                    <a:lnTo>
                      <a:pt x="241" y="70"/>
                    </a:lnTo>
                    <a:lnTo>
                      <a:pt x="228" y="84"/>
                    </a:lnTo>
                    <a:lnTo>
                      <a:pt x="216" y="99"/>
                    </a:lnTo>
                    <a:lnTo>
                      <a:pt x="206" y="115"/>
                    </a:lnTo>
                    <a:lnTo>
                      <a:pt x="198" y="131"/>
                    </a:lnTo>
                    <a:lnTo>
                      <a:pt x="190" y="147"/>
                    </a:lnTo>
                    <a:lnTo>
                      <a:pt x="185" y="164"/>
                    </a:lnTo>
                    <a:lnTo>
                      <a:pt x="182" y="181"/>
                    </a:lnTo>
                    <a:lnTo>
                      <a:pt x="162" y="184"/>
                    </a:lnTo>
                    <a:lnTo>
                      <a:pt x="145" y="191"/>
                    </a:lnTo>
                    <a:lnTo>
                      <a:pt x="128" y="197"/>
                    </a:lnTo>
                    <a:lnTo>
                      <a:pt x="111" y="207"/>
                    </a:lnTo>
                    <a:lnTo>
                      <a:pt x="95" y="216"/>
                    </a:lnTo>
                    <a:lnTo>
                      <a:pt x="80" y="228"/>
                    </a:lnTo>
                    <a:lnTo>
                      <a:pt x="66" y="240"/>
                    </a:lnTo>
                    <a:lnTo>
                      <a:pt x="53" y="254"/>
                    </a:lnTo>
                    <a:lnTo>
                      <a:pt x="42" y="269"/>
                    </a:lnTo>
                    <a:lnTo>
                      <a:pt x="32" y="284"/>
                    </a:lnTo>
                    <a:lnTo>
                      <a:pt x="22" y="300"/>
                    </a:lnTo>
                    <a:lnTo>
                      <a:pt x="15" y="317"/>
                    </a:lnTo>
                    <a:lnTo>
                      <a:pt x="8" y="334"/>
                    </a:lnTo>
                    <a:lnTo>
                      <a:pt x="4" y="352"/>
                    </a:lnTo>
                    <a:lnTo>
                      <a:pt x="1" y="371"/>
                    </a:lnTo>
                    <a:lnTo>
                      <a:pt x="0" y="389"/>
                    </a:lnTo>
                    <a:lnTo>
                      <a:pt x="1" y="399"/>
                    </a:lnTo>
                    <a:lnTo>
                      <a:pt x="2" y="409"/>
                    </a:lnTo>
                    <a:lnTo>
                      <a:pt x="3" y="420"/>
                    </a:lnTo>
                    <a:lnTo>
                      <a:pt x="5" y="431"/>
                    </a:lnTo>
                    <a:lnTo>
                      <a:pt x="10" y="450"/>
                    </a:lnTo>
                    <a:lnTo>
                      <a:pt x="17" y="469"/>
                    </a:lnTo>
                    <a:lnTo>
                      <a:pt x="27" y="487"/>
                    </a:lnTo>
                    <a:lnTo>
                      <a:pt x="37" y="504"/>
                    </a:lnTo>
                    <a:lnTo>
                      <a:pt x="49" y="520"/>
                    </a:lnTo>
                    <a:lnTo>
                      <a:pt x="63" y="535"/>
                    </a:lnTo>
                    <a:lnTo>
                      <a:pt x="78" y="549"/>
                    </a:lnTo>
                    <a:lnTo>
                      <a:pt x="94" y="561"/>
                    </a:lnTo>
                    <a:lnTo>
                      <a:pt x="112" y="572"/>
                    </a:lnTo>
                    <a:lnTo>
                      <a:pt x="130" y="581"/>
                    </a:lnTo>
                    <a:lnTo>
                      <a:pt x="149" y="589"/>
                    </a:lnTo>
                    <a:lnTo>
                      <a:pt x="169" y="594"/>
                    </a:lnTo>
                    <a:lnTo>
                      <a:pt x="179" y="595"/>
                    </a:lnTo>
                    <a:lnTo>
                      <a:pt x="189" y="597"/>
                    </a:lnTo>
                    <a:lnTo>
                      <a:pt x="199" y="597"/>
                    </a:lnTo>
                    <a:lnTo>
                      <a:pt x="210" y="599"/>
                    </a:lnTo>
                    <a:lnTo>
                      <a:pt x="642" y="599"/>
                    </a:lnTo>
                    <a:lnTo>
                      <a:pt x="659" y="597"/>
                    </a:lnTo>
                    <a:lnTo>
                      <a:pt x="676" y="595"/>
                    </a:lnTo>
                    <a:lnTo>
                      <a:pt x="692" y="591"/>
                    </a:lnTo>
                    <a:lnTo>
                      <a:pt x="707" y="586"/>
                    </a:lnTo>
                    <a:lnTo>
                      <a:pt x="721" y="578"/>
                    </a:lnTo>
                    <a:lnTo>
                      <a:pt x="735" y="571"/>
                    </a:lnTo>
                    <a:lnTo>
                      <a:pt x="748" y="561"/>
                    </a:lnTo>
                    <a:lnTo>
                      <a:pt x="760" y="550"/>
                    </a:lnTo>
                    <a:lnTo>
                      <a:pt x="771" y="539"/>
                    </a:lnTo>
                    <a:lnTo>
                      <a:pt x="780" y="526"/>
                    </a:lnTo>
                    <a:lnTo>
                      <a:pt x="789" y="512"/>
                    </a:lnTo>
                    <a:lnTo>
                      <a:pt x="795" y="498"/>
                    </a:lnTo>
                    <a:lnTo>
                      <a:pt x="801" y="483"/>
                    </a:lnTo>
                    <a:lnTo>
                      <a:pt x="805" y="467"/>
                    </a:lnTo>
                    <a:lnTo>
                      <a:pt x="808" y="451"/>
                    </a:lnTo>
                    <a:lnTo>
                      <a:pt x="808" y="434"/>
                    </a:lnTo>
                    <a:lnTo>
                      <a:pt x="808" y="417"/>
                    </a:lnTo>
                    <a:lnTo>
                      <a:pt x="806" y="397"/>
                    </a:lnTo>
                    <a:lnTo>
                      <a:pt x="802" y="379"/>
                    </a:lnTo>
                    <a:lnTo>
                      <a:pt x="796" y="360"/>
                    </a:lnTo>
                    <a:lnTo>
                      <a:pt x="792" y="351"/>
                    </a:lnTo>
                    <a:lnTo>
                      <a:pt x="788" y="342"/>
                    </a:lnTo>
                    <a:lnTo>
                      <a:pt x="783" y="333"/>
                    </a:lnTo>
                    <a:lnTo>
                      <a:pt x="778" y="325"/>
                    </a:lnTo>
                    <a:lnTo>
                      <a:pt x="773" y="316"/>
                    </a:lnTo>
                    <a:lnTo>
                      <a:pt x="766" y="308"/>
                    </a:lnTo>
                    <a:lnTo>
                      <a:pt x="759" y="301"/>
                    </a:lnTo>
                    <a:lnTo>
                      <a:pt x="751" y="2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1" name="Freeform 68">
                <a:extLst>
                  <a:ext uri="{FF2B5EF4-FFF2-40B4-BE49-F238E27FC236}">
                    <a16:creationId xmlns:a16="http://schemas.microsoft.com/office/drawing/2014/main" id="{816B9A66-5B7D-4D1A-B086-067ED56A1A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3450" y="798513"/>
                <a:ext cx="146050" cy="123825"/>
              </a:xfrm>
              <a:custGeom>
                <a:avLst/>
                <a:gdLst>
                  <a:gd name="T0" fmla="*/ 39 w 457"/>
                  <a:gd name="T1" fmla="*/ 386 h 388"/>
                  <a:gd name="T2" fmla="*/ 50 w 457"/>
                  <a:gd name="T3" fmla="*/ 388 h 388"/>
                  <a:gd name="T4" fmla="*/ 59 w 457"/>
                  <a:gd name="T5" fmla="*/ 383 h 388"/>
                  <a:gd name="T6" fmla="*/ 62 w 457"/>
                  <a:gd name="T7" fmla="*/ 374 h 388"/>
                  <a:gd name="T8" fmla="*/ 60 w 457"/>
                  <a:gd name="T9" fmla="*/ 365 h 388"/>
                  <a:gd name="T10" fmla="*/ 42 w 457"/>
                  <a:gd name="T11" fmla="*/ 326 h 388"/>
                  <a:gd name="T12" fmla="*/ 32 w 457"/>
                  <a:gd name="T13" fmla="*/ 284 h 388"/>
                  <a:gd name="T14" fmla="*/ 31 w 457"/>
                  <a:gd name="T15" fmla="*/ 243 h 388"/>
                  <a:gd name="T16" fmla="*/ 35 w 457"/>
                  <a:gd name="T17" fmla="*/ 210 h 388"/>
                  <a:gd name="T18" fmla="*/ 44 w 457"/>
                  <a:gd name="T19" fmla="*/ 178 h 388"/>
                  <a:gd name="T20" fmla="*/ 68 w 457"/>
                  <a:gd name="T21" fmla="*/ 130 h 388"/>
                  <a:gd name="T22" fmla="*/ 112 w 457"/>
                  <a:gd name="T23" fmla="*/ 82 h 388"/>
                  <a:gd name="T24" fmla="*/ 168 w 457"/>
                  <a:gd name="T25" fmla="*/ 48 h 388"/>
                  <a:gd name="T26" fmla="*/ 199 w 457"/>
                  <a:gd name="T27" fmla="*/ 37 h 388"/>
                  <a:gd name="T28" fmla="*/ 232 w 457"/>
                  <a:gd name="T29" fmla="*/ 31 h 388"/>
                  <a:gd name="T30" fmla="*/ 267 w 457"/>
                  <a:gd name="T31" fmla="*/ 30 h 388"/>
                  <a:gd name="T32" fmla="*/ 305 w 457"/>
                  <a:gd name="T33" fmla="*/ 36 h 388"/>
                  <a:gd name="T34" fmla="*/ 341 w 457"/>
                  <a:gd name="T35" fmla="*/ 48 h 388"/>
                  <a:gd name="T36" fmla="*/ 374 w 457"/>
                  <a:gd name="T37" fmla="*/ 65 h 388"/>
                  <a:gd name="T38" fmla="*/ 404 w 457"/>
                  <a:gd name="T39" fmla="*/ 87 h 388"/>
                  <a:gd name="T40" fmla="*/ 430 w 457"/>
                  <a:gd name="T41" fmla="*/ 115 h 388"/>
                  <a:gd name="T42" fmla="*/ 443 w 457"/>
                  <a:gd name="T43" fmla="*/ 121 h 388"/>
                  <a:gd name="T44" fmla="*/ 452 w 457"/>
                  <a:gd name="T45" fmla="*/ 118 h 388"/>
                  <a:gd name="T46" fmla="*/ 457 w 457"/>
                  <a:gd name="T47" fmla="*/ 105 h 388"/>
                  <a:gd name="T48" fmla="*/ 454 w 457"/>
                  <a:gd name="T49" fmla="*/ 98 h 388"/>
                  <a:gd name="T50" fmla="*/ 424 w 457"/>
                  <a:gd name="T51" fmla="*/ 66 h 388"/>
                  <a:gd name="T52" fmla="*/ 391 w 457"/>
                  <a:gd name="T53" fmla="*/ 40 h 388"/>
                  <a:gd name="T54" fmla="*/ 352 w 457"/>
                  <a:gd name="T55" fmla="*/ 20 h 388"/>
                  <a:gd name="T56" fmla="*/ 312 w 457"/>
                  <a:gd name="T57" fmla="*/ 7 h 388"/>
                  <a:gd name="T58" fmla="*/ 270 w 457"/>
                  <a:gd name="T59" fmla="*/ 0 h 388"/>
                  <a:gd name="T60" fmla="*/ 229 w 457"/>
                  <a:gd name="T61" fmla="*/ 1 h 388"/>
                  <a:gd name="T62" fmla="*/ 191 w 457"/>
                  <a:gd name="T63" fmla="*/ 8 h 388"/>
                  <a:gd name="T64" fmla="*/ 156 w 457"/>
                  <a:gd name="T65" fmla="*/ 21 h 388"/>
                  <a:gd name="T66" fmla="*/ 123 w 457"/>
                  <a:gd name="T67" fmla="*/ 37 h 388"/>
                  <a:gd name="T68" fmla="*/ 93 w 457"/>
                  <a:gd name="T69" fmla="*/ 58 h 388"/>
                  <a:gd name="T70" fmla="*/ 66 w 457"/>
                  <a:gd name="T71" fmla="*/ 84 h 388"/>
                  <a:gd name="T72" fmla="*/ 44 w 457"/>
                  <a:gd name="T73" fmla="*/ 113 h 388"/>
                  <a:gd name="T74" fmla="*/ 25 w 457"/>
                  <a:gd name="T75" fmla="*/ 145 h 388"/>
                  <a:gd name="T76" fmla="*/ 12 w 457"/>
                  <a:gd name="T77" fmla="*/ 179 h 388"/>
                  <a:gd name="T78" fmla="*/ 3 w 457"/>
                  <a:gd name="T79" fmla="*/ 217 h 388"/>
                  <a:gd name="T80" fmla="*/ 0 w 457"/>
                  <a:gd name="T81" fmla="*/ 254 h 388"/>
                  <a:gd name="T82" fmla="*/ 5 w 457"/>
                  <a:gd name="T83" fmla="*/ 304 h 388"/>
                  <a:gd name="T84" fmla="*/ 19 w 457"/>
                  <a:gd name="T85" fmla="*/ 352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57" h="388">
                    <a:moveTo>
                      <a:pt x="34" y="380"/>
                    </a:moveTo>
                    <a:lnTo>
                      <a:pt x="36" y="384"/>
                    </a:lnTo>
                    <a:lnTo>
                      <a:pt x="39" y="386"/>
                    </a:lnTo>
                    <a:lnTo>
                      <a:pt x="43" y="388"/>
                    </a:lnTo>
                    <a:lnTo>
                      <a:pt x="47" y="388"/>
                    </a:lnTo>
                    <a:lnTo>
                      <a:pt x="50" y="388"/>
                    </a:lnTo>
                    <a:lnTo>
                      <a:pt x="54" y="386"/>
                    </a:lnTo>
                    <a:lnTo>
                      <a:pt x="56" y="385"/>
                    </a:lnTo>
                    <a:lnTo>
                      <a:pt x="59" y="383"/>
                    </a:lnTo>
                    <a:lnTo>
                      <a:pt x="60" y="379"/>
                    </a:lnTo>
                    <a:lnTo>
                      <a:pt x="61" y="377"/>
                    </a:lnTo>
                    <a:lnTo>
                      <a:pt x="62" y="374"/>
                    </a:lnTo>
                    <a:lnTo>
                      <a:pt x="62" y="371"/>
                    </a:lnTo>
                    <a:lnTo>
                      <a:pt x="61" y="369"/>
                    </a:lnTo>
                    <a:lnTo>
                      <a:pt x="60" y="365"/>
                    </a:lnTo>
                    <a:lnTo>
                      <a:pt x="53" y="353"/>
                    </a:lnTo>
                    <a:lnTo>
                      <a:pt x="47" y="340"/>
                    </a:lnTo>
                    <a:lnTo>
                      <a:pt x="42" y="326"/>
                    </a:lnTo>
                    <a:lnTo>
                      <a:pt x="37" y="312"/>
                    </a:lnTo>
                    <a:lnTo>
                      <a:pt x="34" y="298"/>
                    </a:lnTo>
                    <a:lnTo>
                      <a:pt x="32" y="284"/>
                    </a:lnTo>
                    <a:lnTo>
                      <a:pt x="31" y="269"/>
                    </a:lnTo>
                    <a:lnTo>
                      <a:pt x="30" y="254"/>
                    </a:lnTo>
                    <a:lnTo>
                      <a:pt x="31" y="243"/>
                    </a:lnTo>
                    <a:lnTo>
                      <a:pt x="32" y="232"/>
                    </a:lnTo>
                    <a:lnTo>
                      <a:pt x="33" y="221"/>
                    </a:lnTo>
                    <a:lnTo>
                      <a:pt x="35" y="210"/>
                    </a:lnTo>
                    <a:lnTo>
                      <a:pt x="37" y="198"/>
                    </a:lnTo>
                    <a:lnTo>
                      <a:pt x="40" y="189"/>
                    </a:lnTo>
                    <a:lnTo>
                      <a:pt x="44" y="178"/>
                    </a:lnTo>
                    <a:lnTo>
                      <a:pt x="48" y="167"/>
                    </a:lnTo>
                    <a:lnTo>
                      <a:pt x="58" y="148"/>
                    </a:lnTo>
                    <a:lnTo>
                      <a:pt x="68" y="130"/>
                    </a:lnTo>
                    <a:lnTo>
                      <a:pt x="81" y="113"/>
                    </a:lnTo>
                    <a:lnTo>
                      <a:pt x="96" y="97"/>
                    </a:lnTo>
                    <a:lnTo>
                      <a:pt x="112" y="82"/>
                    </a:lnTo>
                    <a:lnTo>
                      <a:pt x="129" y="69"/>
                    </a:lnTo>
                    <a:lnTo>
                      <a:pt x="147" y="57"/>
                    </a:lnTo>
                    <a:lnTo>
                      <a:pt x="168" y="48"/>
                    </a:lnTo>
                    <a:lnTo>
                      <a:pt x="177" y="44"/>
                    </a:lnTo>
                    <a:lnTo>
                      <a:pt x="188" y="40"/>
                    </a:lnTo>
                    <a:lnTo>
                      <a:pt x="199" y="37"/>
                    </a:lnTo>
                    <a:lnTo>
                      <a:pt x="210" y="35"/>
                    </a:lnTo>
                    <a:lnTo>
                      <a:pt x="220" y="33"/>
                    </a:lnTo>
                    <a:lnTo>
                      <a:pt x="232" y="31"/>
                    </a:lnTo>
                    <a:lnTo>
                      <a:pt x="243" y="30"/>
                    </a:lnTo>
                    <a:lnTo>
                      <a:pt x="255" y="30"/>
                    </a:lnTo>
                    <a:lnTo>
                      <a:pt x="267" y="30"/>
                    </a:lnTo>
                    <a:lnTo>
                      <a:pt x="280" y="31"/>
                    </a:lnTo>
                    <a:lnTo>
                      <a:pt x="293" y="34"/>
                    </a:lnTo>
                    <a:lnTo>
                      <a:pt x="305" y="36"/>
                    </a:lnTo>
                    <a:lnTo>
                      <a:pt x="318" y="39"/>
                    </a:lnTo>
                    <a:lnTo>
                      <a:pt x="330" y="43"/>
                    </a:lnTo>
                    <a:lnTo>
                      <a:pt x="341" y="48"/>
                    </a:lnTo>
                    <a:lnTo>
                      <a:pt x="352" y="53"/>
                    </a:lnTo>
                    <a:lnTo>
                      <a:pt x="364" y="58"/>
                    </a:lnTo>
                    <a:lnTo>
                      <a:pt x="374" y="65"/>
                    </a:lnTo>
                    <a:lnTo>
                      <a:pt x="384" y="72"/>
                    </a:lnTo>
                    <a:lnTo>
                      <a:pt x="395" y="80"/>
                    </a:lnTo>
                    <a:lnTo>
                      <a:pt x="404" y="87"/>
                    </a:lnTo>
                    <a:lnTo>
                      <a:pt x="413" y="97"/>
                    </a:lnTo>
                    <a:lnTo>
                      <a:pt x="423" y="105"/>
                    </a:lnTo>
                    <a:lnTo>
                      <a:pt x="430" y="115"/>
                    </a:lnTo>
                    <a:lnTo>
                      <a:pt x="435" y="119"/>
                    </a:lnTo>
                    <a:lnTo>
                      <a:pt x="441" y="121"/>
                    </a:lnTo>
                    <a:lnTo>
                      <a:pt x="443" y="121"/>
                    </a:lnTo>
                    <a:lnTo>
                      <a:pt x="446" y="120"/>
                    </a:lnTo>
                    <a:lnTo>
                      <a:pt x="449" y="120"/>
                    </a:lnTo>
                    <a:lnTo>
                      <a:pt x="452" y="118"/>
                    </a:lnTo>
                    <a:lnTo>
                      <a:pt x="455" y="114"/>
                    </a:lnTo>
                    <a:lnTo>
                      <a:pt x="457" y="107"/>
                    </a:lnTo>
                    <a:lnTo>
                      <a:pt x="457" y="105"/>
                    </a:lnTo>
                    <a:lnTo>
                      <a:pt x="457" y="102"/>
                    </a:lnTo>
                    <a:lnTo>
                      <a:pt x="456" y="100"/>
                    </a:lnTo>
                    <a:lnTo>
                      <a:pt x="454" y="98"/>
                    </a:lnTo>
                    <a:lnTo>
                      <a:pt x="444" y="86"/>
                    </a:lnTo>
                    <a:lnTo>
                      <a:pt x="434" y="75"/>
                    </a:lnTo>
                    <a:lnTo>
                      <a:pt x="424" y="66"/>
                    </a:lnTo>
                    <a:lnTo>
                      <a:pt x="413" y="56"/>
                    </a:lnTo>
                    <a:lnTo>
                      <a:pt x="402" y="48"/>
                    </a:lnTo>
                    <a:lnTo>
                      <a:pt x="391" y="40"/>
                    </a:lnTo>
                    <a:lnTo>
                      <a:pt x="378" y="33"/>
                    </a:lnTo>
                    <a:lnTo>
                      <a:pt x="365" y="26"/>
                    </a:lnTo>
                    <a:lnTo>
                      <a:pt x="352" y="20"/>
                    </a:lnTo>
                    <a:lnTo>
                      <a:pt x="339" y="14"/>
                    </a:lnTo>
                    <a:lnTo>
                      <a:pt x="325" y="10"/>
                    </a:lnTo>
                    <a:lnTo>
                      <a:pt x="312" y="7"/>
                    </a:lnTo>
                    <a:lnTo>
                      <a:pt x="297" y="4"/>
                    </a:lnTo>
                    <a:lnTo>
                      <a:pt x="283" y="1"/>
                    </a:lnTo>
                    <a:lnTo>
                      <a:pt x="270" y="0"/>
                    </a:lnTo>
                    <a:lnTo>
                      <a:pt x="255" y="0"/>
                    </a:lnTo>
                    <a:lnTo>
                      <a:pt x="242" y="0"/>
                    </a:lnTo>
                    <a:lnTo>
                      <a:pt x="229" y="1"/>
                    </a:lnTo>
                    <a:lnTo>
                      <a:pt x="216" y="4"/>
                    </a:lnTo>
                    <a:lnTo>
                      <a:pt x="203" y="6"/>
                    </a:lnTo>
                    <a:lnTo>
                      <a:pt x="191" y="8"/>
                    </a:lnTo>
                    <a:lnTo>
                      <a:pt x="180" y="12"/>
                    </a:lnTo>
                    <a:lnTo>
                      <a:pt x="168" y="15"/>
                    </a:lnTo>
                    <a:lnTo>
                      <a:pt x="156" y="21"/>
                    </a:lnTo>
                    <a:lnTo>
                      <a:pt x="144" y="25"/>
                    </a:lnTo>
                    <a:lnTo>
                      <a:pt x="134" y="31"/>
                    </a:lnTo>
                    <a:lnTo>
                      <a:pt x="123" y="37"/>
                    </a:lnTo>
                    <a:lnTo>
                      <a:pt x="112" y="44"/>
                    </a:lnTo>
                    <a:lnTo>
                      <a:pt x="103" y="51"/>
                    </a:lnTo>
                    <a:lnTo>
                      <a:pt x="93" y="58"/>
                    </a:lnTo>
                    <a:lnTo>
                      <a:pt x="83" y="67"/>
                    </a:lnTo>
                    <a:lnTo>
                      <a:pt x="75" y="75"/>
                    </a:lnTo>
                    <a:lnTo>
                      <a:pt x="66" y="84"/>
                    </a:lnTo>
                    <a:lnTo>
                      <a:pt x="59" y="94"/>
                    </a:lnTo>
                    <a:lnTo>
                      <a:pt x="51" y="103"/>
                    </a:lnTo>
                    <a:lnTo>
                      <a:pt x="44" y="113"/>
                    </a:lnTo>
                    <a:lnTo>
                      <a:pt x="37" y="124"/>
                    </a:lnTo>
                    <a:lnTo>
                      <a:pt x="31" y="134"/>
                    </a:lnTo>
                    <a:lnTo>
                      <a:pt x="25" y="145"/>
                    </a:lnTo>
                    <a:lnTo>
                      <a:pt x="20" y="156"/>
                    </a:lnTo>
                    <a:lnTo>
                      <a:pt x="16" y="167"/>
                    </a:lnTo>
                    <a:lnTo>
                      <a:pt x="12" y="179"/>
                    </a:lnTo>
                    <a:lnTo>
                      <a:pt x="8" y="191"/>
                    </a:lnTo>
                    <a:lnTo>
                      <a:pt x="5" y="204"/>
                    </a:lnTo>
                    <a:lnTo>
                      <a:pt x="3" y="217"/>
                    </a:lnTo>
                    <a:lnTo>
                      <a:pt x="2" y="228"/>
                    </a:lnTo>
                    <a:lnTo>
                      <a:pt x="1" y="241"/>
                    </a:lnTo>
                    <a:lnTo>
                      <a:pt x="0" y="254"/>
                    </a:lnTo>
                    <a:lnTo>
                      <a:pt x="1" y="271"/>
                    </a:lnTo>
                    <a:lnTo>
                      <a:pt x="3" y="288"/>
                    </a:lnTo>
                    <a:lnTo>
                      <a:pt x="5" y="304"/>
                    </a:lnTo>
                    <a:lnTo>
                      <a:pt x="8" y="320"/>
                    </a:lnTo>
                    <a:lnTo>
                      <a:pt x="14" y="335"/>
                    </a:lnTo>
                    <a:lnTo>
                      <a:pt x="19" y="352"/>
                    </a:lnTo>
                    <a:lnTo>
                      <a:pt x="25" y="366"/>
                    </a:lnTo>
                    <a:lnTo>
                      <a:pt x="34" y="3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6F032BE0-D124-499D-8A80-AFFB2D8262E8}"/>
              </a:ext>
            </a:extLst>
          </p:cNvPr>
          <p:cNvGrpSpPr/>
          <p:nvPr/>
        </p:nvGrpSpPr>
        <p:grpSpPr>
          <a:xfrm>
            <a:off x="2874257" y="3982448"/>
            <a:ext cx="418315" cy="418315"/>
            <a:chOff x="7762138" y="3202842"/>
            <a:chExt cx="418315" cy="418315"/>
          </a:xfrm>
        </p:grpSpPr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12F6E08A-C98E-432B-BCCA-43063F0C596C}"/>
                </a:ext>
              </a:extLst>
            </p:cNvPr>
            <p:cNvSpPr/>
            <p:nvPr/>
          </p:nvSpPr>
          <p:spPr>
            <a:xfrm>
              <a:off x="7762138" y="3202842"/>
              <a:ext cx="418315" cy="418315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08" name="Group 207">
              <a:extLst>
                <a:ext uri="{FF2B5EF4-FFF2-40B4-BE49-F238E27FC236}">
                  <a16:creationId xmlns:a16="http://schemas.microsoft.com/office/drawing/2014/main" id="{2180A667-5A40-404A-864A-9EF0C022ACAE}"/>
                </a:ext>
              </a:extLst>
            </p:cNvPr>
            <p:cNvGrpSpPr/>
            <p:nvPr/>
          </p:nvGrpSpPr>
          <p:grpSpPr>
            <a:xfrm>
              <a:off x="7891453" y="3323285"/>
              <a:ext cx="159685" cy="177428"/>
              <a:chOff x="4911725" y="769938"/>
              <a:chExt cx="257175" cy="285750"/>
            </a:xfrm>
            <a:solidFill>
              <a:schemeClr val="bg1"/>
            </a:solidFill>
          </p:grpSpPr>
          <p:sp>
            <p:nvSpPr>
              <p:cNvPr id="209" name="Freeform 69">
                <a:extLst>
                  <a:ext uri="{FF2B5EF4-FFF2-40B4-BE49-F238E27FC236}">
                    <a16:creationId xmlns:a16="http://schemas.microsoft.com/office/drawing/2014/main" id="{4E314C9A-D39B-435C-9744-61B12999A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11725" y="769938"/>
                <a:ext cx="257175" cy="190500"/>
              </a:xfrm>
              <a:custGeom>
                <a:avLst/>
                <a:gdLst>
                  <a:gd name="T0" fmla="*/ 175 w 809"/>
                  <a:gd name="T1" fmla="*/ 565 h 598"/>
                  <a:gd name="T2" fmla="*/ 111 w 809"/>
                  <a:gd name="T3" fmla="*/ 537 h 598"/>
                  <a:gd name="T4" fmla="*/ 61 w 809"/>
                  <a:gd name="T5" fmla="*/ 488 h 598"/>
                  <a:gd name="T6" fmla="*/ 34 w 809"/>
                  <a:gd name="T7" fmla="*/ 423 h 598"/>
                  <a:gd name="T8" fmla="*/ 34 w 809"/>
                  <a:gd name="T9" fmla="*/ 356 h 598"/>
                  <a:gd name="T10" fmla="*/ 59 w 809"/>
                  <a:gd name="T11" fmla="*/ 295 h 598"/>
                  <a:gd name="T12" fmla="*/ 104 w 809"/>
                  <a:gd name="T13" fmla="*/ 247 h 598"/>
                  <a:gd name="T14" fmla="*/ 163 w 809"/>
                  <a:gd name="T15" fmla="*/ 216 h 598"/>
                  <a:gd name="T16" fmla="*/ 205 w 809"/>
                  <a:gd name="T17" fmla="*/ 205 h 598"/>
                  <a:gd name="T18" fmla="*/ 212 w 809"/>
                  <a:gd name="T19" fmla="*/ 177 h 598"/>
                  <a:gd name="T20" fmla="*/ 233 w 809"/>
                  <a:gd name="T21" fmla="*/ 127 h 598"/>
                  <a:gd name="T22" fmla="*/ 282 w 809"/>
                  <a:gd name="T23" fmla="*/ 74 h 598"/>
                  <a:gd name="T24" fmla="*/ 348 w 809"/>
                  <a:gd name="T25" fmla="*/ 41 h 598"/>
                  <a:gd name="T26" fmla="*/ 419 w 809"/>
                  <a:gd name="T27" fmla="*/ 29 h 598"/>
                  <a:gd name="T28" fmla="*/ 479 w 809"/>
                  <a:gd name="T29" fmla="*/ 41 h 598"/>
                  <a:gd name="T30" fmla="*/ 530 w 809"/>
                  <a:gd name="T31" fmla="*/ 73 h 598"/>
                  <a:gd name="T32" fmla="*/ 572 w 809"/>
                  <a:gd name="T33" fmla="*/ 118 h 598"/>
                  <a:gd name="T34" fmla="*/ 600 w 809"/>
                  <a:gd name="T35" fmla="*/ 170 h 598"/>
                  <a:gd name="T36" fmla="*/ 616 w 809"/>
                  <a:gd name="T37" fmla="*/ 179 h 598"/>
                  <a:gd name="T38" fmla="*/ 675 w 809"/>
                  <a:gd name="T39" fmla="*/ 186 h 598"/>
                  <a:gd name="T40" fmla="*/ 708 w 809"/>
                  <a:gd name="T41" fmla="*/ 208 h 598"/>
                  <a:gd name="T42" fmla="*/ 724 w 809"/>
                  <a:gd name="T43" fmla="*/ 235 h 598"/>
                  <a:gd name="T44" fmla="*/ 726 w 809"/>
                  <a:gd name="T45" fmla="*/ 272 h 598"/>
                  <a:gd name="T46" fmla="*/ 719 w 809"/>
                  <a:gd name="T47" fmla="*/ 303 h 598"/>
                  <a:gd name="T48" fmla="*/ 737 w 809"/>
                  <a:gd name="T49" fmla="*/ 322 h 598"/>
                  <a:gd name="T50" fmla="*/ 764 w 809"/>
                  <a:gd name="T51" fmla="*/ 361 h 598"/>
                  <a:gd name="T52" fmla="*/ 779 w 809"/>
                  <a:gd name="T53" fmla="*/ 433 h 598"/>
                  <a:gd name="T54" fmla="*/ 768 w 809"/>
                  <a:gd name="T55" fmla="*/ 485 h 598"/>
                  <a:gd name="T56" fmla="*/ 738 w 809"/>
                  <a:gd name="T57" fmla="*/ 528 h 598"/>
                  <a:gd name="T58" fmla="*/ 695 w 809"/>
                  <a:gd name="T59" fmla="*/ 557 h 598"/>
                  <a:gd name="T60" fmla="*/ 643 w 809"/>
                  <a:gd name="T61" fmla="*/ 568 h 598"/>
                  <a:gd name="T62" fmla="*/ 757 w 809"/>
                  <a:gd name="T63" fmla="*/ 257 h 598"/>
                  <a:gd name="T64" fmla="*/ 748 w 809"/>
                  <a:gd name="T65" fmla="*/ 211 h 598"/>
                  <a:gd name="T66" fmla="*/ 726 w 809"/>
                  <a:gd name="T67" fmla="*/ 183 h 598"/>
                  <a:gd name="T68" fmla="*/ 699 w 809"/>
                  <a:gd name="T69" fmla="*/ 164 h 598"/>
                  <a:gd name="T70" fmla="*/ 642 w 809"/>
                  <a:gd name="T71" fmla="*/ 149 h 598"/>
                  <a:gd name="T72" fmla="*/ 601 w 809"/>
                  <a:gd name="T73" fmla="*/ 108 h 598"/>
                  <a:gd name="T74" fmla="*/ 558 w 809"/>
                  <a:gd name="T75" fmla="*/ 57 h 598"/>
                  <a:gd name="T76" fmla="*/ 502 w 809"/>
                  <a:gd name="T77" fmla="*/ 20 h 598"/>
                  <a:gd name="T78" fmla="*/ 437 w 809"/>
                  <a:gd name="T79" fmla="*/ 1 h 598"/>
                  <a:gd name="T80" fmla="*/ 348 w 809"/>
                  <a:gd name="T81" fmla="*/ 8 h 598"/>
                  <a:gd name="T82" fmla="*/ 271 w 809"/>
                  <a:gd name="T83" fmla="*/ 44 h 598"/>
                  <a:gd name="T84" fmla="*/ 216 w 809"/>
                  <a:gd name="T85" fmla="*/ 99 h 598"/>
                  <a:gd name="T86" fmla="*/ 184 w 809"/>
                  <a:gd name="T87" fmla="*/ 163 h 598"/>
                  <a:gd name="T88" fmla="*/ 128 w 809"/>
                  <a:gd name="T89" fmla="*/ 198 h 598"/>
                  <a:gd name="T90" fmla="*/ 66 w 809"/>
                  <a:gd name="T91" fmla="*/ 240 h 598"/>
                  <a:gd name="T92" fmla="*/ 22 w 809"/>
                  <a:gd name="T93" fmla="*/ 300 h 598"/>
                  <a:gd name="T94" fmla="*/ 1 w 809"/>
                  <a:gd name="T95" fmla="*/ 370 h 598"/>
                  <a:gd name="T96" fmla="*/ 2 w 809"/>
                  <a:gd name="T97" fmla="*/ 419 h 598"/>
                  <a:gd name="T98" fmla="*/ 26 w 809"/>
                  <a:gd name="T99" fmla="*/ 487 h 598"/>
                  <a:gd name="T100" fmla="*/ 77 w 809"/>
                  <a:gd name="T101" fmla="*/ 549 h 598"/>
                  <a:gd name="T102" fmla="*/ 149 w 809"/>
                  <a:gd name="T103" fmla="*/ 588 h 598"/>
                  <a:gd name="T104" fmla="*/ 199 w 809"/>
                  <a:gd name="T105" fmla="*/ 598 h 598"/>
                  <a:gd name="T106" fmla="*/ 676 w 809"/>
                  <a:gd name="T107" fmla="*/ 595 h 598"/>
                  <a:gd name="T108" fmla="*/ 735 w 809"/>
                  <a:gd name="T109" fmla="*/ 570 h 598"/>
                  <a:gd name="T110" fmla="*/ 780 w 809"/>
                  <a:gd name="T111" fmla="*/ 525 h 598"/>
                  <a:gd name="T112" fmla="*/ 804 w 809"/>
                  <a:gd name="T113" fmla="*/ 466 h 598"/>
                  <a:gd name="T114" fmla="*/ 805 w 809"/>
                  <a:gd name="T115" fmla="*/ 398 h 598"/>
                  <a:gd name="T116" fmla="*/ 787 w 809"/>
                  <a:gd name="T117" fmla="*/ 342 h 598"/>
                  <a:gd name="T118" fmla="*/ 766 w 809"/>
                  <a:gd name="T119" fmla="*/ 308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9" h="598">
                    <a:moveTo>
                      <a:pt x="643" y="568"/>
                    </a:moveTo>
                    <a:lnTo>
                      <a:pt x="209" y="568"/>
                    </a:lnTo>
                    <a:lnTo>
                      <a:pt x="192" y="567"/>
                    </a:lnTo>
                    <a:lnTo>
                      <a:pt x="175" y="565"/>
                    </a:lnTo>
                    <a:lnTo>
                      <a:pt x="158" y="559"/>
                    </a:lnTo>
                    <a:lnTo>
                      <a:pt x="141" y="554"/>
                    </a:lnTo>
                    <a:lnTo>
                      <a:pt x="126" y="545"/>
                    </a:lnTo>
                    <a:lnTo>
                      <a:pt x="111" y="537"/>
                    </a:lnTo>
                    <a:lnTo>
                      <a:pt x="97" y="526"/>
                    </a:lnTo>
                    <a:lnTo>
                      <a:pt x="84" y="514"/>
                    </a:lnTo>
                    <a:lnTo>
                      <a:pt x="72" y="502"/>
                    </a:lnTo>
                    <a:lnTo>
                      <a:pt x="61" y="488"/>
                    </a:lnTo>
                    <a:lnTo>
                      <a:pt x="53" y="473"/>
                    </a:lnTo>
                    <a:lnTo>
                      <a:pt x="44" y="457"/>
                    </a:lnTo>
                    <a:lnTo>
                      <a:pt x="38" y="441"/>
                    </a:lnTo>
                    <a:lnTo>
                      <a:pt x="34" y="423"/>
                    </a:lnTo>
                    <a:lnTo>
                      <a:pt x="31" y="406"/>
                    </a:lnTo>
                    <a:lnTo>
                      <a:pt x="30" y="388"/>
                    </a:lnTo>
                    <a:lnTo>
                      <a:pt x="30" y="372"/>
                    </a:lnTo>
                    <a:lnTo>
                      <a:pt x="34" y="356"/>
                    </a:lnTo>
                    <a:lnTo>
                      <a:pt x="38" y="340"/>
                    </a:lnTo>
                    <a:lnTo>
                      <a:pt x="43" y="325"/>
                    </a:lnTo>
                    <a:lnTo>
                      <a:pt x="51" y="310"/>
                    </a:lnTo>
                    <a:lnTo>
                      <a:pt x="59" y="295"/>
                    </a:lnTo>
                    <a:lnTo>
                      <a:pt x="69" y="282"/>
                    </a:lnTo>
                    <a:lnTo>
                      <a:pt x="80" y="269"/>
                    </a:lnTo>
                    <a:lnTo>
                      <a:pt x="91" y="257"/>
                    </a:lnTo>
                    <a:lnTo>
                      <a:pt x="104" y="247"/>
                    </a:lnTo>
                    <a:lnTo>
                      <a:pt x="117" y="237"/>
                    </a:lnTo>
                    <a:lnTo>
                      <a:pt x="132" y="229"/>
                    </a:lnTo>
                    <a:lnTo>
                      <a:pt x="147" y="221"/>
                    </a:lnTo>
                    <a:lnTo>
                      <a:pt x="163" y="216"/>
                    </a:lnTo>
                    <a:lnTo>
                      <a:pt x="179" y="211"/>
                    </a:lnTo>
                    <a:lnTo>
                      <a:pt x="196" y="209"/>
                    </a:lnTo>
                    <a:lnTo>
                      <a:pt x="201" y="208"/>
                    </a:lnTo>
                    <a:lnTo>
                      <a:pt x="205" y="205"/>
                    </a:lnTo>
                    <a:lnTo>
                      <a:pt x="208" y="201"/>
                    </a:lnTo>
                    <a:lnTo>
                      <a:pt x="209" y="195"/>
                    </a:lnTo>
                    <a:lnTo>
                      <a:pt x="210" y="186"/>
                    </a:lnTo>
                    <a:lnTo>
                      <a:pt x="212" y="177"/>
                    </a:lnTo>
                    <a:lnTo>
                      <a:pt x="214" y="168"/>
                    </a:lnTo>
                    <a:lnTo>
                      <a:pt x="217" y="159"/>
                    </a:lnTo>
                    <a:lnTo>
                      <a:pt x="224" y="142"/>
                    </a:lnTo>
                    <a:lnTo>
                      <a:pt x="233" y="127"/>
                    </a:lnTo>
                    <a:lnTo>
                      <a:pt x="243" y="112"/>
                    </a:lnTo>
                    <a:lnTo>
                      <a:pt x="255" y="98"/>
                    </a:lnTo>
                    <a:lnTo>
                      <a:pt x="268" y="85"/>
                    </a:lnTo>
                    <a:lnTo>
                      <a:pt x="282" y="74"/>
                    </a:lnTo>
                    <a:lnTo>
                      <a:pt x="298" y="64"/>
                    </a:lnTo>
                    <a:lnTo>
                      <a:pt x="314" y="55"/>
                    </a:lnTo>
                    <a:lnTo>
                      <a:pt x="330" y="48"/>
                    </a:lnTo>
                    <a:lnTo>
                      <a:pt x="348" y="41"/>
                    </a:lnTo>
                    <a:lnTo>
                      <a:pt x="365" y="36"/>
                    </a:lnTo>
                    <a:lnTo>
                      <a:pt x="384" y="33"/>
                    </a:lnTo>
                    <a:lnTo>
                      <a:pt x="402" y="31"/>
                    </a:lnTo>
                    <a:lnTo>
                      <a:pt x="419" y="29"/>
                    </a:lnTo>
                    <a:lnTo>
                      <a:pt x="435" y="31"/>
                    </a:lnTo>
                    <a:lnTo>
                      <a:pt x="450" y="33"/>
                    </a:lnTo>
                    <a:lnTo>
                      <a:pt x="464" y="36"/>
                    </a:lnTo>
                    <a:lnTo>
                      <a:pt x="479" y="41"/>
                    </a:lnTo>
                    <a:lnTo>
                      <a:pt x="493" y="48"/>
                    </a:lnTo>
                    <a:lnTo>
                      <a:pt x="506" y="55"/>
                    </a:lnTo>
                    <a:lnTo>
                      <a:pt x="519" y="64"/>
                    </a:lnTo>
                    <a:lnTo>
                      <a:pt x="530" y="73"/>
                    </a:lnTo>
                    <a:lnTo>
                      <a:pt x="542" y="84"/>
                    </a:lnTo>
                    <a:lnTo>
                      <a:pt x="553" y="95"/>
                    </a:lnTo>
                    <a:lnTo>
                      <a:pt x="562" y="107"/>
                    </a:lnTo>
                    <a:lnTo>
                      <a:pt x="572" y="118"/>
                    </a:lnTo>
                    <a:lnTo>
                      <a:pt x="581" y="131"/>
                    </a:lnTo>
                    <a:lnTo>
                      <a:pt x="587" y="144"/>
                    </a:lnTo>
                    <a:lnTo>
                      <a:pt x="595" y="157"/>
                    </a:lnTo>
                    <a:lnTo>
                      <a:pt x="600" y="170"/>
                    </a:lnTo>
                    <a:lnTo>
                      <a:pt x="602" y="174"/>
                    </a:lnTo>
                    <a:lnTo>
                      <a:pt x="606" y="177"/>
                    </a:lnTo>
                    <a:lnTo>
                      <a:pt x="611" y="179"/>
                    </a:lnTo>
                    <a:lnTo>
                      <a:pt x="616" y="179"/>
                    </a:lnTo>
                    <a:lnTo>
                      <a:pt x="631" y="178"/>
                    </a:lnTo>
                    <a:lnTo>
                      <a:pt x="646" y="179"/>
                    </a:lnTo>
                    <a:lnTo>
                      <a:pt x="661" y="181"/>
                    </a:lnTo>
                    <a:lnTo>
                      <a:pt x="675" y="186"/>
                    </a:lnTo>
                    <a:lnTo>
                      <a:pt x="688" y="192"/>
                    </a:lnTo>
                    <a:lnTo>
                      <a:pt x="698" y="200"/>
                    </a:lnTo>
                    <a:lnTo>
                      <a:pt x="704" y="203"/>
                    </a:lnTo>
                    <a:lnTo>
                      <a:pt x="708" y="208"/>
                    </a:lnTo>
                    <a:lnTo>
                      <a:pt x="712" y="213"/>
                    </a:lnTo>
                    <a:lnTo>
                      <a:pt x="717" y="218"/>
                    </a:lnTo>
                    <a:lnTo>
                      <a:pt x="721" y="226"/>
                    </a:lnTo>
                    <a:lnTo>
                      <a:pt x="724" y="235"/>
                    </a:lnTo>
                    <a:lnTo>
                      <a:pt x="726" y="244"/>
                    </a:lnTo>
                    <a:lnTo>
                      <a:pt x="727" y="253"/>
                    </a:lnTo>
                    <a:lnTo>
                      <a:pt x="727" y="263"/>
                    </a:lnTo>
                    <a:lnTo>
                      <a:pt x="726" y="272"/>
                    </a:lnTo>
                    <a:lnTo>
                      <a:pt x="723" y="282"/>
                    </a:lnTo>
                    <a:lnTo>
                      <a:pt x="720" y="293"/>
                    </a:lnTo>
                    <a:lnTo>
                      <a:pt x="719" y="298"/>
                    </a:lnTo>
                    <a:lnTo>
                      <a:pt x="719" y="303"/>
                    </a:lnTo>
                    <a:lnTo>
                      <a:pt x="721" y="308"/>
                    </a:lnTo>
                    <a:lnTo>
                      <a:pt x="725" y="312"/>
                    </a:lnTo>
                    <a:lnTo>
                      <a:pt x="731" y="316"/>
                    </a:lnTo>
                    <a:lnTo>
                      <a:pt x="737" y="322"/>
                    </a:lnTo>
                    <a:lnTo>
                      <a:pt x="742" y="327"/>
                    </a:lnTo>
                    <a:lnTo>
                      <a:pt x="747" y="332"/>
                    </a:lnTo>
                    <a:lnTo>
                      <a:pt x="756" y="346"/>
                    </a:lnTo>
                    <a:lnTo>
                      <a:pt x="764" y="361"/>
                    </a:lnTo>
                    <a:lnTo>
                      <a:pt x="770" y="377"/>
                    </a:lnTo>
                    <a:lnTo>
                      <a:pt x="774" y="396"/>
                    </a:lnTo>
                    <a:lnTo>
                      <a:pt x="778" y="414"/>
                    </a:lnTo>
                    <a:lnTo>
                      <a:pt x="779" y="433"/>
                    </a:lnTo>
                    <a:lnTo>
                      <a:pt x="778" y="447"/>
                    </a:lnTo>
                    <a:lnTo>
                      <a:pt x="775" y="461"/>
                    </a:lnTo>
                    <a:lnTo>
                      <a:pt x="772" y="474"/>
                    </a:lnTo>
                    <a:lnTo>
                      <a:pt x="768" y="485"/>
                    </a:lnTo>
                    <a:lnTo>
                      <a:pt x="762" y="498"/>
                    </a:lnTo>
                    <a:lnTo>
                      <a:pt x="755" y="509"/>
                    </a:lnTo>
                    <a:lnTo>
                      <a:pt x="748" y="520"/>
                    </a:lnTo>
                    <a:lnTo>
                      <a:pt x="738" y="528"/>
                    </a:lnTo>
                    <a:lnTo>
                      <a:pt x="728" y="538"/>
                    </a:lnTo>
                    <a:lnTo>
                      <a:pt x="719" y="545"/>
                    </a:lnTo>
                    <a:lnTo>
                      <a:pt x="707" y="552"/>
                    </a:lnTo>
                    <a:lnTo>
                      <a:pt x="695" y="557"/>
                    </a:lnTo>
                    <a:lnTo>
                      <a:pt x="682" y="563"/>
                    </a:lnTo>
                    <a:lnTo>
                      <a:pt x="669" y="566"/>
                    </a:lnTo>
                    <a:lnTo>
                      <a:pt x="657" y="568"/>
                    </a:lnTo>
                    <a:lnTo>
                      <a:pt x="643" y="568"/>
                    </a:lnTo>
                    <a:close/>
                    <a:moveTo>
                      <a:pt x="752" y="294"/>
                    </a:moveTo>
                    <a:lnTo>
                      <a:pt x="755" y="282"/>
                    </a:lnTo>
                    <a:lnTo>
                      <a:pt x="757" y="269"/>
                    </a:lnTo>
                    <a:lnTo>
                      <a:pt x="757" y="257"/>
                    </a:lnTo>
                    <a:lnTo>
                      <a:pt x="757" y="246"/>
                    </a:lnTo>
                    <a:lnTo>
                      <a:pt x="755" y="234"/>
                    </a:lnTo>
                    <a:lnTo>
                      <a:pt x="752" y="222"/>
                    </a:lnTo>
                    <a:lnTo>
                      <a:pt x="748" y="211"/>
                    </a:lnTo>
                    <a:lnTo>
                      <a:pt x="741" y="202"/>
                    </a:lnTo>
                    <a:lnTo>
                      <a:pt x="737" y="195"/>
                    </a:lnTo>
                    <a:lnTo>
                      <a:pt x="732" y="189"/>
                    </a:lnTo>
                    <a:lnTo>
                      <a:pt x="726" y="183"/>
                    </a:lnTo>
                    <a:lnTo>
                      <a:pt x="720" y="177"/>
                    </a:lnTo>
                    <a:lnTo>
                      <a:pt x="713" y="173"/>
                    </a:lnTo>
                    <a:lnTo>
                      <a:pt x="707" y="169"/>
                    </a:lnTo>
                    <a:lnTo>
                      <a:pt x="699" y="164"/>
                    </a:lnTo>
                    <a:lnTo>
                      <a:pt x="692" y="161"/>
                    </a:lnTo>
                    <a:lnTo>
                      <a:pt x="676" y="155"/>
                    </a:lnTo>
                    <a:lnTo>
                      <a:pt x="660" y="150"/>
                    </a:lnTo>
                    <a:lnTo>
                      <a:pt x="642" y="149"/>
                    </a:lnTo>
                    <a:lnTo>
                      <a:pt x="623" y="149"/>
                    </a:lnTo>
                    <a:lnTo>
                      <a:pt x="617" y="135"/>
                    </a:lnTo>
                    <a:lnTo>
                      <a:pt x="610" y="122"/>
                    </a:lnTo>
                    <a:lnTo>
                      <a:pt x="601" y="108"/>
                    </a:lnTo>
                    <a:lnTo>
                      <a:pt x="591" y="95"/>
                    </a:lnTo>
                    <a:lnTo>
                      <a:pt x="581" y="82"/>
                    </a:lnTo>
                    <a:lnTo>
                      <a:pt x="570" y="69"/>
                    </a:lnTo>
                    <a:lnTo>
                      <a:pt x="558" y="57"/>
                    </a:lnTo>
                    <a:lnTo>
                      <a:pt x="545" y="47"/>
                    </a:lnTo>
                    <a:lnTo>
                      <a:pt x="531" y="37"/>
                    </a:lnTo>
                    <a:lnTo>
                      <a:pt x="517" y="27"/>
                    </a:lnTo>
                    <a:lnTo>
                      <a:pt x="502" y="20"/>
                    </a:lnTo>
                    <a:lnTo>
                      <a:pt x="487" y="12"/>
                    </a:lnTo>
                    <a:lnTo>
                      <a:pt x="471" y="7"/>
                    </a:lnTo>
                    <a:lnTo>
                      <a:pt x="454" y="3"/>
                    </a:lnTo>
                    <a:lnTo>
                      <a:pt x="437" y="1"/>
                    </a:lnTo>
                    <a:lnTo>
                      <a:pt x="419" y="0"/>
                    </a:lnTo>
                    <a:lnTo>
                      <a:pt x="394" y="1"/>
                    </a:lnTo>
                    <a:lnTo>
                      <a:pt x="371" y="4"/>
                    </a:lnTo>
                    <a:lnTo>
                      <a:pt x="348" y="8"/>
                    </a:lnTo>
                    <a:lnTo>
                      <a:pt x="328" y="16"/>
                    </a:lnTo>
                    <a:lnTo>
                      <a:pt x="308" y="23"/>
                    </a:lnTo>
                    <a:lnTo>
                      <a:pt x="288" y="33"/>
                    </a:lnTo>
                    <a:lnTo>
                      <a:pt x="271" y="44"/>
                    </a:lnTo>
                    <a:lnTo>
                      <a:pt x="255" y="56"/>
                    </a:lnTo>
                    <a:lnTo>
                      <a:pt x="241" y="69"/>
                    </a:lnTo>
                    <a:lnTo>
                      <a:pt x="227" y="84"/>
                    </a:lnTo>
                    <a:lnTo>
                      <a:pt x="216" y="99"/>
                    </a:lnTo>
                    <a:lnTo>
                      <a:pt x="206" y="114"/>
                    </a:lnTo>
                    <a:lnTo>
                      <a:pt x="197" y="130"/>
                    </a:lnTo>
                    <a:lnTo>
                      <a:pt x="190" y="147"/>
                    </a:lnTo>
                    <a:lnTo>
                      <a:pt x="184" y="163"/>
                    </a:lnTo>
                    <a:lnTo>
                      <a:pt x="181" y="180"/>
                    </a:lnTo>
                    <a:lnTo>
                      <a:pt x="163" y="185"/>
                    </a:lnTo>
                    <a:lnTo>
                      <a:pt x="145" y="190"/>
                    </a:lnTo>
                    <a:lnTo>
                      <a:pt x="128" y="198"/>
                    </a:lnTo>
                    <a:lnTo>
                      <a:pt x="111" y="206"/>
                    </a:lnTo>
                    <a:lnTo>
                      <a:pt x="95" y="216"/>
                    </a:lnTo>
                    <a:lnTo>
                      <a:pt x="81" y="227"/>
                    </a:lnTo>
                    <a:lnTo>
                      <a:pt x="66" y="240"/>
                    </a:lnTo>
                    <a:lnTo>
                      <a:pt x="53" y="253"/>
                    </a:lnTo>
                    <a:lnTo>
                      <a:pt x="41" y="268"/>
                    </a:lnTo>
                    <a:lnTo>
                      <a:pt x="31" y="283"/>
                    </a:lnTo>
                    <a:lnTo>
                      <a:pt x="22" y="300"/>
                    </a:lnTo>
                    <a:lnTo>
                      <a:pt x="14" y="316"/>
                    </a:lnTo>
                    <a:lnTo>
                      <a:pt x="8" y="335"/>
                    </a:lnTo>
                    <a:lnTo>
                      <a:pt x="4" y="352"/>
                    </a:lnTo>
                    <a:lnTo>
                      <a:pt x="1" y="370"/>
                    </a:lnTo>
                    <a:lnTo>
                      <a:pt x="0" y="388"/>
                    </a:lnTo>
                    <a:lnTo>
                      <a:pt x="0" y="399"/>
                    </a:lnTo>
                    <a:lnTo>
                      <a:pt x="1" y="409"/>
                    </a:lnTo>
                    <a:lnTo>
                      <a:pt x="2" y="419"/>
                    </a:lnTo>
                    <a:lnTo>
                      <a:pt x="5" y="430"/>
                    </a:lnTo>
                    <a:lnTo>
                      <a:pt x="10" y="449"/>
                    </a:lnTo>
                    <a:lnTo>
                      <a:pt x="17" y="468"/>
                    </a:lnTo>
                    <a:lnTo>
                      <a:pt x="26" y="487"/>
                    </a:lnTo>
                    <a:lnTo>
                      <a:pt x="37" y="504"/>
                    </a:lnTo>
                    <a:lnTo>
                      <a:pt x="50" y="521"/>
                    </a:lnTo>
                    <a:lnTo>
                      <a:pt x="62" y="536"/>
                    </a:lnTo>
                    <a:lnTo>
                      <a:pt x="77" y="549"/>
                    </a:lnTo>
                    <a:lnTo>
                      <a:pt x="95" y="561"/>
                    </a:lnTo>
                    <a:lnTo>
                      <a:pt x="112" y="572"/>
                    </a:lnTo>
                    <a:lnTo>
                      <a:pt x="130" y="581"/>
                    </a:lnTo>
                    <a:lnTo>
                      <a:pt x="149" y="588"/>
                    </a:lnTo>
                    <a:lnTo>
                      <a:pt x="168" y="594"/>
                    </a:lnTo>
                    <a:lnTo>
                      <a:pt x="178" y="596"/>
                    </a:lnTo>
                    <a:lnTo>
                      <a:pt x="189" y="597"/>
                    </a:lnTo>
                    <a:lnTo>
                      <a:pt x="199" y="598"/>
                    </a:lnTo>
                    <a:lnTo>
                      <a:pt x="209" y="598"/>
                    </a:lnTo>
                    <a:lnTo>
                      <a:pt x="643" y="598"/>
                    </a:lnTo>
                    <a:lnTo>
                      <a:pt x="659" y="597"/>
                    </a:lnTo>
                    <a:lnTo>
                      <a:pt x="676" y="595"/>
                    </a:lnTo>
                    <a:lnTo>
                      <a:pt x="692" y="590"/>
                    </a:lnTo>
                    <a:lnTo>
                      <a:pt x="707" y="585"/>
                    </a:lnTo>
                    <a:lnTo>
                      <a:pt x="721" y="579"/>
                    </a:lnTo>
                    <a:lnTo>
                      <a:pt x="735" y="570"/>
                    </a:lnTo>
                    <a:lnTo>
                      <a:pt x="748" y="560"/>
                    </a:lnTo>
                    <a:lnTo>
                      <a:pt x="759" y="550"/>
                    </a:lnTo>
                    <a:lnTo>
                      <a:pt x="770" y="538"/>
                    </a:lnTo>
                    <a:lnTo>
                      <a:pt x="780" y="525"/>
                    </a:lnTo>
                    <a:lnTo>
                      <a:pt x="788" y="512"/>
                    </a:lnTo>
                    <a:lnTo>
                      <a:pt x="795" y="497"/>
                    </a:lnTo>
                    <a:lnTo>
                      <a:pt x="801" y="482"/>
                    </a:lnTo>
                    <a:lnTo>
                      <a:pt x="804" y="466"/>
                    </a:lnTo>
                    <a:lnTo>
                      <a:pt x="808" y="450"/>
                    </a:lnTo>
                    <a:lnTo>
                      <a:pt x="809" y="433"/>
                    </a:lnTo>
                    <a:lnTo>
                      <a:pt x="808" y="416"/>
                    </a:lnTo>
                    <a:lnTo>
                      <a:pt x="805" y="398"/>
                    </a:lnTo>
                    <a:lnTo>
                      <a:pt x="801" y="378"/>
                    </a:lnTo>
                    <a:lnTo>
                      <a:pt x="796" y="360"/>
                    </a:lnTo>
                    <a:lnTo>
                      <a:pt x="792" y="351"/>
                    </a:lnTo>
                    <a:lnTo>
                      <a:pt x="787" y="342"/>
                    </a:lnTo>
                    <a:lnTo>
                      <a:pt x="783" y="332"/>
                    </a:lnTo>
                    <a:lnTo>
                      <a:pt x="778" y="324"/>
                    </a:lnTo>
                    <a:lnTo>
                      <a:pt x="772" y="316"/>
                    </a:lnTo>
                    <a:lnTo>
                      <a:pt x="766" y="308"/>
                    </a:lnTo>
                    <a:lnTo>
                      <a:pt x="759" y="301"/>
                    </a:lnTo>
                    <a:lnTo>
                      <a:pt x="752" y="2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70">
                <a:extLst>
                  <a:ext uri="{FF2B5EF4-FFF2-40B4-BE49-F238E27FC236}">
                    <a16:creationId xmlns:a16="http://schemas.microsoft.com/office/drawing/2014/main" id="{A053B25A-96C5-4FF1-8154-9BA3D75D43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8413" y="9890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2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8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2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8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2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71">
                <a:extLst>
                  <a:ext uri="{FF2B5EF4-FFF2-40B4-BE49-F238E27FC236}">
                    <a16:creationId xmlns:a16="http://schemas.microsoft.com/office/drawing/2014/main" id="{F517E2BD-D351-4438-991B-5A0AB02F8F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0788" y="9890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2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8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2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8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2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72">
                <a:extLst>
                  <a:ext uri="{FF2B5EF4-FFF2-40B4-BE49-F238E27FC236}">
                    <a16:creationId xmlns:a16="http://schemas.microsoft.com/office/drawing/2014/main" id="{C40D865E-2EB1-4239-8E2D-6961D2BFE4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3163" y="9890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2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3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1 w 30"/>
                  <a:gd name="T37" fmla="*/ 29 h 30"/>
                  <a:gd name="T38" fmla="*/ 24 w 30"/>
                  <a:gd name="T39" fmla="*/ 28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2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3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1" y="29"/>
                    </a:lnTo>
                    <a:lnTo>
                      <a:pt x="24" y="28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2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73">
                <a:extLst>
                  <a:ext uri="{FF2B5EF4-FFF2-40B4-BE49-F238E27FC236}">
                    <a16:creationId xmlns:a16="http://schemas.microsoft.com/office/drawing/2014/main" id="{CCDF1CE1-D9E8-4FA0-A252-8B1FE162E8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8413" y="10271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7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7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74">
                <a:extLst>
                  <a:ext uri="{FF2B5EF4-FFF2-40B4-BE49-F238E27FC236}">
                    <a16:creationId xmlns:a16="http://schemas.microsoft.com/office/drawing/2014/main" id="{109A0AA4-C325-4196-B5D5-A2706FF88E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0788" y="10271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7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7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75">
                <a:extLst>
                  <a:ext uri="{FF2B5EF4-FFF2-40B4-BE49-F238E27FC236}">
                    <a16:creationId xmlns:a16="http://schemas.microsoft.com/office/drawing/2014/main" id="{D8C7F587-955E-47E3-9F49-044B543536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3163" y="10271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3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1 w 30"/>
                  <a:gd name="T37" fmla="*/ 29 h 30"/>
                  <a:gd name="T38" fmla="*/ 24 w 30"/>
                  <a:gd name="T39" fmla="*/ 27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2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1" y="29"/>
                    </a:lnTo>
                    <a:lnTo>
                      <a:pt x="24" y="27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76">
                <a:extLst>
                  <a:ext uri="{FF2B5EF4-FFF2-40B4-BE49-F238E27FC236}">
                    <a16:creationId xmlns:a16="http://schemas.microsoft.com/office/drawing/2014/main" id="{36ABD884-A461-40A1-BBBF-A72BC05B40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9363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8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8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77">
                <a:extLst>
                  <a:ext uri="{FF2B5EF4-FFF2-40B4-BE49-F238E27FC236}">
                    <a16:creationId xmlns:a16="http://schemas.microsoft.com/office/drawing/2014/main" id="{C7E6D0BD-3B96-4397-90BE-872F1FD69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6988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7 w 30"/>
                  <a:gd name="T35" fmla="*/ 30 h 30"/>
                  <a:gd name="T36" fmla="*/ 20 w 30"/>
                  <a:gd name="T37" fmla="*/ 29 h 30"/>
                  <a:gd name="T38" fmla="*/ 22 w 30"/>
                  <a:gd name="T39" fmla="*/ 28 h 30"/>
                  <a:gd name="T40" fmla="*/ 24 w 30"/>
                  <a:gd name="T41" fmla="*/ 25 h 30"/>
                  <a:gd name="T42" fmla="*/ 27 w 30"/>
                  <a:gd name="T43" fmla="*/ 23 h 30"/>
                  <a:gd name="T44" fmla="*/ 28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8 w 30"/>
                  <a:gd name="T53" fmla="*/ 9 h 30"/>
                  <a:gd name="T54" fmla="*/ 27 w 30"/>
                  <a:gd name="T55" fmla="*/ 6 h 30"/>
                  <a:gd name="T56" fmla="*/ 24 w 30"/>
                  <a:gd name="T57" fmla="*/ 4 h 30"/>
                  <a:gd name="T58" fmla="*/ 22 w 30"/>
                  <a:gd name="T59" fmla="*/ 3 h 30"/>
                  <a:gd name="T60" fmla="*/ 20 w 30"/>
                  <a:gd name="T61" fmla="*/ 1 h 30"/>
                  <a:gd name="T62" fmla="*/ 17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7" y="30"/>
                    </a:lnTo>
                    <a:lnTo>
                      <a:pt x="20" y="29"/>
                    </a:lnTo>
                    <a:lnTo>
                      <a:pt x="22" y="28"/>
                    </a:lnTo>
                    <a:lnTo>
                      <a:pt x="24" y="25"/>
                    </a:lnTo>
                    <a:lnTo>
                      <a:pt x="27" y="23"/>
                    </a:lnTo>
                    <a:lnTo>
                      <a:pt x="28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8" y="9"/>
                    </a:lnTo>
                    <a:lnTo>
                      <a:pt x="27" y="6"/>
                    </a:lnTo>
                    <a:lnTo>
                      <a:pt x="24" y="4"/>
                    </a:lnTo>
                    <a:lnTo>
                      <a:pt x="22" y="3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78">
                <a:extLst>
                  <a:ext uri="{FF2B5EF4-FFF2-40B4-BE49-F238E27FC236}">
                    <a16:creationId xmlns:a16="http://schemas.microsoft.com/office/drawing/2014/main" id="{E61DE0E3-6B93-4D65-B08B-DF44705E9B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738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4 w 30"/>
                  <a:gd name="T39" fmla="*/ 28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4" y="28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79">
                <a:extLst>
                  <a:ext uri="{FF2B5EF4-FFF2-40B4-BE49-F238E27FC236}">
                    <a16:creationId xmlns:a16="http://schemas.microsoft.com/office/drawing/2014/main" id="{1D192B17-A20D-455C-B1CD-41CF3E30D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113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7 w 30"/>
                  <a:gd name="T7" fmla="*/ 3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3 w 30"/>
                  <a:gd name="T23" fmla="*/ 23 h 30"/>
                  <a:gd name="T24" fmla="*/ 4 w 30"/>
                  <a:gd name="T25" fmla="*/ 25 h 30"/>
                  <a:gd name="T26" fmla="*/ 7 w 30"/>
                  <a:gd name="T27" fmla="*/ 28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1 w 30"/>
                  <a:gd name="T37" fmla="*/ 29 h 30"/>
                  <a:gd name="T38" fmla="*/ 24 w 30"/>
                  <a:gd name="T39" fmla="*/ 28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3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7" y="3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7" y="28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1" y="29"/>
                    </a:lnTo>
                    <a:lnTo>
                      <a:pt x="24" y="28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80">
                <a:extLst>
                  <a:ext uri="{FF2B5EF4-FFF2-40B4-BE49-F238E27FC236}">
                    <a16:creationId xmlns:a16="http://schemas.microsoft.com/office/drawing/2014/main" id="{85FC9C95-F5D2-46BA-A810-CD427C6157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9363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8 w 30"/>
                  <a:gd name="T35" fmla="*/ 28 h 30"/>
                  <a:gd name="T36" fmla="*/ 20 w 30"/>
                  <a:gd name="T37" fmla="*/ 28 h 30"/>
                  <a:gd name="T38" fmla="*/ 23 w 30"/>
                  <a:gd name="T39" fmla="*/ 27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0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3" y="27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0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81">
                <a:extLst>
                  <a:ext uri="{FF2B5EF4-FFF2-40B4-BE49-F238E27FC236}">
                    <a16:creationId xmlns:a16="http://schemas.microsoft.com/office/drawing/2014/main" id="{10A48C82-E9C4-4E4F-9B2E-5F34617A33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6988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7 w 30"/>
                  <a:gd name="T35" fmla="*/ 28 h 30"/>
                  <a:gd name="T36" fmla="*/ 20 w 30"/>
                  <a:gd name="T37" fmla="*/ 28 h 30"/>
                  <a:gd name="T38" fmla="*/ 22 w 30"/>
                  <a:gd name="T39" fmla="*/ 27 h 30"/>
                  <a:gd name="T40" fmla="*/ 24 w 30"/>
                  <a:gd name="T41" fmla="*/ 25 h 30"/>
                  <a:gd name="T42" fmla="*/ 27 w 30"/>
                  <a:gd name="T43" fmla="*/ 23 h 30"/>
                  <a:gd name="T44" fmla="*/ 28 w 30"/>
                  <a:gd name="T45" fmla="*/ 20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8 w 30"/>
                  <a:gd name="T53" fmla="*/ 9 h 30"/>
                  <a:gd name="T54" fmla="*/ 27 w 30"/>
                  <a:gd name="T55" fmla="*/ 6 h 30"/>
                  <a:gd name="T56" fmla="*/ 24 w 30"/>
                  <a:gd name="T57" fmla="*/ 4 h 30"/>
                  <a:gd name="T58" fmla="*/ 22 w 30"/>
                  <a:gd name="T59" fmla="*/ 2 h 30"/>
                  <a:gd name="T60" fmla="*/ 20 w 30"/>
                  <a:gd name="T61" fmla="*/ 1 h 30"/>
                  <a:gd name="T62" fmla="*/ 17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7" y="28"/>
                    </a:lnTo>
                    <a:lnTo>
                      <a:pt x="20" y="28"/>
                    </a:lnTo>
                    <a:lnTo>
                      <a:pt x="22" y="27"/>
                    </a:lnTo>
                    <a:lnTo>
                      <a:pt x="24" y="25"/>
                    </a:lnTo>
                    <a:lnTo>
                      <a:pt x="27" y="23"/>
                    </a:lnTo>
                    <a:lnTo>
                      <a:pt x="28" y="20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8" y="9"/>
                    </a:lnTo>
                    <a:lnTo>
                      <a:pt x="27" y="6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82">
                <a:extLst>
                  <a:ext uri="{FF2B5EF4-FFF2-40B4-BE49-F238E27FC236}">
                    <a16:creationId xmlns:a16="http://schemas.microsoft.com/office/drawing/2014/main" id="{0CCC74EB-56D9-441F-8E08-77A83158B5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738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10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8 w 30"/>
                  <a:gd name="T35" fmla="*/ 28 h 30"/>
                  <a:gd name="T36" fmla="*/ 20 w 30"/>
                  <a:gd name="T37" fmla="*/ 28 h 30"/>
                  <a:gd name="T38" fmla="*/ 24 w 30"/>
                  <a:gd name="T39" fmla="*/ 27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0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10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4" y="27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0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83">
                <a:extLst>
                  <a:ext uri="{FF2B5EF4-FFF2-40B4-BE49-F238E27FC236}">
                    <a16:creationId xmlns:a16="http://schemas.microsoft.com/office/drawing/2014/main" id="{C4194175-F1B9-4D37-8E06-81F69C1B07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113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7 w 30"/>
                  <a:gd name="T7" fmla="*/ 2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3 w 30"/>
                  <a:gd name="T23" fmla="*/ 23 h 30"/>
                  <a:gd name="T24" fmla="*/ 4 w 30"/>
                  <a:gd name="T25" fmla="*/ 25 h 30"/>
                  <a:gd name="T26" fmla="*/ 7 w 30"/>
                  <a:gd name="T27" fmla="*/ 27 h 30"/>
                  <a:gd name="T28" fmla="*/ 10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8 w 30"/>
                  <a:gd name="T35" fmla="*/ 28 h 30"/>
                  <a:gd name="T36" fmla="*/ 21 w 30"/>
                  <a:gd name="T37" fmla="*/ 28 h 30"/>
                  <a:gd name="T38" fmla="*/ 24 w 30"/>
                  <a:gd name="T39" fmla="*/ 27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0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2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7" y="27"/>
                    </a:lnTo>
                    <a:lnTo>
                      <a:pt x="10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8" y="28"/>
                    </a:lnTo>
                    <a:lnTo>
                      <a:pt x="21" y="28"/>
                    </a:lnTo>
                    <a:lnTo>
                      <a:pt x="24" y="27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0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DD62D84-414C-4F2F-86F8-4BC17D1AFA23}"/>
              </a:ext>
            </a:extLst>
          </p:cNvPr>
          <p:cNvGrpSpPr/>
          <p:nvPr/>
        </p:nvGrpSpPr>
        <p:grpSpPr>
          <a:xfrm>
            <a:off x="6374811" y="1061311"/>
            <a:ext cx="5404493" cy="5202824"/>
            <a:chOff x="6558462" y="997811"/>
            <a:chExt cx="5404493" cy="5202824"/>
          </a:xfrm>
        </p:grpSpPr>
        <p:sp>
          <p:nvSpPr>
            <p:cNvPr id="1933" name="Rounded Rectangle 88">
              <a:extLst>
                <a:ext uri="{FF2B5EF4-FFF2-40B4-BE49-F238E27FC236}">
                  <a16:creationId xmlns:a16="http://schemas.microsoft.com/office/drawing/2014/main" id="{4FB4ACFE-B946-4A07-98DC-AB72960E20DD}"/>
                </a:ext>
              </a:extLst>
            </p:cNvPr>
            <p:cNvSpPr/>
            <p:nvPr/>
          </p:nvSpPr>
          <p:spPr>
            <a:xfrm>
              <a:off x="6558462" y="997811"/>
              <a:ext cx="5404493" cy="1105737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34" name="Rounded Rectangle 89">
              <a:extLst>
                <a:ext uri="{FF2B5EF4-FFF2-40B4-BE49-F238E27FC236}">
                  <a16:creationId xmlns:a16="http://schemas.microsoft.com/office/drawing/2014/main" id="{4FBF9653-DD63-4FA1-8400-B4D3B3CC2043}"/>
                </a:ext>
              </a:extLst>
            </p:cNvPr>
            <p:cNvSpPr/>
            <p:nvPr/>
          </p:nvSpPr>
          <p:spPr>
            <a:xfrm>
              <a:off x="6558462" y="2364522"/>
              <a:ext cx="5404493" cy="1105737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35" name="Rounded Rectangle 90">
              <a:extLst>
                <a:ext uri="{FF2B5EF4-FFF2-40B4-BE49-F238E27FC236}">
                  <a16:creationId xmlns:a16="http://schemas.microsoft.com/office/drawing/2014/main" id="{0EEFDAAD-4C49-49EC-84E0-9C0D4C12003C}"/>
                </a:ext>
              </a:extLst>
            </p:cNvPr>
            <p:cNvSpPr/>
            <p:nvPr/>
          </p:nvSpPr>
          <p:spPr>
            <a:xfrm>
              <a:off x="6558462" y="3731233"/>
              <a:ext cx="5404493" cy="1105737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36" name="Rectangle 1935">
              <a:extLst>
                <a:ext uri="{FF2B5EF4-FFF2-40B4-BE49-F238E27FC236}">
                  <a16:creationId xmlns:a16="http://schemas.microsoft.com/office/drawing/2014/main" id="{23AFDD30-089C-49DC-A634-CE414B6BE216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6587399" y="1089016"/>
              <a:ext cx="2048990" cy="923330"/>
            </a:xfrm>
            <a:prstGeom prst="rect">
              <a:avLst/>
            </a:prstGeom>
            <a:effectLst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5400" b="1" dirty="0">
                  <a:solidFill>
                    <a:schemeClr val="accent1"/>
                  </a:solidFill>
                </a:rPr>
                <a:t>62%</a:t>
              </a:r>
            </a:p>
          </p:txBody>
        </p:sp>
        <p:sp>
          <p:nvSpPr>
            <p:cNvPr id="1937" name="Rectangle 1936">
              <a:extLst>
                <a:ext uri="{FF2B5EF4-FFF2-40B4-BE49-F238E27FC236}">
                  <a16:creationId xmlns:a16="http://schemas.microsoft.com/office/drawing/2014/main" id="{2FEBCEDE-F677-45E0-930B-75B55B5CF220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6587399" y="2455727"/>
              <a:ext cx="2048990" cy="923330"/>
            </a:xfrm>
            <a:prstGeom prst="rect">
              <a:avLst/>
            </a:prstGeom>
            <a:effectLst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5400" b="1" dirty="0">
                  <a:solidFill>
                    <a:schemeClr val="accent2"/>
                  </a:solidFill>
                </a:rPr>
                <a:t>79%</a:t>
              </a:r>
            </a:p>
          </p:txBody>
        </p:sp>
        <p:sp>
          <p:nvSpPr>
            <p:cNvPr id="1938" name="Rectangle 1937">
              <a:extLst>
                <a:ext uri="{FF2B5EF4-FFF2-40B4-BE49-F238E27FC236}">
                  <a16:creationId xmlns:a16="http://schemas.microsoft.com/office/drawing/2014/main" id="{124CF2A1-0656-43DF-86B9-F97A3F147310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6587399" y="3822438"/>
              <a:ext cx="2048990" cy="923330"/>
            </a:xfrm>
            <a:prstGeom prst="rect">
              <a:avLst/>
            </a:prstGeom>
            <a:effectLst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5400" b="1" dirty="0">
                  <a:solidFill>
                    <a:schemeClr val="accent3"/>
                  </a:solidFill>
                </a:rPr>
                <a:t>81%</a:t>
              </a:r>
            </a:p>
          </p:txBody>
        </p:sp>
        <p:sp>
          <p:nvSpPr>
            <p:cNvPr id="1939" name="TextBox 1938">
              <a:extLst>
                <a:ext uri="{FF2B5EF4-FFF2-40B4-BE49-F238E27FC236}">
                  <a16:creationId xmlns:a16="http://schemas.microsoft.com/office/drawing/2014/main" id="{EDFD5854-E412-43C3-901E-1F9E7696C2A8}"/>
                </a:ext>
              </a:extLst>
            </p:cNvPr>
            <p:cNvSpPr txBox="1"/>
            <p:nvPr/>
          </p:nvSpPr>
          <p:spPr>
            <a:xfrm>
              <a:off x="8584177" y="1125661"/>
              <a:ext cx="2898860" cy="86177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Ut pulvinar, </a:t>
              </a:r>
              <a:r>
                <a:rPr lang="en-US" sz="1400" dirty="0" err="1"/>
                <a:t>lectus</a:t>
              </a:r>
              <a:r>
                <a:rPr lang="en-US" sz="1400" dirty="0"/>
                <a:t> </a:t>
              </a:r>
              <a:r>
                <a:rPr lang="en-US" sz="1400" dirty="0" err="1"/>
                <a:t>ut</a:t>
              </a:r>
              <a:r>
                <a:rPr lang="en-US" sz="1400" dirty="0"/>
                <a:t> </a:t>
              </a:r>
              <a:r>
                <a:rPr lang="en-US" sz="1400" dirty="0" err="1"/>
                <a:t>sodales</a:t>
              </a:r>
              <a:r>
                <a:rPr lang="en-US" sz="1400" dirty="0"/>
                <a:t> maximus, </a:t>
              </a:r>
              <a:r>
                <a:rPr lang="en-US" sz="1400" dirty="0" err="1"/>
                <a:t>quam</a:t>
              </a:r>
              <a:r>
                <a:rPr lang="en-US" sz="1400" dirty="0"/>
                <a:t> dolor vestibulum </a:t>
              </a:r>
              <a:r>
                <a:rPr lang="en-US" sz="1400" dirty="0" err="1"/>
                <a:t>justo</a:t>
              </a:r>
              <a:r>
                <a:rPr lang="en-US" sz="1400" dirty="0"/>
                <a:t>.</a:t>
              </a:r>
            </a:p>
          </p:txBody>
        </p:sp>
        <p:sp>
          <p:nvSpPr>
            <p:cNvPr id="224" name="TextBox 223">
              <a:extLst>
                <a:ext uri="{FF2B5EF4-FFF2-40B4-BE49-F238E27FC236}">
                  <a16:creationId xmlns:a16="http://schemas.microsoft.com/office/drawing/2014/main" id="{43209978-8B21-443C-AA28-8377171307D4}"/>
                </a:ext>
              </a:extLst>
            </p:cNvPr>
            <p:cNvSpPr txBox="1"/>
            <p:nvPr/>
          </p:nvSpPr>
          <p:spPr>
            <a:xfrm>
              <a:off x="8584177" y="2486503"/>
              <a:ext cx="2898860" cy="86177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Ut pulvinar, </a:t>
              </a:r>
              <a:r>
                <a:rPr lang="en-US" sz="1400" dirty="0" err="1"/>
                <a:t>lectus</a:t>
              </a:r>
              <a:r>
                <a:rPr lang="en-US" sz="1400" dirty="0"/>
                <a:t> </a:t>
              </a:r>
              <a:r>
                <a:rPr lang="en-US" sz="1400" dirty="0" err="1"/>
                <a:t>ut</a:t>
              </a:r>
              <a:r>
                <a:rPr lang="en-US" sz="1400" dirty="0"/>
                <a:t> </a:t>
              </a:r>
              <a:r>
                <a:rPr lang="en-US" sz="1400" dirty="0" err="1"/>
                <a:t>sodales</a:t>
              </a:r>
              <a:r>
                <a:rPr lang="en-US" sz="1400" dirty="0"/>
                <a:t> maximus, </a:t>
              </a:r>
              <a:r>
                <a:rPr lang="en-US" sz="1400" dirty="0" err="1"/>
                <a:t>quam</a:t>
              </a:r>
              <a:r>
                <a:rPr lang="en-US" sz="1400" dirty="0"/>
                <a:t> dolor vestibulum </a:t>
              </a:r>
              <a:r>
                <a:rPr lang="en-US" sz="1400" dirty="0" err="1"/>
                <a:t>justo</a:t>
              </a:r>
              <a:r>
                <a:rPr lang="en-US" sz="1400" dirty="0"/>
                <a:t>.</a:t>
              </a:r>
            </a:p>
          </p:txBody>
        </p:sp>
        <p:sp>
          <p:nvSpPr>
            <p:cNvPr id="225" name="TextBox 224">
              <a:extLst>
                <a:ext uri="{FF2B5EF4-FFF2-40B4-BE49-F238E27FC236}">
                  <a16:creationId xmlns:a16="http://schemas.microsoft.com/office/drawing/2014/main" id="{F08AA370-E97C-49AA-B238-9483D130C676}"/>
                </a:ext>
              </a:extLst>
            </p:cNvPr>
            <p:cNvSpPr txBox="1"/>
            <p:nvPr/>
          </p:nvSpPr>
          <p:spPr>
            <a:xfrm>
              <a:off x="8584177" y="3853214"/>
              <a:ext cx="2898860" cy="86177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Ut pulvinar, </a:t>
              </a:r>
              <a:r>
                <a:rPr lang="en-US" sz="1400" dirty="0" err="1"/>
                <a:t>lectus</a:t>
              </a:r>
              <a:r>
                <a:rPr lang="en-US" sz="1400" dirty="0"/>
                <a:t> </a:t>
              </a:r>
              <a:r>
                <a:rPr lang="en-US" sz="1400" dirty="0" err="1"/>
                <a:t>ut</a:t>
              </a:r>
              <a:r>
                <a:rPr lang="en-US" sz="1400" dirty="0"/>
                <a:t> </a:t>
              </a:r>
              <a:r>
                <a:rPr lang="en-US" sz="1400" dirty="0" err="1"/>
                <a:t>sodales</a:t>
              </a:r>
              <a:r>
                <a:rPr lang="en-US" sz="1400" dirty="0"/>
                <a:t> maximus, </a:t>
              </a:r>
              <a:r>
                <a:rPr lang="en-US" sz="1400" dirty="0" err="1"/>
                <a:t>quam</a:t>
              </a:r>
              <a:r>
                <a:rPr lang="en-US" sz="1400" dirty="0"/>
                <a:t> dolor vestibulum </a:t>
              </a:r>
              <a:r>
                <a:rPr lang="en-US" sz="1400" dirty="0" err="1"/>
                <a:t>justo</a:t>
              </a:r>
              <a:r>
                <a:rPr lang="en-US" sz="1400" dirty="0"/>
                <a:t>.</a:t>
              </a:r>
            </a:p>
          </p:txBody>
        </p:sp>
        <p:sp>
          <p:nvSpPr>
            <p:cNvPr id="226" name="Rounded Rectangle 90">
              <a:extLst>
                <a:ext uri="{FF2B5EF4-FFF2-40B4-BE49-F238E27FC236}">
                  <a16:creationId xmlns:a16="http://schemas.microsoft.com/office/drawing/2014/main" id="{479EECE3-48A7-4027-8279-922B10BB5C5F}"/>
                </a:ext>
              </a:extLst>
            </p:cNvPr>
            <p:cNvSpPr/>
            <p:nvPr/>
          </p:nvSpPr>
          <p:spPr>
            <a:xfrm>
              <a:off x="6558462" y="5094898"/>
              <a:ext cx="5404493" cy="1105737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227" name="Rectangle 226">
              <a:extLst>
                <a:ext uri="{FF2B5EF4-FFF2-40B4-BE49-F238E27FC236}">
                  <a16:creationId xmlns:a16="http://schemas.microsoft.com/office/drawing/2014/main" id="{93B8C15B-18E5-4035-BEC3-7AF2A3C106C1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6587399" y="5186103"/>
              <a:ext cx="2048990" cy="923330"/>
            </a:xfrm>
            <a:prstGeom prst="rect">
              <a:avLst/>
            </a:prstGeom>
            <a:effectLst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5400" b="1" dirty="0">
                  <a:solidFill>
                    <a:schemeClr val="tx2"/>
                  </a:solidFill>
                </a:rPr>
                <a:t>45%</a:t>
              </a:r>
            </a:p>
          </p:txBody>
        </p:sp>
        <p:sp>
          <p:nvSpPr>
            <p:cNvPr id="228" name="TextBox 227">
              <a:extLst>
                <a:ext uri="{FF2B5EF4-FFF2-40B4-BE49-F238E27FC236}">
                  <a16:creationId xmlns:a16="http://schemas.microsoft.com/office/drawing/2014/main" id="{D856F892-49B0-44D0-9767-FBF971E111B8}"/>
                </a:ext>
              </a:extLst>
            </p:cNvPr>
            <p:cNvSpPr txBox="1"/>
            <p:nvPr/>
          </p:nvSpPr>
          <p:spPr>
            <a:xfrm>
              <a:off x="8584177" y="5216879"/>
              <a:ext cx="2898860" cy="86177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Ut pulvinar, </a:t>
              </a:r>
              <a:r>
                <a:rPr lang="en-US" sz="1400" dirty="0" err="1"/>
                <a:t>lectus</a:t>
              </a:r>
              <a:r>
                <a:rPr lang="en-US" sz="1400" dirty="0"/>
                <a:t> </a:t>
              </a:r>
              <a:r>
                <a:rPr lang="en-US" sz="1400" dirty="0" err="1"/>
                <a:t>ut</a:t>
              </a:r>
              <a:r>
                <a:rPr lang="en-US" sz="1400" dirty="0"/>
                <a:t> </a:t>
              </a:r>
              <a:r>
                <a:rPr lang="en-US" sz="1400" dirty="0" err="1"/>
                <a:t>sodales</a:t>
              </a:r>
              <a:r>
                <a:rPr lang="en-US" sz="1400" dirty="0"/>
                <a:t> maximus, </a:t>
              </a:r>
              <a:r>
                <a:rPr lang="en-US" sz="1400" dirty="0" err="1"/>
                <a:t>quam</a:t>
              </a:r>
              <a:r>
                <a:rPr lang="en-US" sz="1400" dirty="0"/>
                <a:t> dolor vestibulum </a:t>
              </a:r>
              <a:r>
                <a:rPr lang="en-US" sz="1400" dirty="0" err="1"/>
                <a:t>justo</a:t>
              </a:r>
              <a:r>
                <a:rPr lang="en-US" sz="1400" dirty="0"/>
                <a:t>.</a:t>
              </a:r>
            </a:p>
          </p:txBody>
        </p:sp>
      </p:grpSp>
      <p:sp>
        <p:nvSpPr>
          <p:cNvPr id="229" name="Date Placeholder 1">
            <a:extLst>
              <a:ext uri="{FF2B5EF4-FFF2-40B4-BE49-F238E27FC236}">
                <a16:creationId xmlns:a16="http://schemas.microsoft.com/office/drawing/2014/main" id="{ED937985-BA59-4B4A-AEEA-B146D1F035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4BF7AEFA-B56B-463F-809E-4A0CAC2C214B}" type="datetime1">
              <a:rPr lang="en-US" sz="1000" smtClean="0">
                <a:solidFill>
                  <a:schemeClr val="tx1"/>
                </a:solidFill>
              </a:rPr>
              <a:t>8/17/2020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0" name="Slide Number Placeholder 2">
            <a:extLst>
              <a:ext uri="{FF2B5EF4-FFF2-40B4-BE49-F238E27FC236}">
                <a16:creationId xmlns:a16="http://schemas.microsoft.com/office/drawing/2014/main" id="{8D345266-EDA7-44D0-989D-864D40276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C0C94304-9D7D-4EDB-90E1-FCA55F75F38C}" type="slidenum">
              <a:rPr lang="en-US" sz="1000" smtClean="0">
                <a:solidFill>
                  <a:schemeClr val="tx1"/>
                </a:solidFill>
              </a:rPr>
              <a:t>7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231" name="Rectangle 70">
            <a:extLst>
              <a:ext uri="{FF2B5EF4-FFF2-40B4-BE49-F238E27FC236}">
                <a16:creationId xmlns:a16="http://schemas.microsoft.com/office/drawing/2014/main" id="{FF505349-BF95-427D-8D47-27B378D22376}"/>
              </a:ext>
            </a:extLst>
          </p:cNvPr>
          <p:cNvSpPr/>
          <p:nvPr/>
        </p:nvSpPr>
        <p:spPr>
          <a:xfrm rot="10800000">
            <a:off x="114830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2" name="Rectangle 70">
            <a:extLst>
              <a:ext uri="{FF2B5EF4-FFF2-40B4-BE49-F238E27FC236}">
                <a16:creationId xmlns:a16="http://schemas.microsoft.com/office/drawing/2014/main" id="{5A892642-2BBE-474E-A356-58BDC104B107}"/>
              </a:ext>
            </a:extLst>
          </p:cNvPr>
          <p:cNvSpPr/>
          <p:nvPr/>
        </p:nvSpPr>
        <p:spPr>
          <a:xfrm flipV="1">
            <a:off x="2054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1753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8B377954-B88B-41EE-A1D1-7CCFBBF16A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3454" y="2206628"/>
            <a:ext cx="1812876" cy="444979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665CAD2E-C59A-4C3C-B03F-01FD0BBCC838}"/>
              </a:ext>
            </a:extLst>
          </p:cNvPr>
          <p:cNvSpPr txBox="1"/>
          <p:nvPr/>
        </p:nvSpPr>
        <p:spPr>
          <a:xfrm>
            <a:off x="1429221" y="2937222"/>
            <a:ext cx="924133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altLang="zh-CN" sz="4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Arial"/>
                <a:sym typeface="Arial"/>
                <a:hlinkClick r:id="rId4"/>
              </a:rPr>
              <a:t>www.greatppt.com</a:t>
            </a:r>
            <a:endParaRPr kumimoji="0" lang="en-US" altLang="zh-CN" sz="4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宋体" panose="02010600030101010101" pitchFamily="2" charset="-122"/>
              <a:cs typeface="Arial"/>
              <a:sym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altLang="zh-CN" sz="3200" b="0" i="0" u="none" strike="noStrike" kern="0" cap="none" spc="0" normalizeH="0" baseline="0" noProof="0" dirty="0">
                <a:ln>
                  <a:noFill/>
                </a:ln>
                <a:solidFill>
                  <a:srgbClr val="78909C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Arial"/>
                <a:sym typeface="Arial"/>
              </a:rPr>
              <a:t>Free Templates and Themes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altLang="zh-CN" sz="3200" b="0" i="0" u="none" strike="noStrike" kern="0" cap="none" spc="0" normalizeH="0" baseline="0" noProof="0" dirty="0">
                <a:ln>
                  <a:noFill/>
                </a:ln>
                <a:solidFill>
                  <a:srgbClr val="78909C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Arial"/>
                <a:sym typeface="Arial"/>
              </a:rPr>
              <a:t>Create beautiful presentations in minutes</a:t>
            </a:r>
            <a:endParaRPr kumimoji="0" lang="zh-CN" altLang="en-US" sz="3200" b="0" i="0" u="none" strike="noStrike" kern="0" cap="none" spc="0" normalizeH="0" baseline="0" noProof="0" dirty="0">
              <a:ln>
                <a:noFill/>
              </a:ln>
              <a:solidFill>
                <a:srgbClr val="78909C">
                  <a:lumMod val="20000"/>
                  <a:lumOff val="80000"/>
                </a:srgbClr>
              </a:solidFill>
              <a:effectLst/>
              <a:uLnTx/>
              <a:uFillTx/>
              <a:latin typeface="Arial"/>
              <a:ea typeface="宋体" panose="02010600030101010101" pitchFamily="2" charset="-122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532663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Custom 109">
      <a:dk1>
        <a:srgbClr val="000000"/>
      </a:dk1>
      <a:lt1>
        <a:srgbClr val="FFFFFF"/>
      </a:lt1>
      <a:dk2>
        <a:srgbClr val="011A27"/>
      </a:dk2>
      <a:lt2>
        <a:srgbClr val="E7E6E6"/>
      </a:lt2>
      <a:accent1>
        <a:srgbClr val="45201A"/>
      </a:accent1>
      <a:accent2>
        <a:srgbClr val="6A3C3E"/>
      </a:accent2>
      <a:accent3>
        <a:srgbClr val="B95436"/>
      </a:accent3>
      <a:accent4>
        <a:srgbClr val="A4351D"/>
      </a:accent4>
      <a:accent5>
        <a:srgbClr val="45201A"/>
      </a:accent5>
      <a:accent6>
        <a:srgbClr val="6A3C3E"/>
      </a:accent6>
      <a:hlink>
        <a:srgbClr val="F0810F"/>
      </a:hlink>
      <a:folHlink>
        <a:srgbClr val="F0810F"/>
      </a:folHlink>
    </a:clrScheme>
    <a:fontScheme name="Modern 01">
      <a:majorFont>
        <a:latin typeface="Century Gothic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lidesgo Final Pages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59</TotalTime>
  <Words>533</Words>
  <Application>Microsoft Office PowerPoint</Application>
  <PresentationFormat>宽屏</PresentationFormat>
  <Paragraphs>65</Paragraphs>
  <Slides>8</Slides>
  <Notes>1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8</vt:i4>
      </vt:variant>
    </vt:vector>
  </HeadingPairs>
  <TitlesOfParts>
    <vt:vector size="16" baseType="lpstr">
      <vt:lpstr>Proxima Nova</vt:lpstr>
      <vt:lpstr>Proxima Nova Semibold</vt:lpstr>
      <vt:lpstr>Arial</vt:lpstr>
      <vt:lpstr>Calibri</vt:lpstr>
      <vt:lpstr>Century Gothic</vt:lpstr>
      <vt:lpstr>Segoe UI Light</vt:lpstr>
      <vt:lpstr>Office Theme</vt:lpstr>
      <vt:lpstr>Slidesgo Final Pages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groho Ade</dc:creator>
  <cp:lastModifiedBy>刘 龙</cp:lastModifiedBy>
  <cp:revision>110</cp:revision>
  <dcterms:created xsi:type="dcterms:W3CDTF">2018-05-23T02:48:31Z</dcterms:created>
  <dcterms:modified xsi:type="dcterms:W3CDTF">2020-08-17T09:33:59Z</dcterms:modified>
</cp:coreProperties>
</file>